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comments/modernComment_7FFFFDE4_1AF3E588.xml" ContentType="application/vnd.ms-powerpoint.comment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comments/modernComment_7FFFFDE8_15A1C766.xml" ContentType="application/vnd.ms-powerpoint.comment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comments/modernComment_121_94A9627B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8" r:id="rId4"/>
  </p:sldMasterIdLst>
  <p:notesMasterIdLst>
    <p:notesMasterId r:id="rId24"/>
  </p:notesMasterIdLst>
  <p:sldIdLst>
    <p:sldId id="2076138423" r:id="rId5"/>
    <p:sldId id="2076138386" r:id="rId6"/>
    <p:sldId id="2076138451" r:id="rId7"/>
    <p:sldId id="2134807410" r:id="rId8"/>
    <p:sldId id="2134807419" r:id="rId9"/>
    <p:sldId id="2134807404" r:id="rId10"/>
    <p:sldId id="2134807409" r:id="rId11"/>
    <p:sldId id="2134807406" r:id="rId12"/>
    <p:sldId id="2134807420" r:id="rId13"/>
    <p:sldId id="2134807421" r:id="rId14"/>
    <p:sldId id="2134807390" r:id="rId15"/>
    <p:sldId id="2134807422" r:id="rId16"/>
    <p:sldId id="2147483113" r:id="rId17"/>
    <p:sldId id="2147483108" r:id="rId18"/>
    <p:sldId id="2147483112" r:id="rId19"/>
    <p:sldId id="289" r:id="rId20"/>
    <p:sldId id="2134807417" r:id="rId21"/>
    <p:sldId id="2134807414" r:id="rId22"/>
    <p:sldId id="2134807405" r:id="rId23"/>
  </p:sldIdLst>
  <p:sldSz cx="12192000" cy="6858000"/>
  <p:notesSz cx="7077075" cy="9363075"/>
  <p:custDataLst>
    <p:tags r:id="rId25"/>
  </p:custDataLst>
  <p:defaultTextStyle>
    <a:defPPr>
      <a:defRPr lang="he-I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MO" id="{8223BBB0-B098-41F9-972A-E824553812EE}">
          <p14:sldIdLst/>
        </p14:section>
        <p14:section name="CEO Kick Off Section" id="{1F5FE367-8FCE-46D2-88DB-6202670345D6}">
          <p14:sldIdLst>
            <p14:sldId id="2076138423"/>
            <p14:sldId id="2076138386"/>
            <p14:sldId id="2076138451"/>
            <p14:sldId id="2134807410"/>
            <p14:sldId id="2134807419"/>
            <p14:sldId id="2134807404"/>
            <p14:sldId id="2134807409"/>
            <p14:sldId id="2134807406"/>
            <p14:sldId id="2134807420"/>
            <p14:sldId id="2134807421"/>
            <p14:sldId id="2134807390"/>
            <p14:sldId id="2134807422"/>
            <p14:sldId id="2147483113"/>
            <p14:sldId id="2147483108"/>
            <p14:sldId id="2147483112"/>
            <p14:sldId id="289"/>
            <p14:sldId id="2134807417"/>
            <p14:sldId id="2134807414"/>
            <p14:sldId id="213480740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FC1F80C-213B-8A1C-77A5-65F5EB2D7993}" name="Uma Shankar Kulasekaran" initials="" userId="S::UmaShankar.Kulasekaran@niceactimize.com::f7d47ec9-0314-4426-a83d-8f7fa7de8ac1" providerId="AD"/>
  <p188:author id="{11B0BC10-5E95-BEA0-268F-DC2CDBF52AE0}" name="Liron Reitman" initials="" userId="S::Liron.Reitman@niceactimize.com::98b8a20b-b827-4175-8949-437227caf11f" providerId="AD"/>
  <p188:author id="{BDDCEE31-62F5-7B71-5678-A807B25AB3AD}" name="Itai Bloom" initials="IB" userId="S::itai.bloom@nice.com::d76db4f6-dabc-4892-8008-c18f6e0f70d6" providerId="AD"/>
  <p188:author id="{3F297873-B346-CD18-1E71-103181D82202}" name="Yuval Marco" initials="" userId="S::Yuval.Marco@niceactimize.com::28640e81-dd92-4089-9499-24e7fcfc31ad" providerId="AD"/>
  <p188:author id="{7332758D-FDB0-BA8F-D795-04BF8E0E34B4}" name="Meytal Melamed" initials="MM" userId="S::meytal.melamed@nice.com::7c372845-a314-45e5-a0a5-dfb238da237f" providerId="AD"/>
  <p188:author id="{85E3F6E4-CD66-1604-7C76-7E92A55F7845}" name="Achi Hackmon" initials="AH" userId="S::Achi.Hackmon@niceactimize.com::8e717801-51ea-4b37-a8dd-ac949e5512e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Chrisol Correia" initials="CC" lastIdx="5" clrIdx="6">
    <p:extLst>
      <p:ext uri="{19B8F6BF-5375-455C-9EA6-DF929625EA0E}">
        <p15:presenceInfo xmlns:p15="http://schemas.microsoft.com/office/powerpoint/2012/main" userId="f5869226d9a86e19" providerId="Windows Live"/>
      </p:ext>
    </p:extLst>
  </p:cmAuthor>
  <p:cmAuthor id="1" name="Elad Nissenberg" initials="EN" lastIdx="1" clrIdx="0">
    <p:extLst>
      <p:ext uri="{19B8F6BF-5375-455C-9EA6-DF929625EA0E}">
        <p15:presenceInfo xmlns:p15="http://schemas.microsoft.com/office/powerpoint/2012/main" userId="S::Elad.Nissenberg@nice.com::4c41fb42-e1cd-4406-b6a2-dad93466c2ac" providerId="AD"/>
      </p:ext>
    </p:extLst>
  </p:cmAuthor>
  <p:cmAuthor id="8" name="Yakir Lazarov" initials="YL" lastIdx="29" clrIdx="7">
    <p:extLst>
      <p:ext uri="{19B8F6BF-5375-455C-9EA6-DF929625EA0E}">
        <p15:presenceInfo xmlns:p15="http://schemas.microsoft.com/office/powerpoint/2012/main" userId="S::yakir.lazarov@nice.com::32e5091a-89af-4760-bef3-3d87e4ab44da" providerId="AD"/>
      </p:ext>
    </p:extLst>
  </p:cmAuthor>
  <p:cmAuthor id="2" name="Stephen Taylor" initials="ST" lastIdx="1" clrIdx="1">
    <p:extLst>
      <p:ext uri="{19B8F6BF-5375-455C-9EA6-DF929625EA0E}">
        <p15:presenceInfo xmlns:p15="http://schemas.microsoft.com/office/powerpoint/2012/main" userId="S::Stephen.Taylor@niceactimize.com::8e56ac92-3984-41bd-b011-791e2926bc7f" providerId="AD"/>
      </p:ext>
    </p:extLst>
  </p:cmAuthor>
  <p:cmAuthor id="3" name="Elad Nissenberg" initials="EN [2]" lastIdx="6" clrIdx="2">
    <p:extLst>
      <p:ext uri="{19B8F6BF-5375-455C-9EA6-DF929625EA0E}">
        <p15:presenceInfo xmlns:p15="http://schemas.microsoft.com/office/powerpoint/2012/main" userId="Elad Nissenberg" providerId="None"/>
      </p:ext>
    </p:extLst>
  </p:cmAuthor>
  <p:cmAuthor id="4" name="Itai Brezis" initials="IB" lastIdx="8" clrIdx="3">
    <p:extLst>
      <p:ext uri="{19B8F6BF-5375-455C-9EA6-DF929625EA0E}">
        <p15:presenceInfo xmlns:p15="http://schemas.microsoft.com/office/powerpoint/2012/main" userId="S::Itai.Brezis@nice.com::3cc488f2-da4c-4341-be90-39969c2aabd4" providerId="AD"/>
      </p:ext>
    </p:extLst>
  </p:cmAuthor>
  <p:cmAuthor id="5" name="Achi Hackmon" initials="AH" lastIdx="4" clrIdx="4">
    <p:extLst>
      <p:ext uri="{19B8F6BF-5375-455C-9EA6-DF929625EA0E}">
        <p15:presenceInfo xmlns:p15="http://schemas.microsoft.com/office/powerpoint/2012/main" userId="S::Achi.Hackmon@niceactimize.com::8e717801-51ea-4b37-a8dd-ac949e5512e3" providerId="AD"/>
      </p:ext>
    </p:extLst>
  </p:cmAuthor>
  <p:cmAuthor id="6" name="Itai Bloom" initials="IB" lastIdx="10" clrIdx="5">
    <p:extLst>
      <p:ext uri="{19B8F6BF-5375-455C-9EA6-DF929625EA0E}">
        <p15:presenceInfo xmlns:p15="http://schemas.microsoft.com/office/powerpoint/2012/main" userId="S::itai.bloom@nice.com::d76db4f6-dabc-4892-8008-c18f6e0f70d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C9FF"/>
    <a:srgbClr val="9EE1FC"/>
    <a:srgbClr val="7BDFFF"/>
    <a:srgbClr val="0033CC"/>
    <a:srgbClr val="056085"/>
    <a:srgbClr val="069EDB"/>
    <a:srgbClr val="6E7D21"/>
    <a:srgbClr val="C2D561"/>
    <a:srgbClr val="F2F2F2"/>
    <a:srgbClr val="59CC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625"/>
    <p:restoredTop sz="94674"/>
  </p:normalViewPr>
  <p:slideViewPr>
    <p:cSldViewPr snapToGrid="0" snapToObjects="1">
      <p:cViewPr varScale="1">
        <p:scale>
          <a:sx n="102" d="100"/>
          <a:sy n="102" d="100"/>
        </p:scale>
        <p:origin x="918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omments/modernComment_121_94A9627B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A047BDA-07B3-47B8-A42C-A1FE3DD44C24}" authorId="{3F297873-B346-CD18-1E71-103181D82202}" created="2025-03-26T02:37:52.201">
    <pc:sldMkLst xmlns:pc="http://schemas.microsoft.com/office/powerpoint/2013/main/command">
      <pc:docMk/>
      <pc:sldMk cId="2494128763" sldId="289"/>
    </pc:sldMkLst>
    <p188:txBody>
      <a:bodyPr/>
      <a:lstStyle/>
      <a:p>
        <a:r>
          <a:rPr lang="en-US"/>
          <a:t>[@Achi Hackmon] - who can speak to this slide?</a:t>
        </a:r>
      </a:p>
    </p188:txBody>
  </p188:cm>
</p188:cmLst>
</file>

<file path=ppt/comments/modernComment_7FFFFDE4_1AF3E58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9E454A9-F3DC-4877-94B6-39A6EDF92450}" authorId="{85E3F6E4-CD66-1604-7C76-7E92A55F7845}" created="2025-03-25T11:13:52.93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452191624" sldId="2147483108"/>
      <ac:spMk id="3" creationId="{96D751E7-5E6D-D730-09F4-303DDA72E156}"/>
      <ac:txMk cp="128" len="78">
        <ac:context len="207" hash="4193127701"/>
      </ac:txMk>
    </ac:txMkLst>
    <p188:pos x="8100475" y="1831574"/>
    <p188:txBody>
      <a:bodyPr/>
      <a:lstStyle/>
      <a:p>
        <a:r>
          <a:rPr lang="he-IL"/>
          <a:t>[@Yuval Marco]  Re the story, need #s on Scams \ Mules and trends
TAM expansion is missing</a:t>
        </a:r>
      </a:p>
    </p188:txBody>
  </p188:cm>
</p188:cmLst>
</file>

<file path=ppt/comments/modernComment_7FFFFDE8_15A1C76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8DF5F28-1120-43BF-BADF-3CBFDE0E88EE}" authorId="{85E3F6E4-CD66-1604-7C76-7E92A55F7845}" created="2025-03-25T11:41:26.449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62923878" sldId="2147483112"/>
      <ac:spMk id="13" creationId="{FCE5BABA-2C3D-62E0-21D9-2713A87326FE}"/>
      <ac:txMk cp="50">
        <ac:context len="49" hash="3290084309"/>
      </ac:txMk>
    </ac:txMkLst>
    <p188:pos x="2716931" y="800938"/>
    <p188:txBody>
      <a:bodyPr/>
      <a:lstStyle/>
      <a:p>
        <a:r>
          <a:rPr lang="he-IL"/>
          <a:t>[@Yuval Marco]  do we need to mention IFM 11.2 or is this to tactical</a:t>
        </a:r>
      </a:p>
    </p188:txBody>
  </p188:cm>
  <p188:cm id="{B121EB82-82D0-4A3D-A4D2-B14F37402B95}" authorId="{85E3F6E4-CD66-1604-7C76-7E92A55F7845}" created="2025-03-25T13:12:54.252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62923878" sldId="2147483112"/>
      <ac:spMk id="15" creationId="{6EA3800D-C9DC-3020-13C8-E1ADDEB3BE4B}"/>
      <ac:txMk cp="94">
        <ac:context len="102" hash="3460215014"/>
      </ac:txMk>
    </ac:txMkLst>
    <p188:pos x="1933181" y="1067963"/>
    <p188:replyLst>
      <p188:reply id="{0E5DCCB2-6A99-4133-ACD0-F389CB5E65C6}" authorId="{11B0BC10-5E95-BEA0-268F-DC2CDBF52AE0}" created="2025-03-25T13:29:11.067">
        <p188:txBody>
          <a:bodyPr/>
          <a:lstStyle/>
          <a:p>
            <a:r>
              <a:rPr lang="en-IL"/>
              <a:t>Not mine, I would assume that the person who wrote that meant that after POV will have market validation on our consortium hypotheses . It would only make sense if we would start consortium work only after a successful POV but that is not the case</a:t>
            </a:r>
          </a:p>
        </p188:txBody>
      </p188:reply>
      <p188:reply id="{2A4E3188-4CD6-46FC-B23E-6BCEDBEC5732}" authorId="{7FC1F80C-213B-8A1C-77A5-65F5EB2D7993}" created="2025-03-25T15:52:27.601">
        <p188:txBody>
          <a:bodyPr/>
          <a:lstStyle/>
          <a:p>
            <a:r>
              <a:rPr lang="en-US"/>
              <a:t>[@Uma Shankar Kulasekaran]  [@Liron Reitman] We need to validate the POV output and see if we want to bring in new data sources.</a:t>
            </a:r>
          </a:p>
        </p188:txBody>
      </p188:reply>
    </p188:replyLst>
    <p188:txBody>
      <a:bodyPr/>
      <a:lstStyle/>
      <a:p>
        <a:r>
          <a:rPr lang="he-IL"/>
          <a:t>[@Uma Shankar Kulasekaran] [@Liron Reitman]  what did you mean with Early Adopter Validation?</a:t>
        </a:r>
      </a:p>
    </p188:txBody>
  </p188:cm>
  <p188:cm id="{5B5342A1-F54E-42AB-B038-00A1D7A4D5A6}" authorId="{85E3F6E4-CD66-1604-7C76-7E92A55F7845}" created="2025-03-25T13:14:03.467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62923878" sldId="2147483112"/>
      <ac:spMk id="23" creationId="{F626787F-6E79-4228-1F09-99C7534ED01A}"/>
      <ac:txMk cp="0" len="7">
        <ac:context len="8" hash="1693941946"/>
      </ac:txMk>
    </ac:txMkLst>
    <p188:pos x="1256035" y="266180"/>
    <p188:replyLst>
      <p188:reply id="{B6D6B931-CB0C-4406-A9B0-E810B36C7352}" authorId="{11B0BC10-5E95-BEA0-268F-DC2CDBF52AE0}" created="2025-03-25T13:32:06.255">
        <p188:txBody>
          <a:bodyPr/>
          <a:lstStyle/>
          <a:p>
            <a:r>
              <a:rPr lang="en-IL"/>
              <a:t>According to R&amp;D - No, according to the plan the same API's that we are creating will support all 3 use cases (AW users, ifm users, non ifm users) so there is no "smaller" part that would still bring value to customer</a:t>
            </a:r>
          </a:p>
        </p188:txBody>
      </p188:reply>
    </p188:replyLst>
    <p188:txBody>
      <a:bodyPr/>
      <a:lstStyle/>
      <a:p>
        <a:r>
          <a:rPr lang="he-IL"/>
          <a:t>[@Liron Reitman]  can we commit on any specific ready capability ?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66733" cy="469779"/>
          </a:xfrm>
          <a:prstGeom prst="rect">
            <a:avLst/>
          </a:prstGeom>
        </p:spPr>
        <p:txBody>
          <a:bodyPr vert="horz" lIns="93932" tIns="46966" rIns="93932" bIns="4696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08705" y="0"/>
            <a:ext cx="3066733" cy="469779"/>
          </a:xfrm>
          <a:prstGeom prst="rect">
            <a:avLst/>
          </a:prstGeom>
        </p:spPr>
        <p:txBody>
          <a:bodyPr vert="horz" lIns="93932" tIns="46966" rIns="93932" bIns="46966" rtlCol="0"/>
          <a:lstStyle>
            <a:lvl1pPr algn="r">
              <a:defRPr sz="1200"/>
            </a:lvl1pPr>
          </a:lstStyle>
          <a:p>
            <a:fld id="{B9BCAF7B-C580-4A18-A3B6-7BC802938158}" type="datetimeFigureOut">
              <a:rPr lang="en-US" smtClean="0"/>
              <a:t>1/24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0250" y="1169988"/>
            <a:ext cx="5616575" cy="31591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932" tIns="46966" rIns="93932" bIns="4696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7708" y="4505979"/>
            <a:ext cx="5661660" cy="3686711"/>
          </a:xfrm>
          <a:prstGeom prst="rect">
            <a:avLst/>
          </a:prstGeom>
        </p:spPr>
        <p:txBody>
          <a:bodyPr vert="horz" lIns="93932" tIns="46966" rIns="93932" bIns="4696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93297"/>
            <a:ext cx="3066733" cy="469778"/>
          </a:xfrm>
          <a:prstGeom prst="rect">
            <a:avLst/>
          </a:prstGeom>
        </p:spPr>
        <p:txBody>
          <a:bodyPr vert="horz" lIns="93932" tIns="46966" rIns="93932" bIns="4696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08705" y="8893297"/>
            <a:ext cx="3066733" cy="469778"/>
          </a:xfrm>
          <a:prstGeom prst="rect">
            <a:avLst/>
          </a:prstGeom>
        </p:spPr>
        <p:txBody>
          <a:bodyPr vert="horz" lIns="93932" tIns="46966" rIns="93932" bIns="46966" rtlCol="0" anchor="b"/>
          <a:lstStyle>
            <a:lvl1pPr algn="r">
              <a:defRPr sz="1200"/>
            </a:lvl1pPr>
          </a:lstStyle>
          <a:p>
            <a:fld id="{7E003FAC-BD53-402A-B860-A242125D7D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0073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issing a big number</a:t>
            </a:r>
          </a:p>
          <a:p>
            <a:pPr marL="171450" indent="-171450">
              <a:buFontTx/>
              <a:buChar char="-"/>
            </a:pPr>
            <a:r>
              <a:rPr lang="en-US"/>
              <a:t>Fraud we can stop</a:t>
            </a:r>
          </a:p>
          <a:p>
            <a:pPr marL="171450" indent="-171450">
              <a:buFontTx/>
              <a:buChar char="-"/>
            </a:pPr>
            <a:r>
              <a:rPr lang="en-US" b="1"/>
              <a:t>WF – 10% , 2M a month. </a:t>
            </a:r>
          </a:p>
          <a:p>
            <a:pPr marL="171450" indent="-171450">
              <a:buFontTx/>
              <a:buChar char="-"/>
            </a:pPr>
            <a:endParaRPr lang="en-US"/>
          </a:p>
          <a:p>
            <a:pPr marL="171450" indent="-171450">
              <a:buFontTx/>
              <a:buChar char="-"/>
            </a:pPr>
            <a:r>
              <a:rPr lang="en-US"/>
              <a:t>How much money is it to the banks</a:t>
            </a:r>
            <a:endParaRPr lang="he-I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E71664-0298-4219-8382-24B5E03A1567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7341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R="0" lvl="0" algn="l" defTabSz="108695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i="1" kern="1200">
                <a:solidFill>
                  <a:schemeClr val="dk1"/>
                </a:solidFill>
                <a:highlight>
                  <a:srgbClr val="FFFF00"/>
                </a:highlight>
              </a:rPr>
              <a:t>Please describe the following aspects:</a:t>
            </a:r>
          </a:p>
          <a:p>
            <a:pPr marL="171450" marR="0" lvl="0" indent="-171450" algn="l" defTabSz="108695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i="1" kern="1200">
                <a:solidFill>
                  <a:schemeClr val="dk1"/>
                </a:solidFill>
                <a:highlight>
                  <a:srgbClr val="FFFF00"/>
                </a:highlight>
              </a:rPr>
              <a:t>Activities </a:t>
            </a:r>
          </a:p>
          <a:p>
            <a:pPr marL="171450" marR="0" lvl="0" indent="-171450" algn="l" defTabSz="108695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i="1">
                <a:solidFill>
                  <a:schemeClr val="dk1"/>
                </a:solidFill>
                <a:highlight>
                  <a:srgbClr val="FFFF00"/>
                </a:highlight>
              </a:rPr>
              <a:t>M</a:t>
            </a:r>
            <a:r>
              <a:rPr lang="en-US" sz="1200" i="1" kern="1200">
                <a:solidFill>
                  <a:schemeClr val="dk1"/>
                </a:solidFill>
                <a:highlight>
                  <a:srgbClr val="FFFF00"/>
                </a:highlight>
              </a:rPr>
              <a:t>ilestones</a:t>
            </a:r>
          </a:p>
          <a:p>
            <a:pPr marL="171450" marR="0" lvl="0" indent="-171450" algn="l" defTabSz="108695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i="1">
                <a:solidFill>
                  <a:schemeClr val="dk1"/>
                </a:solidFill>
                <a:highlight>
                  <a:srgbClr val="FFFF00"/>
                </a:highlight>
              </a:rPr>
              <a:t>Deliverables </a:t>
            </a:r>
            <a:endParaRPr lang="en-US" sz="1200" i="1" kern="1200">
              <a:solidFill>
                <a:schemeClr val="dk1"/>
              </a:solidFill>
              <a:highlight>
                <a:srgbClr val="FFFF00"/>
              </a:highlight>
            </a:endParaRP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E71664-0298-4219-8382-24B5E03A1567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8219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E71664-0298-4219-8382-24B5E03A1567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51792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6_Title Open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86C0BC-406C-404A-B558-56F4BA40DC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8" name="Group 27"/>
          <p:cNvGrpSpPr/>
          <p:nvPr/>
        </p:nvGrpSpPr>
        <p:grpSpPr>
          <a:xfrm>
            <a:off x="10232298" y="608183"/>
            <a:ext cx="1355992" cy="565732"/>
            <a:chOff x="14972266" y="563887"/>
            <a:chExt cx="2034341" cy="849514"/>
          </a:xfrm>
        </p:grpSpPr>
        <p:sp>
          <p:nvSpPr>
            <p:cNvPr id="29" name="Freeform 8"/>
            <p:cNvSpPr>
              <a:spLocks/>
            </p:cNvSpPr>
            <p:nvPr userDrawn="1"/>
          </p:nvSpPr>
          <p:spPr bwMode="auto">
            <a:xfrm>
              <a:off x="16539508" y="576857"/>
              <a:ext cx="467099" cy="817088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0" name="Freeform 9"/>
            <p:cNvSpPr>
              <a:spLocks/>
            </p:cNvSpPr>
            <p:nvPr userDrawn="1"/>
          </p:nvSpPr>
          <p:spPr bwMode="auto">
            <a:xfrm>
              <a:off x="15881882" y="563887"/>
              <a:ext cx="577729" cy="849514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1" name="Rectangle 10"/>
            <p:cNvSpPr>
              <a:spLocks noChangeArrowheads="1"/>
            </p:cNvSpPr>
            <p:nvPr userDrawn="1"/>
          </p:nvSpPr>
          <p:spPr bwMode="auto">
            <a:xfrm>
              <a:off x="15623748" y="576857"/>
              <a:ext cx="190526" cy="8170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2" name="Freeform 11"/>
            <p:cNvSpPr>
              <a:spLocks/>
            </p:cNvSpPr>
            <p:nvPr userDrawn="1"/>
          </p:nvSpPr>
          <p:spPr bwMode="auto">
            <a:xfrm>
              <a:off x="14972266" y="576857"/>
              <a:ext cx="546996" cy="817088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4" name="Rectangle 12"/>
            <p:cNvSpPr>
              <a:spLocks noChangeArrowheads="1"/>
            </p:cNvSpPr>
            <p:nvPr userDrawn="1"/>
          </p:nvSpPr>
          <p:spPr bwMode="auto">
            <a:xfrm>
              <a:off x="16459610" y="894615"/>
              <a:ext cx="172090" cy="18157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99"/>
            </a:p>
          </p:txBody>
        </p:sp>
        <p:sp>
          <p:nvSpPr>
            <p:cNvPr id="38" name="Rectangle 13"/>
            <p:cNvSpPr>
              <a:spLocks noChangeArrowheads="1"/>
            </p:cNvSpPr>
            <p:nvPr userDrawn="1"/>
          </p:nvSpPr>
          <p:spPr bwMode="auto">
            <a:xfrm>
              <a:off x="15814272" y="894615"/>
              <a:ext cx="165945" cy="18157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99"/>
            </a:p>
          </p:txBody>
        </p:sp>
        <p:sp>
          <p:nvSpPr>
            <p:cNvPr id="39" name="Rectangle 14"/>
            <p:cNvSpPr>
              <a:spLocks noChangeArrowheads="1"/>
            </p:cNvSpPr>
            <p:nvPr userDrawn="1"/>
          </p:nvSpPr>
          <p:spPr bwMode="auto">
            <a:xfrm>
              <a:off x="15457802" y="894615"/>
              <a:ext cx="165945" cy="18157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99"/>
            </a:p>
          </p:txBody>
        </p:sp>
      </p:grpSp>
      <p:sp>
        <p:nvSpPr>
          <p:cNvPr id="18" name="Rectangle 1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00089" y="2223014"/>
            <a:ext cx="5453717" cy="2165193"/>
          </a:xfrm>
        </p:spPr>
        <p:txBody>
          <a:bodyPr anchor="b" anchorCtr="0"/>
          <a:lstStyle>
            <a:lvl1pPr marL="0" indent="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ZA" sz="4800" b="0" kern="1200" cap="none" baseline="0" dirty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0089" y="4632938"/>
            <a:ext cx="5453717" cy="727075"/>
          </a:xfrm>
        </p:spPr>
        <p:txBody>
          <a:bodyPr lIns="0" rIns="0">
            <a:norm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790151534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6_Title and Content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6851AC7-BD94-427E-9B54-BBD7CAFF665B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6BF3C4A7-C89D-491A-A5A5-82B239DC1A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F48013FE-9868-4FBB-AE5B-CF43DB1EF9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" name="Rectangle 10">
              <a:extLst>
                <a:ext uri="{FF2B5EF4-FFF2-40B4-BE49-F238E27FC236}">
                  <a16:creationId xmlns:a16="http://schemas.microsoft.com/office/drawing/2014/main" id="{3D12ECEF-0114-41BD-81AC-0CBFB59B923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4400753D-D331-4263-994F-DBB81CBF92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1" name="Rectangle 12">
              <a:extLst>
                <a:ext uri="{FF2B5EF4-FFF2-40B4-BE49-F238E27FC236}">
                  <a16:creationId xmlns:a16="http://schemas.microsoft.com/office/drawing/2014/main" id="{2CD8052A-1428-4BC1-A6F0-9DED35B88C4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2" name="Rectangle 13">
              <a:extLst>
                <a:ext uri="{FF2B5EF4-FFF2-40B4-BE49-F238E27FC236}">
                  <a16:creationId xmlns:a16="http://schemas.microsoft.com/office/drawing/2014/main" id="{37A497E3-1B2E-4D89-87E2-8EAB68B77C3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" name="Rectangle 14">
              <a:extLst>
                <a:ext uri="{FF2B5EF4-FFF2-40B4-BE49-F238E27FC236}">
                  <a16:creationId xmlns:a16="http://schemas.microsoft.com/office/drawing/2014/main" id="{CBF2AB88-21D8-4EEF-8890-5C13702848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B95FE76-AA86-4E39-8757-211CAE207BB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0318" y="1184276"/>
            <a:ext cx="11267239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36085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F5C671-2F8D-4533-B0AC-0553EC715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aa-ET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D753D3-C543-417C-BEF8-8CFE90C2F42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8041588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F5C671-2F8D-4533-B0AC-0553EC715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aa-ET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D753D3-C543-417C-BEF8-8CFE90C2F42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7683D46-3B1F-43F5-9EF0-5D63EE62E672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5" name="Freeform 8">
              <a:extLst>
                <a:ext uri="{FF2B5EF4-FFF2-40B4-BE49-F238E27FC236}">
                  <a16:creationId xmlns:a16="http://schemas.microsoft.com/office/drawing/2014/main" id="{1D336DF5-A44E-46BA-AAFE-CEA90A5C72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" name="Freeform 9">
              <a:extLst>
                <a:ext uri="{FF2B5EF4-FFF2-40B4-BE49-F238E27FC236}">
                  <a16:creationId xmlns:a16="http://schemas.microsoft.com/office/drawing/2014/main" id="{C07DC394-59E0-4912-8D51-324A4862B6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7" name="Rectangle 10">
              <a:extLst>
                <a:ext uri="{FF2B5EF4-FFF2-40B4-BE49-F238E27FC236}">
                  <a16:creationId xmlns:a16="http://schemas.microsoft.com/office/drawing/2014/main" id="{CB4F5C5B-19CA-42FF-AF3F-42F3F1A5B05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8" name="Freeform 11">
              <a:extLst>
                <a:ext uri="{FF2B5EF4-FFF2-40B4-BE49-F238E27FC236}">
                  <a16:creationId xmlns:a16="http://schemas.microsoft.com/office/drawing/2014/main" id="{974C23DC-E595-452C-85B5-6572941432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" name="Rectangle 12">
              <a:extLst>
                <a:ext uri="{FF2B5EF4-FFF2-40B4-BE49-F238E27FC236}">
                  <a16:creationId xmlns:a16="http://schemas.microsoft.com/office/drawing/2014/main" id="{F4676689-B2D3-4B3A-9F99-E716329C8A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0" name="Rectangle 13">
              <a:extLst>
                <a:ext uri="{FF2B5EF4-FFF2-40B4-BE49-F238E27FC236}">
                  <a16:creationId xmlns:a16="http://schemas.microsoft.com/office/drawing/2014/main" id="{AC43687C-D6C6-4D5F-A8BB-B5F72A56986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1" name="Rectangle 14">
              <a:extLst>
                <a:ext uri="{FF2B5EF4-FFF2-40B4-BE49-F238E27FC236}">
                  <a16:creationId xmlns:a16="http://schemas.microsoft.com/office/drawing/2014/main" id="{DB8BC89C-0685-4DD2-803F-EAA00FDD6C1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5618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3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4185920" cy="6858000"/>
          </a:xfrm>
          <a:prstGeom prst="rect">
            <a:avLst/>
          </a:prstGeom>
          <a:gradFill flip="none" rotWithShape="1">
            <a:gsLst>
              <a:gs pos="100000">
                <a:schemeClr val="tx1"/>
              </a:gs>
              <a:gs pos="3000">
                <a:schemeClr val="tx1"/>
              </a:gs>
            </a:gsLst>
            <a:lin ang="9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>
              <a:solidFill>
                <a:schemeClr val="bg1"/>
              </a:solidFill>
            </a:endParaRPr>
          </a:p>
        </p:txBody>
      </p:sp>
      <p:sp>
        <p:nvSpPr>
          <p:cNvPr id="200" name="Freeform: Shape 58">
            <a:extLst>
              <a:ext uri="{FF2B5EF4-FFF2-40B4-BE49-F238E27FC236}">
                <a16:creationId xmlns:a16="http://schemas.microsoft.com/office/drawing/2014/main" id="{3F4C24A1-81AB-4E95-B1F9-7198F248F950}"/>
              </a:ext>
            </a:extLst>
          </p:cNvPr>
          <p:cNvSpPr/>
          <p:nvPr/>
        </p:nvSpPr>
        <p:spPr>
          <a:xfrm>
            <a:off x="2113780" y="1087839"/>
            <a:ext cx="764886" cy="764886"/>
          </a:xfrm>
          <a:custGeom>
            <a:avLst/>
            <a:gdLst>
              <a:gd name="connsiteX0" fmla="*/ 0 w 1198054"/>
              <a:gd name="connsiteY0" fmla="*/ 0 h 1198054"/>
              <a:gd name="connsiteX1" fmla="*/ 1198055 w 1198054"/>
              <a:gd name="connsiteY1" fmla="*/ 0 h 1198054"/>
              <a:gd name="connsiteX2" fmla="*/ 1198055 w 1198054"/>
              <a:gd name="connsiteY2" fmla="*/ 1198055 h 1198054"/>
              <a:gd name="connsiteX3" fmla="*/ 0 w 1198054"/>
              <a:gd name="connsiteY3" fmla="*/ 1198055 h 1198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054" h="1198054">
                <a:moveTo>
                  <a:pt x="0" y="0"/>
                </a:moveTo>
                <a:lnTo>
                  <a:pt x="1198055" y="0"/>
                </a:lnTo>
                <a:lnTo>
                  <a:pt x="1198055" y="1198055"/>
                </a:lnTo>
                <a:lnTo>
                  <a:pt x="0" y="1198055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201" name="Freeform: Shape 59">
            <a:extLst>
              <a:ext uri="{FF2B5EF4-FFF2-40B4-BE49-F238E27FC236}">
                <a16:creationId xmlns:a16="http://schemas.microsoft.com/office/drawing/2014/main" id="{6C467ED5-8DC2-4E5A-B93A-0BBDA8707696}"/>
              </a:ext>
            </a:extLst>
          </p:cNvPr>
          <p:cNvSpPr/>
          <p:nvPr/>
        </p:nvSpPr>
        <p:spPr>
          <a:xfrm>
            <a:off x="3507578" y="1087839"/>
            <a:ext cx="764886" cy="764886"/>
          </a:xfrm>
          <a:custGeom>
            <a:avLst/>
            <a:gdLst>
              <a:gd name="connsiteX0" fmla="*/ 0 w 1198054"/>
              <a:gd name="connsiteY0" fmla="*/ 0 h 1198054"/>
              <a:gd name="connsiteX1" fmla="*/ 1198054 w 1198054"/>
              <a:gd name="connsiteY1" fmla="*/ 0 h 1198054"/>
              <a:gd name="connsiteX2" fmla="*/ 1198054 w 1198054"/>
              <a:gd name="connsiteY2" fmla="*/ 1198055 h 1198054"/>
              <a:gd name="connsiteX3" fmla="*/ 0 w 1198054"/>
              <a:gd name="connsiteY3" fmla="*/ 1198055 h 1198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054" h="1198054">
                <a:moveTo>
                  <a:pt x="0" y="0"/>
                </a:moveTo>
                <a:lnTo>
                  <a:pt x="1198054" y="0"/>
                </a:lnTo>
                <a:lnTo>
                  <a:pt x="1198054" y="1198055"/>
                </a:lnTo>
                <a:lnTo>
                  <a:pt x="0" y="1198055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335104" y="2331406"/>
            <a:ext cx="3211285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Freeform: Shape 200">
            <a:extLst>
              <a:ext uri="{FF2B5EF4-FFF2-40B4-BE49-F238E27FC236}">
                <a16:creationId xmlns:a16="http://schemas.microsoft.com/office/drawing/2014/main" id="{8D1103C6-3337-4BF7-881F-812A53FFF047}"/>
              </a:ext>
            </a:extLst>
          </p:cNvPr>
          <p:cNvSpPr/>
          <p:nvPr/>
        </p:nvSpPr>
        <p:spPr>
          <a:xfrm>
            <a:off x="2101057" y="1090507"/>
            <a:ext cx="785174" cy="785174"/>
          </a:xfrm>
          <a:custGeom>
            <a:avLst/>
            <a:gdLst>
              <a:gd name="connsiteX0" fmla="*/ 0 w 839784"/>
              <a:gd name="connsiteY0" fmla="*/ 0 h 839784"/>
              <a:gd name="connsiteX1" fmla="*/ 839785 w 839784"/>
              <a:gd name="connsiteY1" fmla="*/ 0 h 839784"/>
              <a:gd name="connsiteX2" fmla="*/ 839785 w 839784"/>
              <a:gd name="connsiteY2" fmla="*/ 839785 h 839784"/>
              <a:gd name="connsiteX3" fmla="*/ 0 w 839784"/>
              <a:gd name="connsiteY3" fmla="*/ 839785 h 8397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9784" h="839784">
                <a:moveTo>
                  <a:pt x="0" y="0"/>
                </a:moveTo>
                <a:lnTo>
                  <a:pt x="839785" y="0"/>
                </a:lnTo>
                <a:lnTo>
                  <a:pt x="839785" y="839785"/>
                </a:lnTo>
                <a:lnTo>
                  <a:pt x="0" y="839785"/>
                </a:lnTo>
                <a:close/>
              </a:path>
            </a:pathLst>
          </a:custGeom>
          <a:solidFill>
            <a:schemeClr val="accent4"/>
          </a:solidFill>
          <a:ln w="6663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39804" y="448271"/>
            <a:ext cx="3373120" cy="6409729"/>
          </a:xfrm>
          <a:prstGeom prst="rect">
            <a:avLst/>
          </a:prstGeom>
        </p:spPr>
      </p:pic>
      <p:grpSp>
        <p:nvGrpSpPr>
          <p:cNvPr id="202" name="Group 201">
            <a:extLst>
              <a:ext uri="{FF2B5EF4-FFF2-40B4-BE49-F238E27FC236}">
                <a16:creationId xmlns:a16="http://schemas.microsoft.com/office/drawing/2014/main" id="{FCB34E59-0DCC-496A-A305-A4EB1A9B1600}"/>
              </a:ext>
            </a:extLst>
          </p:cNvPr>
          <p:cNvGrpSpPr/>
          <p:nvPr/>
        </p:nvGrpSpPr>
        <p:grpSpPr>
          <a:xfrm>
            <a:off x="1850162" y="1078413"/>
            <a:ext cx="4187963" cy="3670165"/>
            <a:chOff x="5032543" y="809464"/>
            <a:chExt cx="6559677" cy="5748641"/>
          </a:xfrm>
          <a:gradFill>
            <a:gsLst>
              <a:gs pos="0">
                <a:schemeClr val="accent4"/>
              </a:gs>
              <a:gs pos="96460">
                <a:schemeClr val="accent5"/>
              </a:gs>
            </a:gsLst>
            <a:lin ang="5400000" scaled="1"/>
          </a:gradFill>
        </p:grpSpPr>
        <p:sp>
          <p:nvSpPr>
            <p:cNvPr id="203" name="Freeform: Shape 61">
              <a:extLst>
                <a:ext uri="{FF2B5EF4-FFF2-40B4-BE49-F238E27FC236}">
                  <a16:creationId xmlns:a16="http://schemas.microsoft.com/office/drawing/2014/main" id="{4A695992-6A70-41BF-98E7-0C6393D219BC}"/>
                </a:ext>
              </a:extLst>
            </p:cNvPr>
            <p:cNvSpPr/>
            <p:nvPr/>
          </p:nvSpPr>
          <p:spPr>
            <a:xfrm>
              <a:off x="5032543" y="809464"/>
              <a:ext cx="6559677" cy="5748641"/>
            </a:xfrm>
            <a:custGeom>
              <a:avLst/>
              <a:gdLst>
                <a:gd name="connsiteX0" fmla="*/ -128 w 6559677"/>
                <a:gd name="connsiteY0" fmla="*/ 5433625 h 5748641"/>
                <a:gd name="connsiteX1" fmla="*/ 892651 w 6559677"/>
                <a:gd name="connsiteY1" fmla="*/ 5677655 h 5748641"/>
                <a:gd name="connsiteX2" fmla="*/ 1367377 w 6559677"/>
                <a:gd name="connsiteY2" fmla="*/ 5735758 h 5748641"/>
                <a:gd name="connsiteX3" fmla="*/ 1853152 w 6559677"/>
                <a:gd name="connsiteY3" fmla="*/ 5746616 h 5748641"/>
                <a:gd name="connsiteX4" fmla="*/ 3781583 w 6559677"/>
                <a:gd name="connsiteY4" fmla="*/ 5289416 h 5748641"/>
                <a:gd name="connsiteX5" fmla="*/ 4638833 w 6559677"/>
                <a:gd name="connsiteY5" fmla="*/ 4769827 h 5748641"/>
                <a:gd name="connsiteX6" fmla="*/ 5920803 w 6559677"/>
                <a:gd name="connsiteY6" fmla="*/ 3309931 h 5748641"/>
                <a:gd name="connsiteX7" fmla="*/ 6299708 w 6559677"/>
                <a:gd name="connsiteY7" fmla="*/ 2466682 h 5748641"/>
                <a:gd name="connsiteX8" fmla="*/ 6458394 w 6559677"/>
                <a:gd name="connsiteY8" fmla="*/ 1879180 h 5748641"/>
                <a:gd name="connsiteX9" fmla="*/ 6542310 w 6559677"/>
                <a:gd name="connsiteY9" fmla="*/ 1276819 h 5748641"/>
                <a:gd name="connsiteX10" fmla="*/ 6551263 w 6559677"/>
                <a:gd name="connsiteY10" fmla="*/ 1124991 h 5748641"/>
                <a:gd name="connsiteX11" fmla="*/ 6554406 w 6559677"/>
                <a:gd name="connsiteY11" fmla="*/ 1048791 h 5748641"/>
                <a:gd name="connsiteX12" fmla="*/ 6555835 w 6559677"/>
                <a:gd name="connsiteY12" fmla="*/ 972591 h 5748641"/>
                <a:gd name="connsiteX13" fmla="*/ 6556406 w 6559677"/>
                <a:gd name="connsiteY13" fmla="*/ 934491 h 5748641"/>
                <a:gd name="connsiteX14" fmla="*/ 6556406 w 6559677"/>
                <a:gd name="connsiteY14" fmla="*/ 898582 h 5748641"/>
                <a:gd name="connsiteX15" fmla="*/ 6556406 w 6559677"/>
                <a:gd name="connsiteY15" fmla="*/ 830192 h 5748641"/>
                <a:gd name="connsiteX16" fmla="*/ 6556978 w 6559677"/>
                <a:gd name="connsiteY16" fmla="*/ 693318 h 5748641"/>
                <a:gd name="connsiteX17" fmla="*/ 6559550 w 6559677"/>
                <a:gd name="connsiteY17" fmla="*/ 145916 h 5748641"/>
                <a:gd name="connsiteX18" fmla="*/ 6530213 w 6559677"/>
                <a:gd name="connsiteY18" fmla="*/ -293 h 5748641"/>
                <a:gd name="connsiteX19" fmla="*/ 6500781 w 6559677"/>
                <a:gd name="connsiteY19" fmla="*/ 145916 h 5748641"/>
                <a:gd name="connsiteX20" fmla="*/ 6503447 w 6559677"/>
                <a:gd name="connsiteY20" fmla="*/ 693318 h 5748641"/>
                <a:gd name="connsiteX21" fmla="*/ 6504019 w 6559677"/>
                <a:gd name="connsiteY21" fmla="*/ 830192 h 5748641"/>
                <a:gd name="connsiteX22" fmla="*/ 6504019 w 6559677"/>
                <a:gd name="connsiteY22" fmla="*/ 898582 h 5748641"/>
                <a:gd name="connsiteX23" fmla="*/ 6504019 w 6559677"/>
                <a:gd name="connsiteY23" fmla="*/ 935062 h 5748641"/>
                <a:gd name="connsiteX24" fmla="*/ 6504019 w 6559677"/>
                <a:gd name="connsiteY24" fmla="*/ 972686 h 5748641"/>
                <a:gd name="connsiteX25" fmla="*/ 6503162 w 6559677"/>
                <a:gd name="connsiteY25" fmla="*/ 1047838 h 5748641"/>
                <a:gd name="connsiteX26" fmla="*/ 6500590 w 6559677"/>
                <a:gd name="connsiteY26" fmla="*/ 1122991 h 5748641"/>
                <a:gd name="connsiteX27" fmla="*/ 6492589 w 6559677"/>
                <a:gd name="connsiteY27" fmla="*/ 1273295 h 5748641"/>
                <a:gd name="connsiteX28" fmla="*/ 6258846 w 6559677"/>
                <a:gd name="connsiteY28" fmla="*/ 2453157 h 5748641"/>
                <a:gd name="connsiteX29" fmla="*/ 148653 w 6559677"/>
                <a:gd name="connsiteY29" fmla="*/ 5483402 h 5748641"/>
                <a:gd name="connsiteX30" fmla="*/ 730 w 6559677"/>
                <a:gd name="connsiteY30" fmla="*/ 5430862 h 5748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559677" h="5748641">
                  <a:moveTo>
                    <a:pt x="-128" y="5433625"/>
                  </a:moveTo>
                  <a:cubicBezTo>
                    <a:pt x="288956" y="5543400"/>
                    <a:pt x="587927" y="5625115"/>
                    <a:pt x="892651" y="5677655"/>
                  </a:cubicBezTo>
                  <a:cubicBezTo>
                    <a:pt x="1048385" y="5704516"/>
                    <a:pt x="1206976" y="5724042"/>
                    <a:pt x="1367377" y="5735758"/>
                  </a:cubicBezTo>
                  <a:cubicBezTo>
                    <a:pt x="1527778" y="5747473"/>
                    <a:pt x="1689893" y="5750808"/>
                    <a:pt x="1853152" y="5746616"/>
                  </a:cubicBezTo>
                  <a:cubicBezTo>
                    <a:pt x="2520683" y="5729405"/>
                    <a:pt x="3177365" y="5573709"/>
                    <a:pt x="3781583" y="5289416"/>
                  </a:cubicBezTo>
                  <a:cubicBezTo>
                    <a:pt x="4084688" y="5146627"/>
                    <a:pt x="4372010" y="4972481"/>
                    <a:pt x="4638833" y="4769827"/>
                  </a:cubicBezTo>
                  <a:cubicBezTo>
                    <a:pt x="5160422" y="4374826"/>
                    <a:pt x="5596524" y="3878192"/>
                    <a:pt x="5920803" y="3309931"/>
                  </a:cubicBezTo>
                  <a:cubicBezTo>
                    <a:pt x="6073823" y="3041630"/>
                    <a:pt x="6200705" y="2759252"/>
                    <a:pt x="6299708" y="2466682"/>
                  </a:cubicBezTo>
                  <a:cubicBezTo>
                    <a:pt x="6364707" y="2274325"/>
                    <a:pt x="6417703" y="2078110"/>
                    <a:pt x="6458394" y="1879180"/>
                  </a:cubicBezTo>
                  <a:cubicBezTo>
                    <a:pt x="6498704" y="1680308"/>
                    <a:pt x="6526736" y="1479140"/>
                    <a:pt x="6542310" y="1276819"/>
                  </a:cubicBezTo>
                  <a:cubicBezTo>
                    <a:pt x="6545358" y="1226242"/>
                    <a:pt x="6549739" y="1175664"/>
                    <a:pt x="6551263" y="1124991"/>
                  </a:cubicBezTo>
                  <a:lnTo>
                    <a:pt x="6554406" y="1048791"/>
                  </a:lnTo>
                  <a:lnTo>
                    <a:pt x="6555835" y="972591"/>
                  </a:lnTo>
                  <a:lnTo>
                    <a:pt x="6556406" y="934491"/>
                  </a:lnTo>
                  <a:lnTo>
                    <a:pt x="6556406" y="898582"/>
                  </a:lnTo>
                  <a:lnTo>
                    <a:pt x="6556406" y="830192"/>
                  </a:lnTo>
                  <a:lnTo>
                    <a:pt x="6556978" y="693318"/>
                  </a:lnTo>
                  <a:lnTo>
                    <a:pt x="6559550" y="145916"/>
                  </a:lnTo>
                  <a:cubicBezTo>
                    <a:pt x="6559550" y="66001"/>
                    <a:pt x="6542024" y="-293"/>
                    <a:pt x="6530213" y="-293"/>
                  </a:cubicBezTo>
                  <a:cubicBezTo>
                    <a:pt x="6518402" y="-293"/>
                    <a:pt x="6500399" y="66382"/>
                    <a:pt x="6500781" y="145916"/>
                  </a:cubicBezTo>
                  <a:lnTo>
                    <a:pt x="6503447" y="693318"/>
                  </a:lnTo>
                  <a:lnTo>
                    <a:pt x="6504019" y="830192"/>
                  </a:lnTo>
                  <a:lnTo>
                    <a:pt x="6504019" y="898582"/>
                  </a:lnTo>
                  <a:lnTo>
                    <a:pt x="6504019" y="935062"/>
                  </a:lnTo>
                  <a:lnTo>
                    <a:pt x="6504019" y="972686"/>
                  </a:lnTo>
                  <a:lnTo>
                    <a:pt x="6503162" y="1047838"/>
                  </a:lnTo>
                  <a:lnTo>
                    <a:pt x="6500590" y="1122991"/>
                  </a:lnTo>
                  <a:cubicBezTo>
                    <a:pt x="6499447" y="1173187"/>
                    <a:pt x="6495351" y="1223194"/>
                    <a:pt x="6492589" y="1273295"/>
                  </a:cubicBezTo>
                  <a:cubicBezTo>
                    <a:pt x="6464691" y="1674860"/>
                    <a:pt x="6386156" y="2071290"/>
                    <a:pt x="6258846" y="2453157"/>
                  </a:cubicBezTo>
                  <a:cubicBezTo>
                    <a:pt x="5408339" y="4977215"/>
                    <a:pt x="2672711" y="6333909"/>
                    <a:pt x="148653" y="5483402"/>
                  </a:cubicBezTo>
                  <a:cubicBezTo>
                    <a:pt x="99066" y="5466696"/>
                    <a:pt x="49745" y="5449179"/>
                    <a:pt x="730" y="543086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04" name="Freeform: Shape 62">
              <a:extLst>
                <a:ext uri="{FF2B5EF4-FFF2-40B4-BE49-F238E27FC236}">
                  <a16:creationId xmlns:a16="http://schemas.microsoft.com/office/drawing/2014/main" id="{3AFD3DFF-85B9-4C36-A9E5-F756E4F2B893}"/>
                </a:ext>
              </a:extLst>
            </p:cNvPr>
            <p:cNvSpPr/>
            <p:nvPr/>
          </p:nvSpPr>
          <p:spPr>
            <a:xfrm>
              <a:off x="5360966" y="810130"/>
              <a:ext cx="5302662" cy="4820983"/>
            </a:xfrm>
            <a:custGeom>
              <a:avLst/>
              <a:gdLst>
                <a:gd name="connsiteX0" fmla="*/ -128 w 5302662"/>
                <a:gd name="connsiteY0" fmla="*/ 4564087 h 4820983"/>
                <a:gd name="connsiteX1" fmla="*/ 4784756 w 5302662"/>
                <a:gd name="connsiteY1" fmla="*/ 2850444 h 4820983"/>
                <a:gd name="connsiteX2" fmla="*/ 5090985 w 5302662"/>
                <a:gd name="connsiteY2" fmla="*/ 2169788 h 4820983"/>
                <a:gd name="connsiteX3" fmla="*/ 5219573 w 5302662"/>
                <a:gd name="connsiteY3" fmla="*/ 1695634 h 4820983"/>
                <a:gd name="connsiteX4" fmla="*/ 5287771 w 5302662"/>
                <a:gd name="connsiteY4" fmla="*/ 1208430 h 4820983"/>
                <a:gd name="connsiteX5" fmla="*/ 5295106 w 5302662"/>
                <a:gd name="connsiteY5" fmla="*/ 1085462 h 4820983"/>
                <a:gd name="connsiteX6" fmla="*/ 5297678 w 5302662"/>
                <a:gd name="connsiteY6" fmla="*/ 1023835 h 4820983"/>
                <a:gd name="connsiteX7" fmla="*/ 5298821 w 5302662"/>
                <a:gd name="connsiteY7" fmla="*/ 962209 h 4820983"/>
                <a:gd name="connsiteX8" fmla="*/ 5299392 w 5302662"/>
                <a:gd name="connsiteY8" fmla="*/ 931347 h 4820983"/>
                <a:gd name="connsiteX9" fmla="*/ 5299392 w 5302662"/>
                <a:gd name="connsiteY9" fmla="*/ 915727 h 4820983"/>
                <a:gd name="connsiteX10" fmla="*/ 5299392 w 5302662"/>
                <a:gd name="connsiteY10" fmla="*/ 898581 h 4820983"/>
                <a:gd name="connsiteX11" fmla="*/ 5299392 w 5302662"/>
                <a:gd name="connsiteY11" fmla="*/ 830192 h 4820983"/>
                <a:gd name="connsiteX12" fmla="*/ 5299964 w 5302662"/>
                <a:gd name="connsiteY12" fmla="*/ 693318 h 4820983"/>
                <a:gd name="connsiteX13" fmla="*/ 5302536 w 5302662"/>
                <a:gd name="connsiteY13" fmla="*/ 145916 h 4820983"/>
                <a:gd name="connsiteX14" fmla="*/ 5273199 w 5302662"/>
                <a:gd name="connsiteY14" fmla="*/ -293 h 4820983"/>
                <a:gd name="connsiteX15" fmla="*/ 5243861 w 5302662"/>
                <a:gd name="connsiteY15" fmla="*/ 145916 h 4820983"/>
                <a:gd name="connsiteX16" fmla="*/ 5246433 w 5302662"/>
                <a:gd name="connsiteY16" fmla="*/ 693318 h 4820983"/>
                <a:gd name="connsiteX17" fmla="*/ 5247005 w 5302662"/>
                <a:gd name="connsiteY17" fmla="*/ 830192 h 4820983"/>
                <a:gd name="connsiteX18" fmla="*/ 5247005 w 5302662"/>
                <a:gd name="connsiteY18" fmla="*/ 898581 h 4820983"/>
                <a:gd name="connsiteX19" fmla="*/ 5247005 w 5302662"/>
                <a:gd name="connsiteY19" fmla="*/ 931157 h 4820983"/>
                <a:gd name="connsiteX20" fmla="*/ 5247005 w 5302662"/>
                <a:gd name="connsiteY20" fmla="*/ 961637 h 4820983"/>
                <a:gd name="connsiteX21" fmla="*/ 5246433 w 5302662"/>
                <a:gd name="connsiteY21" fmla="*/ 1022502 h 4820983"/>
                <a:gd name="connsiteX22" fmla="*/ 5244337 w 5302662"/>
                <a:gd name="connsiteY22" fmla="*/ 1083367 h 4820983"/>
                <a:gd name="connsiteX23" fmla="*/ 5238051 w 5302662"/>
                <a:gd name="connsiteY23" fmla="*/ 1204905 h 4820983"/>
                <a:gd name="connsiteX24" fmla="*/ 5050218 w 5302662"/>
                <a:gd name="connsiteY24" fmla="*/ 2156167 h 4820983"/>
                <a:gd name="connsiteX25" fmla="*/ 117573 w 5302662"/>
                <a:gd name="connsiteY25" fmla="*/ 4603245 h 4820983"/>
                <a:gd name="connsiteX26" fmla="*/ 444 w 5302662"/>
                <a:gd name="connsiteY26" fmla="*/ 4561706 h 4820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02662" h="4820983">
                  <a:moveTo>
                    <a:pt x="-128" y="4564087"/>
                  </a:moveTo>
                  <a:cubicBezTo>
                    <a:pt x="1799202" y="5249601"/>
                    <a:pt x="3829723" y="4522396"/>
                    <a:pt x="4784756" y="2850444"/>
                  </a:cubicBezTo>
                  <a:cubicBezTo>
                    <a:pt x="4908505" y="2633951"/>
                    <a:pt x="5011061" y="2406008"/>
                    <a:pt x="5090985" y="2169788"/>
                  </a:cubicBezTo>
                  <a:cubicBezTo>
                    <a:pt x="5143592" y="2014540"/>
                    <a:pt x="5186531" y="1856187"/>
                    <a:pt x="5219573" y="1695634"/>
                  </a:cubicBezTo>
                  <a:cubicBezTo>
                    <a:pt x="5252263" y="1534785"/>
                    <a:pt x="5275037" y="1372079"/>
                    <a:pt x="5287771" y="1208430"/>
                  </a:cubicBezTo>
                  <a:cubicBezTo>
                    <a:pt x="5290153" y="1167472"/>
                    <a:pt x="5293963" y="1126515"/>
                    <a:pt x="5295106" y="1085462"/>
                  </a:cubicBezTo>
                  <a:lnTo>
                    <a:pt x="5297678" y="1023835"/>
                  </a:lnTo>
                  <a:lnTo>
                    <a:pt x="5298821" y="962209"/>
                  </a:lnTo>
                  <a:lnTo>
                    <a:pt x="5299392" y="931347"/>
                  </a:lnTo>
                  <a:lnTo>
                    <a:pt x="5299392" y="915727"/>
                  </a:lnTo>
                  <a:lnTo>
                    <a:pt x="5299392" y="898581"/>
                  </a:lnTo>
                  <a:lnTo>
                    <a:pt x="5299392" y="830192"/>
                  </a:lnTo>
                  <a:lnTo>
                    <a:pt x="5299964" y="693318"/>
                  </a:lnTo>
                  <a:lnTo>
                    <a:pt x="5302536" y="145916"/>
                  </a:lnTo>
                  <a:cubicBezTo>
                    <a:pt x="5302536" y="66001"/>
                    <a:pt x="5285009" y="-293"/>
                    <a:pt x="5273199" y="-293"/>
                  </a:cubicBezTo>
                  <a:cubicBezTo>
                    <a:pt x="5261388" y="-293"/>
                    <a:pt x="5243385" y="66382"/>
                    <a:pt x="5243861" y="145916"/>
                  </a:cubicBezTo>
                  <a:lnTo>
                    <a:pt x="5246433" y="693318"/>
                  </a:lnTo>
                  <a:lnTo>
                    <a:pt x="5247005" y="830192"/>
                  </a:lnTo>
                  <a:lnTo>
                    <a:pt x="5247005" y="898581"/>
                  </a:lnTo>
                  <a:lnTo>
                    <a:pt x="5247005" y="931157"/>
                  </a:lnTo>
                  <a:lnTo>
                    <a:pt x="5247005" y="961637"/>
                  </a:lnTo>
                  <a:lnTo>
                    <a:pt x="5246433" y="1022502"/>
                  </a:lnTo>
                  <a:lnTo>
                    <a:pt x="5244337" y="1083367"/>
                  </a:lnTo>
                  <a:cubicBezTo>
                    <a:pt x="5243481" y="1123943"/>
                    <a:pt x="5240052" y="1164329"/>
                    <a:pt x="5238051" y="1204905"/>
                  </a:cubicBezTo>
                  <a:cubicBezTo>
                    <a:pt x="5215725" y="1528632"/>
                    <a:pt x="5152612" y="1848252"/>
                    <a:pt x="5050218" y="2156167"/>
                  </a:cubicBezTo>
                  <a:cubicBezTo>
                    <a:pt x="4363846" y="4194022"/>
                    <a:pt x="2155428" y="5289616"/>
                    <a:pt x="117573" y="4603245"/>
                  </a:cubicBezTo>
                  <a:cubicBezTo>
                    <a:pt x="78311" y="4590024"/>
                    <a:pt x="39258" y="4576175"/>
                    <a:pt x="444" y="45617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05" name="Freeform: Shape 63">
              <a:extLst>
                <a:ext uri="{FF2B5EF4-FFF2-40B4-BE49-F238E27FC236}">
                  <a16:creationId xmlns:a16="http://schemas.microsoft.com/office/drawing/2014/main" id="{B8366D18-5409-4EF0-A9DD-C49DE5E73CE8}"/>
                </a:ext>
              </a:extLst>
            </p:cNvPr>
            <p:cNvSpPr/>
            <p:nvPr/>
          </p:nvSpPr>
          <p:spPr>
            <a:xfrm>
              <a:off x="5324199" y="810130"/>
              <a:ext cx="5441917" cy="4922572"/>
            </a:xfrm>
            <a:custGeom>
              <a:avLst/>
              <a:gdLst>
                <a:gd name="connsiteX0" fmla="*/ -128 w 5441917"/>
                <a:gd name="connsiteY0" fmla="*/ 4660671 h 4922572"/>
                <a:gd name="connsiteX1" fmla="*/ 739013 w 5441917"/>
                <a:gd name="connsiteY1" fmla="*/ 4863077 h 4922572"/>
                <a:gd name="connsiteX2" fmla="*/ 1132776 w 5441917"/>
                <a:gd name="connsiteY2" fmla="*/ 4911464 h 4922572"/>
                <a:gd name="connsiteX3" fmla="*/ 1536731 w 5441917"/>
                <a:gd name="connsiteY3" fmla="*/ 4920989 h 4922572"/>
                <a:gd name="connsiteX4" fmla="*/ 5225574 w 5441917"/>
                <a:gd name="connsiteY4" fmla="*/ 2202744 h 4922572"/>
                <a:gd name="connsiteX5" fmla="*/ 5357399 w 5441917"/>
                <a:gd name="connsiteY5" fmla="*/ 1716017 h 4922572"/>
                <a:gd name="connsiteX6" fmla="*/ 5427218 w 5441917"/>
                <a:gd name="connsiteY6" fmla="*/ 1215954 h 4922572"/>
                <a:gd name="connsiteX7" fmla="*/ 5434838 w 5441917"/>
                <a:gd name="connsiteY7" fmla="*/ 1089748 h 4922572"/>
                <a:gd name="connsiteX8" fmla="*/ 5437505 w 5441917"/>
                <a:gd name="connsiteY8" fmla="*/ 1026597 h 4922572"/>
                <a:gd name="connsiteX9" fmla="*/ 5438648 w 5441917"/>
                <a:gd name="connsiteY9" fmla="*/ 963352 h 4922572"/>
                <a:gd name="connsiteX10" fmla="*/ 5439124 w 5441917"/>
                <a:gd name="connsiteY10" fmla="*/ 931728 h 4922572"/>
                <a:gd name="connsiteX11" fmla="*/ 5439124 w 5441917"/>
                <a:gd name="connsiteY11" fmla="*/ 915727 h 4922572"/>
                <a:gd name="connsiteX12" fmla="*/ 5439124 w 5441917"/>
                <a:gd name="connsiteY12" fmla="*/ 898581 h 4922572"/>
                <a:gd name="connsiteX13" fmla="*/ 5439124 w 5441917"/>
                <a:gd name="connsiteY13" fmla="*/ 830192 h 4922572"/>
                <a:gd name="connsiteX14" fmla="*/ 5439124 w 5441917"/>
                <a:gd name="connsiteY14" fmla="*/ 693318 h 4922572"/>
                <a:gd name="connsiteX15" fmla="*/ 5441791 w 5441917"/>
                <a:gd name="connsiteY15" fmla="*/ 145916 h 4922572"/>
                <a:gd name="connsiteX16" fmla="*/ 5412359 w 5441917"/>
                <a:gd name="connsiteY16" fmla="*/ -293 h 4922572"/>
                <a:gd name="connsiteX17" fmla="*/ 5383022 w 5441917"/>
                <a:gd name="connsiteY17" fmla="*/ 145916 h 4922572"/>
                <a:gd name="connsiteX18" fmla="*/ 5385594 w 5441917"/>
                <a:gd name="connsiteY18" fmla="*/ 693318 h 4922572"/>
                <a:gd name="connsiteX19" fmla="*/ 5386165 w 5441917"/>
                <a:gd name="connsiteY19" fmla="*/ 830192 h 4922572"/>
                <a:gd name="connsiteX20" fmla="*/ 5386165 w 5441917"/>
                <a:gd name="connsiteY20" fmla="*/ 898581 h 4922572"/>
                <a:gd name="connsiteX21" fmla="*/ 5386165 w 5441917"/>
                <a:gd name="connsiteY21" fmla="*/ 915345 h 4922572"/>
                <a:gd name="connsiteX22" fmla="*/ 5386165 w 5441917"/>
                <a:gd name="connsiteY22" fmla="*/ 931157 h 4922572"/>
                <a:gd name="connsiteX23" fmla="*/ 5386165 w 5441917"/>
                <a:gd name="connsiteY23" fmla="*/ 962399 h 4922572"/>
                <a:gd name="connsiteX24" fmla="*/ 5385498 w 5441917"/>
                <a:gd name="connsiteY24" fmla="*/ 1024883 h 4922572"/>
                <a:gd name="connsiteX25" fmla="*/ 5383308 w 5441917"/>
                <a:gd name="connsiteY25" fmla="*/ 1087272 h 4922572"/>
                <a:gd name="connsiteX26" fmla="*/ 5376831 w 5441917"/>
                <a:gd name="connsiteY26" fmla="*/ 1212049 h 4922572"/>
                <a:gd name="connsiteX27" fmla="*/ 5183949 w 5441917"/>
                <a:gd name="connsiteY27" fmla="*/ 2188743 h 4922572"/>
                <a:gd name="connsiteX28" fmla="*/ 119468 w 5441917"/>
                <a:gd name="connsiteY28" fmla="*/ 4700771 h 4922572"/>
                <a:gd name="connsiteX29" fmla="*/ 730 w 5441917"/>
                <a:gd name="connsiteY29" fmla="*/ 4658671 h 492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441917" h="4922572">
                  <a:moveTo>
                    <a:pt x="-128" y="4660671"/>
                  </a:moveTo>
                  <a:cubicBezTo>
                    <a:pt x="239217" y="4751616"/>
                    <a:pt x="486724" y="4819396"/>
                    <a:pt x="739013" y="4863077"/>
                  </a:cubicBezTo>
                  <a:cubicBezTo>
                    <a:pt x="868076" y="4885366"/>
                    <a:pt x="999617" y="4901177"/>
                    <a:pt x="1132776" y="4911464"/>
                  </a:cubicBezTo>
                  <a:cubicBezTo>
                    <a:pt x="1265936" y="4921751"/>
                    <a:pt x="1401095" y="4924132"/>
                    <a:pt x="1536731" y="4920989"/>
                  </a:cubicBezTo>
                  <a:cubicBezTo>
                    <a:pt x="3214379" y="4877155"/>
                    <a:pt x="4686830" y="3792134"/>
                    <a:pt x="5225574" y="2202744"/>
                  </a:cubicBezTo>
                  <a:cubicBezTo>
                    <a:pt x="5279533" y="2043382"/>
                    <a:pt x="5323557" y="1880828"/>
                    <a:pt x="5357399" y="1716017"/>
                  </a:cubicBezTo>
                  <a:cubicBezTo>
                    <a:pt x="5390861" y="1550911"/>
                    <a:pt x="5414178" y="1383909"/>
                    <a:pt x="5427218" y="1215954"/>
                  </a:cubicBezTo>
                  <a:cubicBezTo>
                    <a:pt x="5429694" y="1173949"/>
                    <a:pt x="5433599" y="1131944"/>
                    <a:pt x="5434838" y="1089748"/>
                  </a:cubicBezTo>
                  <a:lnTo>
                    <a:pt x="5437505" y="1026597"/>
                  </a:lnTo>
                  <a:lnTo>
                    <a:pt x="5438648" y="963352"/>
                  </a:lnTo>
                  <a:lnTo>
                    <a:pt x="5439124" y="931728"/>
                  </a:lnTo>
                  <a:lnTo>
                    <a:pt x="5439124" y="915727"/>
                  </a:lnTo>
                  <a:lnTo>
                    <a:pt x="5439124" y="898581"/>
                  </a:lnTo>
                  <a:lnTo>
                    <a:pt x="5439124" y="830192"/>
                  </a:lnTo>
                  <a:lnTo>
                    <a:pt x="5439124" y="693318"/>
                  </a:lnTo>
                  <a:lnTo>
                    <a:pt x="5441791" y="145916"/>
                  </a:lnTo>
                  <a:cubicBezTo>
                    <a:pt x="5441791" y="66001"/>
                    <a:pt x="5424170" y="-293"/>
                    <a:pt x="5412359" y="-293"/>
                  </a:cubicBezTo>
                  <a:cubicBezTo>
                    <a:pt x="5400548" y="-293"/>
                    <a:pt x="5382545" y="66382"/>
                    <a:pt x="5383022" y="145916"/>
                  </a:cubicBezTo>
                  <a:lnTo>
                    <a:pt x="5385594" y="693318"/>
                  </a:lnTo>
                  <a:lnTo>
                    <a:pt x="5386165" y="830192"/>
                  </a:lnTo>
                  <a:lnTo>
                    <a:pt x="5386165" y="898581"/>
                  </a:lnTo>
                  <a:lnTo>
                    <a:pt x="5386165" y="915345"/>
                  </a:lnTo>
                  <a:lnTo>
                    <a:pt x="5386165" y="931157"/>
                  </a:lnTo>
                  <a:lnTo>
                    <a:pt x="5386165" y="962399"/>
                  </a:lnTo>
                  <a:lnTo>
                    <a:pt x="5385498" y="1024883"/>
                  </a:lnTo>
                  <a:lnTo>
                    <a:pt x="5383308" y="1087272"/>
                  </a:lnTo>
                  <a:cubicBezTo>
                    <a:pt x="5382545" y="1128991"/>
                    <a:pt x="5379021" y="1170425"/>
                    <a:pt x="5376831" y="1212049"/>
                  </a:cubicBezTo>
                  <a:cubicBezTo>
                    <a:pt x="5353904" y="1544434"/>
                    <a:pt x="5289096" y="1872598"/>
                    <a:pt x="5183949" y="2188743"/>
                  </a:cubicBezTo>
                  <a:cubicBezTo>
                    <a:pt x="4479109" y="4280938"/>
                    <a:pt x="2211663" y="5405612"/>
                    <a:pt x="119468" y="4700771"/>
                  </a:cubicBezTo>
                  <a:cubicBezTo>
                    <a:pt x="79673" y="4687360"/>
                    <a:pt x="40087" y="4673330"/>
                    <a:pt x="730" y="465867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06" name="Freeform: Shape 64">
              <a:extLst>
                <a:ext uri="{FF2B5EF4-FFF2-40B4-BE49-F238E27FC236}">
                  <a16:creationId xmlns:a16="http://schemas.microsoft.com/office/drawing/2014/main" id="{D5EE1256-1C28-43A8-B58C-E3938B79559D}"/>
                </a:ext>
              </a:extLst>
            </p:cNvPr>
            <p:cNvSpPr/>
            <p:nvPr/>
          </p:nvSpPr>
          <p:spPr>
            <a:xfrm>
              <a:off x="5287718" y="810130"/>
              <a:ext cx="5581754" cy="5025616"/>
            </a:xfrm>
            <a:custGeom>
              <a:avLst/>
              <a:gdLst>
                <a:gd name="connsiteX0" fmla="*/ -128 w 5581754"/>
                <a:gd name="connsiteY0" fmla="*/ 4757159 h 5025616"/>
                <a:gd name="connsiteX1" fmla="*/ 758253 w 5581754"/>
                <a:gd name="connsiteY1" fmla="*/ 4964804 h 5025616"/>
                <a:gd name="connsiteX2" fmla="*/ 1162113 w 5581754"/>
                <a:gd name="connsiteY2" fmla="*/ 5014429 h 5025616"/>
                <a:gd name="connsiteX3" fmla="*/ 1576260 w 5581754"/>
                <a:gd name="connsiteY3" fmla="*/ 5023954 h 5025616"/>
                <a:gd name="connsiteX4" fmla="*/ 5359495 w 5581754"/>
                <a:gd name="connsiteY4" fmla="*/ 2235606 h 5025616"/>
                <a:gd name="connsiteX5" fmla="*/ 5494655 w 5581754"/>
                <a:gd name="connsiteY5" fmla="*/ 1736305 h 5025616"/>
                <a:gd name="connsiteX6" fmla="*/ 5566283 w 5581754"/>
                <a:gd name="connsiteY6" fmla="*/ 1223479 h 5025616"/>
                <a:gd name="connsiteX7" fmla="*/ 5573998 w 5581754"/>
                <a:gd name="connsiteY7" fmla="*/ 1094130 h 5025616"/>
                <a:gd name="connsiteX8" fmla="*/ 5576760 w 5581754"/>
                <a:gd name="connsiteY8" fmla="*/ 1029360 h 5025616"/>
                <a:gd name="connsiteX9" fmla="*/ 5577903 w 5581754"/>
                <a:gd name="connsiteY9" fmla="*/ 964494 h 5025616"/>
                <a:gd name="connsiteX10" fmla="*/ 5578475 w 5581754"/>
                <a:gd name="connsiteY10" fmla="*/ 932014 h 5025616"/>
                <a:gd name="connsiteX11" fmla="*/ 5578475 w 5581754"/>
                <a:gd name="connsiteY11" fmla="*/ 915727 h 5025616"/>
                <a:gd name="connsiteX12" fmla="*/ 5578475 w 5581754"/>
                <a:gd name="connsiteY12" fmla="*/ 898581 h 5025616"/>
                <a:gd name="connsiteX13" fmla="*/ 5578475 w 5581754"/>
                <a:gd name="connsiteY13" fmla="*/ 830192 h 5025616"/>
                <a:gd name="connsiteX14" fmla="*/ 5579046 w 5581754"/>
                <a:gd name="connsiteY14" fmla="*/ 693318 h 5025616"/>
                <a:gd name="connsiteX15" fmla="*/ 5581618 w 5581754"/>
                <a:gd name="connsiteY15" fmla="*/ 145916 h 5025616"/>
                <a:gd name="connsiteX16" fmla="*/ 5552281 w 5581754"/>
                <a:gd name="connsiteY16" fmla="*/ -293 h 5025616"/>
                <a:gd name="connsiteX17" fmla="*/ 5522849 w 5581754"/>
                <a:gd name="connsiteY17" fmla="*/ 145916 h 5025616"/>
                <a:gd name="connsiteX18" fmla="*/ 5525516 w 5581754"/>
                <a:gd name="connsiteY18" fmla="*/ 693318 h 5025616"/>
                <a:gd name="connsiteX19" fmla="*/ 5526087 w 5581754"/>
                <a:gd name="connsiteY19" fmla="*/ 830192 h 5025616"/>
                <a:gd name="connsiteX20" fmla="*/ 5526087 w 5581754"/>
                <a:gd name="connsiteY20" fmla="*/ 898581 h 5025616"/>
                <a:gd name="connsiteX21" fmla="*/ 5526087 w 5581754"/>
                <a:gd name="connsiteY21" fmla="*/ 931824 h 5025616"/>
                <a:gd name="connsiteX22" fmla="*/ 5526087 w 5581754"/>
                <a:gd name="connsiteY22" fmla="*/ 963923 h 5025616"/>
                <a:gd name="connsiteX23" fmla="*/ 5525420 w 5581754"/>
                <a:gd name="connsiteY23" fmla="*/ 1027931 h 5025616"/>
                <a:gd name="connsiteX24" fmla="*/ 5523230 w 5581754"/>
                <a:gd name="connsiteY24" fmla="*/ 1092034 h 5025616"/>
                <a:gd name="connsiteX25" fmla="*/ 5516562 w 5581754"/>
                <a:gd name="connsiteY25" fmla="*/ 1219955 h 5025616"/>
                <a:gd name="connsiteX26" fmla="*/ 5318538 w 5581754"/>
                <a:gd name="connsiteY26" fmla="*/ 2221985 h 5025616"/>
                <a:gd name="connsiteX27" fmla="*/ 123745 w 5581754"/>
                <a:gd name="connsiteY27" fmla="*/ 4798384 h 5025616"/>
                <a:gd name="connsiteX28" fmla="*/ 825 w 5581754"/>
                <a:gd name="connsiteY28" fmla="*/ 4754778 h 5025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581754" h="5025616">
                  <a:moveTo>
                    <a:pt x="-128" y="4757159"/>
                  </a:moveTo>
                  <a:cubicBezTo>
                    <a:pt x="245427" y="4850504"/>
                    <a:pt x="499392" y="4920037"/>
                    <a:pt x="758253" y="4964804"/>
                  </a:cubicBezTo>
                  <a:cubicBezTo>
                    <a:pt x="890651" y="4987664"/>
                    <a:pt x="1025524" y="5004428"/>
                    <a:pt x="1162113" y="5014429"/>
                  </a:cubicBezTo>
                  <a:cubicBezTo>
                    <a:pt x="1298702" y="5024431"/>
                    <a:pt x="1437195" y="5027384"/>
                    <a:pt x="1576260" y="5023954"/>
                  </a:cubicBezTo>
                  <a:cubicBezTo>
                    <a:pt x="3296904" y="4978701"/>
                    <a:pt x="4806960" y="3865743"/>
                    <a:pt x="5359495" y="2235606"/>
                  </a:cubicBezTo>
                  <a:cubicBezTo>
                    <a:pt x="5414807" y="2072119"/>
                    <a:pt x="5459946" y="1905364"/>
                    <a:pt x="5494655" y="1736305"/>
                  </a:cubicBezTo>
                  <a:cubicBezTo>
                    <a:pt x="5528964" y="1566979"/>
                    <a:pt x="5552881" y="1395720"/>
                    <a:pt x="5566283" y="1223479"/>
                  </a:cubicBezTo>
                  <a:cubicBezTo>
                    <a:pt x="5568854" y="1180331"/>
                    <a:pt x="5572760" y="1137278"/>
                    <a:pt x="5573998" y="1094130"/>
                  </a:cubicBezTo>
                  <a:lnTo>
                    <a:pt x="5576760" y="1029360"/>
                  </a:lnTo>
                  <a:lnTo>
                    <a:pt x="5577903" y="964494"/>
                  </a:lnTo>
                  <a:lnTo>
                    <a:pt x="5578475" y="932014"/>
                  </a:lnTo>
                  <a:lnTo>
                    <a:pt x="5578475" y="915727"/>
                  </a:lnTo>
                  <a:lnTo>
                    <a:pt x="5578475" y="898581"/>
                  </a:lnTo>
                  <a:lnTo>
                    <a:pt x="5578475" y="830192"/>
                  </a:lnTo>
                  <a:lnTo>
                    <a:pt x="5579046" y="693318"/>
                  </a:lnTo>
                  <a:lnTo>
                    <a:pt x="5581618" y="145916"/>
                  </a:lnTo>
                  <a:cubicBezTo>
                    <a:pt x="5582094" y="66001"/>
                    <a:pt x="5564092" y="-293"/>
                    <a:pt x="5552281" y="-293"/>
                  </a:cubicBezTo>
                  <a:cubicBezTo>
                    <a:pt x="5540470" y="-293"/>
                    <a:pt x="5522468" y="66382"/>
                    <a:pt x="5522849" y="145916"/>
                  </a:cubicBezTo>
                  <a:lnTo>
                    <a:pt x="5525516" y="693318"/>
                  </a:lnTo>
                  <a:lnTo>
                    <a:pt x="5526087" y="830192"/>
                  </a:lnTo>
                  <a:lnTo>
                    <a:pt x="5526087" y="898581"/>
                  </a:lnTo>
                  <a:lnTo>
                    <a:pt x="5526087" y="931824"/>
                  </a:lnTo>
                  <a:lnTo>
                    <a:pt x="5526087" y="963923"/>
                  </a:lnTo>
                  <a:lnTo>
                    <a:pt x="5525420" y="1027931"/>
                  </a:lnTo>
                  <a:lnTo>
                    <a:pt x="5523230" y="1092034"/>
                  </a:lnTo>
                  <a:cubicBezTo>
                    <a:pt x="5522372" y="1134706"/>
                    <a:pt x="5518753" y="1177283"/>
                    <a:pt x="5516562" y="1219955"/>
                  </a:cubicBezTo>
                  <a:cubicBezTo>
                    <a:pt x="5492921" y="1560960"/>
                    <a:pt x="5426389" y="1897621"/>
                    <a:pt x="5318538" y="2221985"/>
                  </a:cubicBezTo>
                  <a:cubicBezTo>
                    <a:pt x="4595485" y="4367939"/>
                    <a:pt x="2269699" y="5521435"/>
                    <a:pt x="123745" y="4798384"/>
                  </a:cubicBezTo>
                  <a:cubicBezTo>
                    <a:pt x="82540" y="4784496"/>
                    <a:pt x="41563" y="4769961"/>
                    <a:pt x="825" y="475477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07" name="Freeform: Shape 65">
              <a:extLst>
                <a:ext uri="{FF2B5EF4-FFF2-40B4-BE49-F238E27FC236}">
                  <a16:creationId xmlns:a16="http://schemas.microsoft.com/office/drawing/2014/main" id="{20BD29A3-DCDA-4710-86D9-8420D470B3FA}"/>
                </a:ext>
              </a:extLst>
            </p:cNvPr>
            <p:cNvSpPr/>
            <p:nvPr/>
          </p:nvSpPr>
          <p:spPr>
            <a:xfrm>
              <a:off x="5251237" y="809464"/>
              <a:ext cx="5722429" cy="5129417"/>
            </a:xfrm>
            <a:custGeom>
              <a:avLst/>
              <a:gdLst>
                <a:gd name="connsiteX0" fmla="*/ -128 w 5722429"/>
                <a:gd name="connsiteY0" fmla="*/ 4854409 h 5129417"/>
                <a:gd name="connsiteX1" fmla="*/ 777494 w 5722429"/>
                <a:gd name="connsiteY1" fmla="*/ 5067198 h 5129417"/>
                <a:gd name="connsiteX2" fmla="*/ 1191450 w 5722429"/>
                <a:gd name="connsiteY2" fmla="*/ 5118061 h 5129417"/>
                <a:gd name="connsiteX3" fmla="*/ 1615884 w 5722429"/>
                <a:gd name="connsiteY3" fmla="*/ 5127586 h 5129417"/>
                <a:gd name="connsiteX4" fmla="*/ 5494178 w 5722429"/>
                <a:gd name="connsiteY4" fmla="*/ 2269134 h 5129417"/>
                <a:gd name="connsiteX5" fmla="*/ 5706014 w 5722429"/>
                <a:gd name="connsiteY5" fmla="*/ 1231576 h 5129417"/>
                <a:gd name="connsiteX6" fmla="*/ 5713920 w 5722429"/>
                <a:gd name="connsiteY6" fmla="*/ 1098987 h 5129417"/>
                <a:gd name="connsiteX7" fmla="*/ 5716778 w 5722429"/>
                <a:gd name="connsiteY7" fmla="*/ 1032312 h 5129417"/>
                <a:gd name="connsiteX8" fmla="*/ 5717921 w 5722429"/>
                <a:gd name="connsiteY8" fmla="*/ 965637 h 5129417"/>
                <a:gd name="connsiteX9" fmla="*/ 5719064 w 5722429"/>
                <a:gd name="connsiteY9" fmla="*/ 830192 h 5129417"/>
                <a:gd name="connsiteX10" fmla="*/ 5719635 w 5722429"/>
                <a:gd name="connsiteY10" fmla="*/ 693318 h 5129417"/>
                <a:gd name="connsiteX11" fmla="*/ 5722302 w 5722429"/>
                <a:gd name="connsiteY11" fmla="*/ 145916 h 5129417"/>
                <a:gd name="connsiteX12" fmla="*/ 5692870 w 5722429"/>
                <a:gd name="connsiteY12" fmla="*/ -293 h 5129417"/>
                <a:gd name="connsiteX13" fmla="*/ 5663533 w 5722429"/>
                <a:gd name="connsiteY13" fmla="*/ 145916 h 5129417"/>
                <a:gd name="connsiteX14" fmla="*/ 5666105 w 5722429"/>
                <a:gd name="connsiteY14" fmla="*/ 693318 h 5129417"/>
                <a:gd name="connsiteX15" fmla="*/ 5666676 w 5722429"/>
                <a:gd name="connsiteY15" fmla="*/ 830192 h 5129417"/>
                <a:gd name="connsiteX16" fmla="*/ 5666676 w 5722429"/>
                <a:gd name="connsiteY16" fmla="*/ 965066 h 5129417"/>
                <a:gd name="connsiteX17" fmla="*/ 5666009 w 5722429"/>
                <a:gd name="connsiteY17" fmla="*/ 1030693 h 5129417"/>
                <a:gd name="connsiteX18" fmla="*/ 5663628 w 5722429"/>
                <a:gd name="connsiteY18" fmla="*/ 1096987 h 5129417"/>
                <a:gd name="connsiteX19" fmla="*/ 5656770 w 5722429"/>
                <a:gd name="connsiteY19" fmla="*/ 1228051 h 5129417"/>
                <a:gd name="connsiteX20" fmla="*/ 5453697 w 5722429"/>
                <a:gd name="connsiteY20" fmla="*/ 2255609 h 5129417"/>
                <a:gd name="connsiteX21" fmla="*/ 128641 w 5722429"/>
                <a:gd name="connsiteY21" fmla="*/ 4897386 h 5129417"/>
                <a:gd name="connsiteX22" fmla="*/ 825 w 5722429"/>
                <a:gd name="connsiteY22" fmla="*/ 4852028 h 5129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722429" h="5129417">
                  <a:moveTo>
                    <a:pt x="-128" y="4854409"/>
                  </a:moveTo>
                  <a:cubicBezTo>
                    <a:pt x="251685" y="4950031"/>
                    <a:pt x="512079" y="5021287"/>
                    <a:pt x="777494" y="5067198"/>
                  </a:cubicBezTo>
                  <a:cubicBezTo>
                    <a:pt x="913253" y="5090630"/>
                    <a:pt x="1051242" y="5107584"/>
                    <a:pt x="1191450" y="5118061"/>
                  </a:cubicBezTo>
                  <a:cubicBezTo>
                    <a:pt x="1331563" y="5128348"/>
                    <a:pt x="1473295" y="5131301"/>
                    <a:pt x="1615884" y="5127586"/>
                  </a:cubicBezTo>
                  <a:cubicBezTo>
                    <a:pt x="3379790" y="5081238"/>
                    <a:pt x="4927822" y="3940285"/>
                    <a:pt x="5494178" y="2269134"/>
                  </a:cubicBezTo>
                  <a:cubicBezTo>
                    <a:pt x="5607983" y="1933521"/>
                    <a:pt x="5679154" y="1584934"/>
                    <a:pt x="5706014" y="1231576"/>
                  </a:cubicBezTo>
                  <a:cubicBezTo>
                    <a:pt x="5708682" y="1187379"/>
                    <a:pt x="5712682" y="1143279"/>
                    <a:pt x="5713920" y="1098987"/>
                  </a:cubicBezTo>
                  <a:lnTo>
                    <a:pt x="5716778" y="1032312"/>
                  </a:lnTo>
                  <a:lnTo>
                    <a:pt x="5717921" y="965637"/>
                  </a:lnTo>
                  <a:cubicBezTo>
                    <a:pt x="5718968" y="921918"/>
                    <a:pt x="5718874" y="875721"/>
                    <a:pt x="5719064" y="830192"/>
                  </a:cubicBezTo>
                  <a:lnTo>
                    <a:pt x="5719635" y="693318"/>
                  </a:lnTo>
                  <a:lnTo>
                    <a:pt x="5722302" y="145916"/>
                  </a:lnTo>
                  <a:cubicBezTo>
                    <a:pt x="5722302" y="66001"/>
                    <a:pt x="5704681" y="-293"/>
                    <a:pt x="5692870" y="-293"/>
                  </a:cubicBezTo>
                  <a:cubicBezTo>
                    <a:pt x="5681059" y="-293"/>
                    <a:pt x="5663057" y="66382"/>
                    <a:pt x="5663533" y="145916"/>
                  </a:cubicBezTo>
                  <a:lnTo>
                    <a:pt x="5666105" y="693318"/>
                  </a:lnTo>
                  <a:lnTo>
                    <a:pt x="5666676" y="830192"/>
                  </a:lnTo>
                  <a:cubicBezTo>
                    <a:pt x="5666676" y="875721"/>
                    <a:pt x="5667248" y="922108"/>
                    <a:pt x="5666676" y="965066"/>
                  </a:cubicBezTo>
                  <a:lnTo>
                    <a:pt x="5666009" y="1030693"/>
                  </a:lnTo>
                  <a:lnTo>
                    <a:pt x="5663628" y="1096987"/>
                  </a:lnTo>
                  <a:cubicBezTo>
                    <a:pt x="5662771" y="1140802"/>
                    <a:pt x="5659056" y="1184427"/>
                    <a:pt x="5656770" y="1228051"/>
                  </a:cubicBezTo>
                  <a:cubicBezTo>
                    <a:pt x="5632519" y="1577743"/>
                    <a:pt x="5564292" y="1922986"/>
                    <a:pt x="5453697" y="2255609"/>
                  </a:cubicBezTo>
                  <a:cubicBezTo>
                    <a:pt x="4712729" y="4455588"/>
                    <a:pt x="2328621" y="5638355"/>
                    <a:pt x="128641" y="4897386"/>
                  </a:cubicBezTo>
                  <a:cubicBezTo>
                    <a:pt x="85788" y="4882956"/>
                    <a:pt x="43183" y="4867830"/>
                    <a:pt x="825" y="48520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08" name="Freeform: Shape 66">
              <a:extLst>
                <a:ext uri="{FF2B5EF4-FFF2-40B4-BE49-F238E27FC236}">
                  <a16:creationId xmlns:a16="http://schemas.microsoft.com/office/drawing/2014/main" id="{B1756CB2-646C-4F01-8381-9C94A1B64307}"/>
                </a:ext>
              </a:extLst>
            </p:cNvPr>
            <p:cNvSpPr/>
            <p:nvPr/>
          </p:nvSpPr>
          <p:spPr>
            <a:xfrm>
              <a:off x="5214852" y="810130"/>
              <a:ext cx="5861970" cy="5231888"/>
            </a:xfrm>
            <a:custGeom>
              <a:avLst/>
              <a:gdLst>
                <a:gd name="connsiteX0" fmla="*/ -128 w 5861970"/>
                <a:gd name="connsiteY0" fmla="*/ 4950326 h 5231888"/>
                <a:gd name="connsiteX1" fmla="*/ 796639 w 5861970"/>
                <a:gd name="connsiteY1" fmla="*/ 5168258 h 5231888"/>
                <a:gd name="connsiteX2" fmla="*/ 1220787 w 5861970"/>
                <a:gd name="connsiteY2" fmla="*/ 5220360 h 5231888"/>
                <a:gd name="connsiteX3" fmla="*/ 1655317 w 5861970"/>
                <a:gd name="connsiteY3" fmla="*/ 5229885 h 5231888"/>
                <a:gd name="connsiteX4" fmla="*/ 5628386 w 5861970"/>
                <a:gd name="connsiteY4" fmla="*/ 2301424 h 5231888"/>
                <a:gd name="connsiteX5" fmla="*/ 5845365 w 5861970"/>
                <a:gd name="connsiteY5" fmla="*/ 1238529 h 5231888"/>
                <a:gd name="connsiteX6" fmla="*/ 5853462 w 5861970"/>
                <a:gd name="connsiteY6" fmla="*/ 1102797 h 5231888"/>
                <a:gd name="connsiteX7" fmla="*/ 5856319 w 5861970"/>
                <a:gd name="connsiteY7" fmla="*/ 1034789 h 5231888"/>
                <a:gd name="connsiteX8" fmla="*/ 5857557 w 5861970"/>
                <a:gd name="connsiteY8" fmla="*/ 966780 h 5231888"/>
                <a:gd name="connsiteX9" fmla="*/ 5858700 w 5861970"/>
                <a:gd name="connsiteY9" fmla="*/ 830192 h 5231888"/>
                <a:gd name="connsiteX10" fmla="*/ 5859272 w 5861970"/>
                <a:gd name="connsiteY10" fmla="*/ 693318 h 5231888"/>
                <a:gd name="connsiteX11" fmla="*/ 5861844 w 5861970"/>
                <a:gd name="connsiteY11" fmla="*/ 145916 h 5231888"/>
                <a:gd name="connsiteX12" fmla="*/ 5832507 w 5861970"/>
                <a:gd name="connsiteY12" fmla="*/ -293 h 5231888"/>
                <a:gd name="connsiteX13" fmla="*/ 5803074 w 5861970"/>
                <a:gd name="connsiteY13" fmla="*/ 145916 h 5231888"/>
                <a:gd name="connsiteX14" fmla="*/ 5805741 w 5861970"/>
                <a:gd name="connsiteY14" fmla="*/ 693318 h 5231888"/>
                <a:gd name="connsiteX15" fmla="*/ 5806313 w 5861970"/>
                <a:gd name="connsiteY15" fmla="*/ 830192 h 5231888"/>
                <a:gd name="connsiteX16" fmla="*/ 5806313 w 5861970"/>
                <a:gd name="connsiteY16" fmla="*/ 966209 h 5231888"/>
                <a:gd name="connsiteX17" fmla="*/ 5805551 w 5861970"/>
                <a:gd name="connsiteY17" fmla="*/ 1033455 h 5231888"/>
                <a:gd name="connsiteX18" fmla="*/ 5803265 w 5861970"/>
                <a:gd name="connsiteY18" fmla="*/ 1100607 h 5231888"/>
                <a:gd name="connsiteX19" fmla="*/ 5796216 w 5861970"/>
                <a:gd name="connsiteY19" fmla="*/ 1234909 h 5231888"/>
                <a:gd name="connsiteX20" fmla="*/ 5587905 w 5861970"/>
                <a:gd name="connsiteY20" fmla="*/ 2287803 h 5231888"/>
                <a:gd name="connsiteX21" fmla="*/ 132575 w 5861970"/>
                <a:gd name="connsiteY21" fmla="*/ 4994646 h 5231888"/>
                <a:gd name="connsiteX22" fmla="*/ 730 w 5861970"/>
                <a:gd name="connsiteY22" fmla="*/ 4947850 h 523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61970" h="5231888">
                  <a:moveTo>
                    <a:pt x="-128" y="4950326"/>
                  </a:moveTo>
                  <a:cubicBezTo>
                    <a:pt x="257876" y="5048281"/>
                    <a:pt x="524690" y="5121262"/>
                    <a:pt x="796639" y="5168258"/>
                  </a:cubicBezTo>
                  <a:cubicBezTo>
                    <a:pt x="935608" y="5192357"/>
                    <a:pt x="1077340" y="5209787"/>
                    <a:pt x="1220787" y="5220360"/>
                  </a:cubicBezTo>
                  <a:cubicBezTo>
                    <a:pt x="1364233" y="5230933"/>
                    <a:pt x="1509395" y="5233886"/>
                    <a:pt x="1655317" y="5229885"/>
                  </a:cubicBezTo>
                  <a:cubicBezTo>
                    <a:pt x="3462353" y="5182346"/>
                    <a:pt x="5048208" y="4013447"/>
                    <a:pt x="5628386" y="2301424"/>
                  </a:cubicBezTo>
                  <a:cubicBezTo>
                    <a:pt x="5744924" y="1957609"/>
                    <a:pt x="5817828" y="1600517"/>
                    <a:pt x="5845365" y="1238529"/>
                  </a:cubicBezTo>
                  <a:cubicBezTo>
                    <a:pt x="5848032" y="1193285"/>
                    <a:pt x="5852128" y="1148137"/>
                    <a:pt x="5853462" y="1102797"/>
                  </a:cubicBezTo>
                  <a:lnTo>
                    <a:pt x="5856319" y="1034789"/>
                  </a:lnTo>
                  <a:lnTo>
                    <a:pt x="5857557" y="966780"/>
                  </a:lnTo>
                  <a:cubicBezTo>
                    <a:pt x="5858510" y="921537"/>
                    <a:pt x="5858510" y="875817"/>
                    <a:pt x="5858700" y="830192"/>
                  </a:cubicBezTo>
                  <a:lnTo>
                    <a:pt x="5859272" y="693318"/>
                  </a:lnTo>
                  <a:lnTo>
                    <a:pt x="5861844" y="145916"/>
                  </a:lnTo>
                  <a:cubicBezTo>
                    <a:pt x="5861844" y="66001"/>
                    <a:pt x="5844317" y="-293"/>
                    <a:pt x="5832507" y="-293"/>
                  </a:cubicBezTo>
                  <a:cubicBezTo>
                    <a:pt x="5820696" y="-293"/>
                    <a:pt x="5802693" y="66382"/>
                    <a:pt x="5803074" y="145916"/>
                  </a:cubicBezTo>
                  <a:lnTo>
                    <a:pt x="5805741" y="693318"/>
                  </a:lnTo>
                  <a:lnTo>
                    <a:pt x="5806313" y="830192"/>
                  </a:lnTo>
                  <a:cubicBezTo>
                    <a:pt x="5806313" y="875817"/>
                    <a:pt x="5806313" y="921727"/>
                    <a:pt x="5806313" y="966209"/>
                  </a:cubicBezTo>
                  <a:lnTo>
                    <a:pt x="5805551" y="1033455"/>
                  </a:lnTo>
                  <a:lnTo>
                    <a:pt x="5803265" y="1100607"/>
                  </a:lnTo>
                  <a:cubicBezTo>
                    <a:pt x="5802312" y="1145470"/>
                    <a:pt x="5798598" y="1190142"/>
                    <a:pt x="5796216" y="1234909"/>
                  </a:cubicBezTo>
                  <a:cubicBezTo>
                    <a:pt x="5771318" y="1593240"/>
                    <a:pt x="5701328" y="1946989"/>
                    <a:pt x="5587905" y="2287803"/>
                  </a:cubicBezTo>
                  <a:cubicBezTo>
                    <a:pt x="4828933" y="4541723"/>
                    <a:pt x="2386495" y="5753617"/>
                    <a:pt x="132575" y="4994646"/>
                  </a:cubicBezTo>
                  <a:cubicBezTo>
                    <a:pt x="88379" y="4979759"/>
                    <a:pt x="44421" y="4964157"/>
                    <a:pt x="730" y="49478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09" name="Freeform: Shape 67">
              <a:extLst>
                <a:ext uri="{FF2B5EF4-FFF2-40B4-BE49-F238E27FC236}">
                  <a16:creationId xmlns:a16="http://schemas.microsoft.com/office/drawing/2014/main" id="{0B8B65E1-DFC4-4997-B094-ADE12A8D976F}"/>
                </a:ext>
              </a:extLst>
            </p:cNvPr>
            <p:cNvSpPr/>
            <p:nvPr/>
          </p:nvSpPr>
          <p:spPr>
            <a:xfrm>
              <a:off x="5178371" y="810321"/>
              <a:ext cx="6001702" cy="5334997"/>
            </a:xfrm>
            <a:custGeom>
              <a:avLst/>
              <a:gdLst>
                <a:gd name="connsiteX0" fmla="*/ -128 w 6001702"/>
                <a:gd name="connsiteY0" fmla="*/ 5046624 h 5334997"/>
                <a:gd name="connsiteX1" fmla="*/ 815784 w 6001702"/>
                <a:gd name="connsiteY1" fmla="*/ 5269794 h 5334997"/>
                <a:gd name="connsiteX2" fmla="*/ 1250124 w 6001702"/>
                <a:gd name="connsiteY2" fmla="*/ 5323135 h 5334997"/>
                <a:gd name="connsiteX3" fmla="*/ 1694846 w 6001702"/>
                <a:gd name="connsiteY3" fmla="*/ 5333136 h 5334997"/>
                <a:gd name="connsiteX4" fmla="*/ 5762688 w 6001702"/>
                <a:gd name="connsiteY4" fmla="*/ 2334380 h 5334997"/>
                <a:gd name="connsiteX5" fmla="*/ 5984716 w 6001702"/>
                <a:gd name="connsiteY5" fmla="*/ 1246053 h 5334997"/>
                <a:gd name="connsiteX6" fmla="*/ 5993003 w 6001702"/>
                <a:gd name="connsiteY6" fmla="*/ 1107083 h 5334997"/>
                <a:gd name="connsiteX7" fmla="*/ 5995956 w 6001702"/>
                <a:gd name="connsiteY7" fmla="*/ 1037551 h 5334997"/>
                <a:gd name="connsiteX8" fmla="*/ 5997193 w 6001702"/>
                <a:gd name="connsiteY8" fmla="*/ 967923 h 5334997"/>
                <a:gd name="connsiteX9" fmla="*/ 5998337 w 6001702"/>
                <a:gd name="connsiteY9" fmla="*/ 830192 h 5334997"/>
                <a:gd name="connsiteX10" fmla="*/ 5998908 w 6001702"/>
                <a:gd name="connsiteY10" fmla="*/ 693317 h 5334997"/>
                <a:gd name="connsiteX11" fmla="*/ 6001575 w 6001702"/>
                <a:gd name="connsiteY11" fmla="*/ 145916 h 5334997"/>
                <a:gd name="connsiteX12" fmla="*/ 5972143 w 6001702"/>
                <a:gd name="connsiteY12" fmla="*/ -293 h 5334997"/>
                <a:gd name="connsiteX13" fmla="*/ 5942806 w 6001702"/>
                <a:gd name="connsiteY13" fmla="*/ 145916 h 5334997"/>
                <a:gd name="connsiteX14" fmla="*/ 5945378 w 6001702"/>
                <a:gd name="connsiteY14" fmla="*/ 693317 h 5334997"/>
                <a:gd name="connsiteX15" fmla="*/ 5945949 w 6001702"/>
                <a:gd name="connsiteY15" fmla="*/ 830192 h 5334997"/>
                <a:gd name="connsiteX16" fmla="*/ 5945949 w 6001702"/>
                <a:gd name="connsiteY16" fmla="*/ 967352 h 5334997"/>
                <a:gd name="connsiteX17" fmla="*/ 5945187 w 6001702"/>
                <a:gd name="connsiteY17" fmla="*/ 1036122 h 5334997"/>
                <a:gd name="connsiteX18" fmla="*/ 5942806 w 6001702"/>
                <a:gd name="connsiteY18" fmla="*/ 1104988 h 5334997"/>
                <a:gd name="connsiteX19" fmla="*/ 5935567 w 6001702"/>
                <a:gd name="connsiteY19" fmla="*/ 1242434 h 5334997"/>
                <a:gd name="connsiteX20" fmla="*/ 5722207 w 6001702"/>
                <a:gd name="connsiteY20" fmla="*/ 2320759 h 5334997"/>
                <a:gd name="connsiteX21" fmla="*/ 135223 w 6001702"/>
                <a:gd name="connsiteY21" fmla="*/ 5092610 h 5334997"/>
                <a:gd name="connsiteX22" fmla="*/ 825 w 6001702"/>
                <a:gd name="connsiteY22" fmla="*/ 5044909 h 5334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001702" h="5334997">
                  <a:moveTo>
                    <a:pt x="-128" y="5046624"/>
                  </a:moveTo>
                  <a:cubicBezTo>
                    <a:pt x="264058" y="5147008"/>
                    <a:pt x="537283" y="5221741"/>
                    <a:pt x="815784" y="5269794"/>
                  </a:cubicBezTo>
                  <a:cubicBezTo>
                    <a:pt x="958183" y="5294464"/>
                    <a:pt x="1103249" y="5312371"/>
                    <a:pt x="1250124" y="5323135"/>
                  </a:cubicBezTo>
                  <a:cubicBezTo>
                    <a:pt x="1397000" y="5333897"/>
                    <a:pt x="1545399" y="5336946"/>
                    <a:pt x="1694846" y="5333136"/>
                  </a:cubicBezTo>
                  <a:cubicBezTo>
                    <a:pt x="3545020" y="5284168"/>
                    <a:pt x="5168614" y="4087275"/>
                    <a:pt x="5762688" y="2334380"/>
                  </a:cubicBezTo>
                  <a:cubicBezTo>
                    <a:pt x="5881960" y="1982326"/>
                    <a:pt x="5956551" y="1616690"/>
                    <a:pt x="5984716" y="1246053"/>
                  </a:cubicBezTo>
                  <a:cubicBezTo>
                    <a:pt x="5987574" y="1199762"/>
                    <a:pt x="5991669" y="1153470"/>
                    <a:pt x="5993003" y="1107083"/>
                  </a:cubicBezTo>
                  <a:lnTo>
                    <a:pt x="5995956" y="1037551"/>
                  </a:lnTo>
                  <a:lnTo>
                    <a:pt x="5997193" y="967923"/>
                  </a:lnTo>
                  <a:cubicBezTo>
                    <a:pt x="5998242" y="921156"/>
                    <a:pt x="5998146" y="875816"/>
                    <a:pt x="5998337" y="830192"/>
                  </a:cubicBezTo>
                  <a:lnTo>
                    <a:pt x="5998908" y="693317"/>
                  </a:lnTo>
                  <a:lnTo>
                    <a:pt x="6001575" y="145916"/>
                  </a:lnTo>
                  <a:cubicBezTo>
                    <a:pt x="6001575" y="66001"/>
                    <a:pt x="5983954" y="-293"/>
                    <a:pt x="5972143" y="-293"/>
                  </a:cubicBezTo>
                  <a:cubicBezTo>
                    <a:pt x="5960332" y="-293"/>
                    <a:pt x="5942330" y="66382"/>
                    <a:pt x="5942806" y="145916"/>
                  </a:cubicBezTo>
                  <a:lnTo>
                    <a:pt x="5945378" y="693317"/>
                  </a:lnTo>
                  <a:lnTo>
                    <a:pt x="5945949" y="830192"/>
                  </a:lnTo>
                  <a:cubicBezTo>
                    <a:pt x="5945949" y="875816"/>
                    <a:pt x="5946521" y="921346"/>
                    <a:pt x="5945949" y="967352"/>
                  </a:cubicBezTo>
                  <a:lnTo>
                    <a:pt x="5945187" y="1036122"/>
                  </a:lnTo>
                  <a:lnTo>
                    <a:pt x="5942806" y="1104988"/>
                  </a:lnTo>
                  <a:cubicBezTo>
                    <a:pt x="5941853" y="1150899"/>
                    <a:pt x="5938044" y="1196618"/>
                    <a:pt x="5935567" y="1242434"/>
                  </a:cubicBezTo>
                  <a:cubicBezTo>
                    <a:pt x="5910164" y="1609432"/>
                    <a:pt x="5838479" y="1971744"/>
                    <a:pt x="5722207" y="2320759"/>
                  </a:cubicBezTo>
                  <a:cubicBezTo>
                    <a:pt x="4944824" y="4628991"/>
                    <a:pt x="2443454" y="5869984"/>
                    <a:pt x="135223" y="5092610"/>
                  </a:cubicBezTo>
                  <a:cubicBezTo>
                    <a:pt x="90169" y="5077428"/>
                    <a:pt x="45364" y="5061530"/>
                    <a:pt x="825" y="504490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0" name="Freeform: Shape 68">
              <a:extLst>
                <a:ext uri="{FF2B5EF4-FFF2-40B4-BE49-F238E27FC236}">
                  <a16:creationId xmlns:a16="http://schemas.microsoft.com/office/drawing/2014/main" id="{2644ADCB-A9C9-4958-8CA3-C60C6107ED22}"/>
                </a:ext>
              </a:extLst>
            </p:cNvPr>
            <p:cNvSpPr/>
            <p:nvPr/>
          </p:nvSpPr>
          <p:spPr>
            <a:xfrm>
              <a:off x="5141891" y="810130"/>
              <a:ext cx="6141624" cy="5438683"/>
            </a:xfrm>
            <a:custGeom>
              <a:avLst/>
              <a:gdLst>
                <a:gd name="connsiteX0" fmla="*/ -128 w 6141624"/>
                <a:gd name="connsiteY0" fmla="*/ 5143398 h 5438683"/>
                <a:gd name="connsiteX1" fmla="*/ 835024 w 6141624"/>
                <a:gd name="connsiteY1" fmla="*/ 5371998 h 5438683"/>
                <a:gd name="connsiteX2" fmla="*/ 1279461 w 6141624"/>
                <a:gd name="connsiteY2" fmla="*/ 5426576 h 5438683"/>
                <a:gd name="connsiteX3" fmla="*/ 1734375 w 6141624"/>
                <a:gd name="connsiteY3" fmla="*/ 5436768 h 5438683"/>
                <a:gd name="connsiteX4" fmla="*/ 5896800 w 6141624"/>
                <a:gd name="connsiteY4" fmla="*/ 2367622 h 5438683"/>
                <a:gd name="connsiteX5" fmla="*/ 6045486 w 6141624"/>
                <a:gd name="connsiteY5" fmla="*/ 1817839 h 5438683"/>
                <a:gd name="connsiteX6" fmla="*/ 6124448 w 6141624"/>
                <a:gd name="connsiteY6" fmla="*/ 1253578 h 5438683"/>
                <a:gd name="connsiteX7" fmla="*/ 6132925 w 6141624"/>
                <a:gd name="connsiteY7" fmla="*/ 1111370 h 5438683"/>
                <a:gd name="connsiteX8" fmla="*/ 6135878 w 6141624"/>
                <a:gd name="connsiteY8" fmla="*/ 1040218 h 5438683"/>
                <a:gd name="connsiteX9" fmla="*/ 6137116 w 6141624"/>
                <a:gd name="connsiteY9" fmla="*/ 969067 h 5438683"/>
                <a:gd name="connsiteX10" fmla="*/ 6138354 w 6141624"/>
                <a:gd name="connsiteY10" fmla="*/ 830192 h 5438683"/>
                <a:gd name="connsiteX11" fmla="*/ 6138926 w 6141624"/>
                <a:gd name="connsiteY11" fmla="*/ 693318 h 5438683"/>
                <a:gd name="connsiteX12" fmla="*/ 6141497 w 6141624"/>
                <a:gd name="connsiteY12" fmla="*/ 145916 h 5438683"/>
                <a:gd name="connsiteX13" fmla="*/ 6112161 w 6141624"/>
                <a:gd name="connsiteY13" fmla="*/ -293 h 5438683"/>
                <a:gd name="connsiteX14" fmla="*/ 6082728 w 6141624"/>
                <a:gd name="connsiteY14" fmla="*/ 145916 h 5438683"/>
                <a:gd name="connsiteX15" fmla="*/ 6085395 w 6141624"/>
                <a:gd name="connsiteY15" fmla="*/ 693318 h 5438683"/>
                <a:gd name="connsiteX16" fmla="*/ 6085395 w 6141624"/>
                <a:gd name="connsiteY16" fmla="*/ 830192 h 5438683"/>
                <a:gd name="connsiteX17" fmla="*/ 6085395 w 6141624"/>
                <a:gd name="connsiteY17" fmla="*/ 968495 h 5438683"/>
                <a:gd name="connsiteX18" fmla="*/ 6084633 w 6141624"/>
                <a:gd name="connsiteY18" fmla="*/ 1038885 h 5438683"/>
                <a:gd name="connsiteX19" fmla="*/ 6082252 w 6141624"/>
                <a:gd name="connsiteY19" fmla="*/ 1109274 h 5438683"/>
                <a:gd name="connsiteX20" fmla="*/ 6074822 w 6141624"/>
                <a:gd name="connsiteY20" fmla="*/ 1249959 h 5438683"/>
                <a:gd name="connsiteX21" fmla="*/ 5856414 w 6141624"/>
                <a:gd name="connsiteY21" fmla="*/ 2353621 h 5438683"/>
                <a:gd name="connsiteX22" fmla="*/ 138385 w 6141624"/>
                <a:gd name="connsiteY22" fmla="*/ 5189889 h 5438683"/>
                <a:gd name="connsiteX23" fmla="*/ 730 w 6141624"/>
                <a:gd name="connsiteY23" fmla="*/ 5141017 h 5438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141624" h="5438683">
                  <a:moveTo>
                    <a:pt x="-128" y="5143398"/>
                  </a:moveTo>
                  <a:cubicBezTo>
                    <a:pt x="270297" y="5246144"/>
                    <a:pt x="549970" y="5322696"/>
                    <a:pt x="835024" y="5371998"/>
                  </a:cubicBezTo>
                  <a:cubicBezTo>
                    <a:pt x="980757" y="5397239"/>
                    <a:pt x="1129252" y="5415527"/>
                    <a:pt x="1279461" y="5426576"/>
                  </a:cubicBezTo>
                  <a:cubicBezTo>
                    <a:pt x="1429670" y="5437625"/>
                    <a:pt x="1581594" y="5440673"/>
                    <a:pt x="1734375" y="5436768"/>
                  </a:cubicBezTo>
                  <a:cubicBezTo>
                    <a:pt x="3627735" y="5386543"/>
                    <a:pt x="5289134" y="4161523"/>
                    <a:pt x="5896800" y="2367622"/>
                  </a:cubicBezTo>
                  <a:cubicBezTo>
                    <a:pt x="5957703" y="2187619"/>
                    <a:pt x="6007357" y="2004005"/>
                    <a:pt x="6045486" y="1817839"/>
                  </a:cubicBezTo>
                  <a:cubicBezTo>
                    <a:pt x="6083357" y="1631549"/>
                    <a:pt x="6109732" y="1443107"/>
                    <a:pt x="6124448" y="1253578"/>
                  </a:cubicBezTo>
                  <a:cubicBezTo>
                    <a:pt x="6127305" y="1205953"/>
                    <a:pt x="6131496" y="1158900"/>
                    <a:pt x="6132925" y="1111370"/>
                  </a:cubicBezTo>
                  <a:lnTo>
                    <a:pt x="6135878" y="1040218"/>
                  </a:lnTo>
                  <a:lnTo>
                    <a:pt x="6137116" y="969067"/>
                  </a:lnTo>
                  <a:cubicBezTo>
                    <a:pt x="6138164" y="920775"/>
                    <a:pt x="6138068" y="875912"/>
                    <a:pt x="6138354" y="830192"/>
                  </a:cubicBezTo>
                  <a:lnTo>
                    <a:pt x="6138926" y="693318"/>
                  </a:lnTo>
                  <a:lnTo>
                    <a:pt x="6141497" y="145916"/>
                  </a:lnTo>
                  <a:cubicBezTo>
                    <a:pt x="6141497" y="66001"/>
                    <a:pt x="6123876" y="-293"/>
                    <a:pt x="6112161" y="-293"/>
                  </a:cubicBezTo>
                  <a:cubicBezTo>
                    <a:pt x="6100445" y="-293"/>
                    <a:pt x="6082347" y="66382"/>
                    <a:pt x="6082728" y="145916"/>
                  </a:cubicBezTo>
                  <a:lnTo>
                    <a:pt x="6085395" y="693318"/>
                  </a:lnTo>
                  <a:lnTo>
                    <a:pt x="6085395" y="830192"/>
                  </a:lnTo>
                  <a:cubicBezTo>
                    <a:pt x="6085395" y="875817"/>
                    <a:pt x="6085967" y="920965"/>
                    <a:pt x="6085395" y="968495"/>
                  </a:cubicBezTo>
                  <a:lnTo>
                    <a:pt x="6084633" y="1038885"/>
                  </a:lnTo>
                  <a:lnTo>
                    <a:pt x="6082252" y="1109274"/>
                  </a:lnTo>
                  <a:cubicBezTo>
                    <a:pt x="6081204" y="1156233"/>
                    <a:pt x="6077299" y="1203096"/>
                    <a:pt x="6074822" y="1249959"/>
                  </a:cubicBezTo>
                  <a:cubicBezTo>
                    <a:pt x="6048743" y="1625568"/>
                    <a:pt x="5975363" y="1996385"/>
                    <a:pt x="5856414" y="2353621"/>
                  </a:cubicBezTo>
                  <a:cubicBezTo>
                    <a:pt x="5060639" y="4715821"/>
                    <a:pt x="2500585" y="5985665"/>
                    <a:pt x="138385" y="5189889"/>
                  </a:cubicBezTo>
                  <a:cubicBezTo>
                    <a:pt x="92236" y="5174335"/>
                    <a:pt x="46345" y="5158047"/>
                    <a:pt x="730" y="51410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1" name="Freeform: Shape 69">
              <a:extLst>
                <a:ext uri="{FF2B5EF4-FFF2-40B4-BE49-F238E27FC236}">
                  <a16:creationId xmlns:a16="http://schemas.microsoft.com/office/drawing/2014/main" id="{F7DB6F18-7BB5-4256-BC4C-711519C84FA7}"/>
                </a:ext>
              </a:extLst>
            </p:cNvPr>
            <p:cNvSpPr/>
            <p:nvPr/>
          </p:nvSpPr>
          <p:spPr>
            <a:xfrm>
              <a:off x="5105410" y="810226"/>
              <a:ext cx="6281261" cy="5541287"/>
            </a:xfrm>
            <a:custGeom>
              <a:avLst/>
              <a:gdLst>
                <a:gd name="connsiteX0" fmla="*/ -128 w 6281261"/>
                <a:gd name="connsiteY0" fmla="*/ 5239600 h 5541287"/>
                <a:gd name="connsiteX1" fmla="*/ 854265 w 6281261"/>
                <a:gd name="connsiteY1" fmla="*/ 5473249 h 5541287"/>
                <a:gd name="connsiteX2" fmla="*/ 1308798 w 6281261"/>
                <a:gd name="connsiteY2" fmla="*/ 5528875 h 5541287"/>
                <a:gd name="connsiteX3" fmla="*/ 1773999 w 6281261"/>
                <a:gd name="connsiteY3" fmla="*/ 5539352 h 5541287"/>
                <a:gd name="connsiteX4" fmla="*/ 6031674 w 6281261"/>
                <a:gd name="connsiteY4" fmla="*/ 2399912 h 5541287"/>
                <a:gd name="connsiteX5" fmla="*/ 6184074 w 6281261"/>
                <a:gd name="connsiteY5" fmla="*/ 1837937 h 5541287"/>
                <a:gd name="connsiteX6" fmla="*/ 6264465 w 6281261"/>
                <a:gd name="connsiteY6" fmla="*/ 1261103 h 5541287"/>
                <a:gd name="connsiteX7" fmla="*/ 6273038 w 6281261"/>
                <a:gd name="connsiteY7" fmla="*/ 1115751 h 5541287"/>
                <a:gd name="connsiteX8" fmla="*/ 6276086 w 6281261"/>
                <a:gd name="connsiteY8" fmla="*/ 1042980 h 5541287"/>
                <a:gd name="connsiteX9" fmla="*/ 6277419 w 6281261"/>
                <a:gd name="connsiteY9" fmla="*/ 970209 h 5541287"/>
                <a:gd name="connsiteX10" fmla="*/ 6277991 w 6281261"/>
                <a:gd name="connsiteY10" fmla="*/ 933824 h 5541287"/>
                <a:gd name="connsiteX11" fmla="*/ 6277991 w 6281261"/>
                <a:gd name="connsiteY11" fmla="*/ 915726 h 5541287"/>
                <a:gd name="connsiteX12" fmla="*/ 6277991 w 6281261"/>
                <a:gd name="connsiteY12" fmla="*/ 898581 h 5541287"/>
                <a:gd name="connsiteX13" fmla="*/ 6277991 w 6281261"/>
                <a:gd name="connsiteY13" fmla="*/ 830192 h 5541287"/>
                <a:gd name="connsiteX14" fmla="*/ 6278562 w 6281261"/>
                <a:gd name="connsiteY14" fmla="*/ 693318 h 5541287"/>
                <a:gd name="connsiteX15" fmla="*/ 6281134 w 6281261"/>
                <a:gd name="connsiteY15" fmla="*/ 145916 h 5541287"/>
                <a:gd name="connsiteX16" fmla="*/ 6251797 w 6281261"/>
                <a:gd name="connsiteY16" fmla="*/ -293 h 5541287"/>
                <a:gd name="connsiteX17" fmla="*/ 6222460 w 6281261"/>
                <a:gd name="connsiteY17" fmla="*/ 145916 h 5541287"/>
                <a:gd name="connsiteX18" fmla="*/ 6225032 w 6281261"/>
                <a:gd name="connsiteY18" fmla="*/ 693318 h 5541287"/>
                <a:gd name="connsiteX19" fmla="*/ 6225603 w 6281261"/>
                <a:gd name="connsiteY19" fmla="*/ 830192 h 5541287"/>
                <a:gd name="connsiteX20" fmla="*/ 6225603 w 6281261"/>
                <a:gd name="connsiteY20" fmla="*/ 898581 h 5541287"/>
                <a:gd name="connsiteX21" fmla="*/ 6225603 w 6281261"/>
                <a:gd name="connsiteY21" fmla="*/ 933633 h 5541287"/>
                <a:gd name="connsiteX22" fmla="*/ 6225603 w 6281261"/>
                <a:gd name="connsiteY22" fmla="*/ 969638 h 5541287"/>
                <a:gd name="connsiteX23" fmla="*/ 6224746 w 6281261"/>
                <a:gd name="connsiteY23" fmla="*/ 1041647 h 5541287"/>
                <a:gd name="connsiteX24" fmla="*/ 6222270 w 6281261"/>
                <a:gd name="connsiteY24" fmla="*/ 1113656 h 5541287"/>
                <a:gd name="connsiteX25" fmla="*/ 6214650 w 6281261"/>
                <a:gd name="connsiteY25" fmla="*/ 1257483 h 5541287"/>
                <a:gd name="connsiteX26" fmla="*/ 5991098 w 6281261"/>
                <a:gd name="connsiteY26" fmla="*/ 2386577 h 5541287"/>
                <a:gd name="connsiteX27" fmla="*/ 143119 w 6281261"/>
                <a:gd name="connsiteY27" fmla="*/ 5287940 h 5541287"/>
                <a:gd name="connsiteX28" fmla="*/ 825 w 6281261"/>
                <a:gd name="connsiteY28" fmla="*/ 5237410 h 5541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281261" h="5541287">
                  <a:moveTo>
                    <a:pt x="-128" y="5239600"/>
                  </a:moveTo>
                  <a:cubicBezTo>
                    <a:pt x="276545" y="5344632"/>
                    <a:pt x="562648" y="5422871"/>
                    <a:pt x="854265" y="5473249"/>
                  </a:cubicBezTo>
                  <a:cubicBezTo>
                    <a:pt x="1003331" y="5498966"/>
                    <a:pt x="1155160" y="5517635"/>
                    <a:pt x="1308798" y="5528875"/>
                  </a:cubicBezTo>
                  <a:cubicBezTo>
                    <a:pt x="1462436" y="5540114"/>
                    <a:pt x="1617789" y="5543353"/>
                    <a:pt x="1773999" y="5539352"/>
                  </a:cubicBezTo>
                  <a:cubicBezTo>
                    <a:pt x="3710717" y="5488003"/>
                    <a:pt x="5410149" y="4234913"/>
                    <a:pt x="6031674" y="2399912"/>
                  </a:cubicBezTo>
                  <a:cubicBezTo>
                    <a:pt x="6094034" y="2215917"/>
                    <a:pt x="6144936" y="2028227"/>
                    <a:pt x="6184074" y="1837937"/>
                  </a:cubicBezTo>
                  <a:cubicBezTo>
                    <a:pt x="6222650" y="1647485"/>
                    <a:pt x="6249492" y="1454841"/>
                    <a:pt x="6264465" y="1261103"/>
                  </a:cubicBezTo>
                  <a:cubicBezTo>
                    <a:pt x="6267418" y="1212621"/>
                    <a:pt x="6271609" y="1164234"/>
                    <a:pt x="6273038" y="1115751"/>
                  </a:cubicBezTo>
                  <a:lnTo>
                    <a:pt x="6276086" y="1042980"/>
                  </a:lnTo>
                  <a:lnTo>
                    <a:pt x="6277419" y="970209"/>
                  </a:lnTo>
                  <a:lnTo>
                    <a:pt x="6277991" y="933824"/>
                  </a:lnTo>
                  <a:lnTo>
                    <a:pt x="6277991" y="915726"/>
                  </a:lnTo>
                  <a:lnTo>
                    <a:pt x="6277991" y="898581"/>
                  </a:lnTo>
                  <a:lnTo>
                    <a:pt x="6277991" y="830192"/>
                  </a:lnTo>
                  <a:lnTo>
                    <a:pt x="6278562" y="693318"/>
                  </a:lnTo>
                  <a:lnTo>
                    <a:pt x="6281134" y="145916"/>
                  </a:lnTo>
                  <a:cubicBezTo>
                    <a:pt x="6281134" y="66001"/>
                    <a:pt x="6263608" y="-293"/>
                    <a:pt x="6251797" y="-293"/>
                  </a:cubicBezTo>
                  <a:cubicBezTo>
                    <a:pt x="6239986" y="-293"/>
                    <a:pt x="6221983" y="66382"/>
                    <a:pt x="6222460" y="145916"/>
                  </a:cubicBezTo>
                  <a:lnTo>
                    <a:pt x="6225032" y="693318"/>
                  </a:lnTo>
                  <a:lnTo>
                    <a:pt x="6225603" y="830192"/>
                  </a:lnTo>
                  <a:lnTo>
                    <a:pt x="6225603" y="898581"/>
                  </a:lnTo>
                  <a:lnTo>
                    <a:pt x="6225603" y="933633"/>
                  </a:lnTo>
                  <a:lnTo>
                    <a:pt x="6225603" y="969638"/>
                  </a:lnTo>
                  <a:lnTo>
                    <a:pt x="6224746" y="1041647"/>
                  </a:lnTo>
                  <a:lnTo>
                    <a:pt x="6222270" y="1113656"/>
                  </a:lnTo>
                  <a:cubicBezTo>
                    <a:pt x="6221222" y="1161281"/>
                    <a:pt x="6217316" y="1209573"/>
                    <a:pt x="6214650" y="1257483"/>
                  </a:cubicBezTo>
                  <a:cubicBezTo>
                    <a:pt x="6187941" y="1641751"/>
                    <a:pt x="6112827" y="2021122"/>
                    <a:pt x="5991098" y="2386577"/>
                  </a:cubicBezTo>
                  <a:cubicBezTo>
                    <a:pt x="5177415" y="4802641"/>
                    <a:pt x="2559183" y="6101622"/>
                    <a:pt x="143119" y="5287940"/>
                  </a:cubicBezTo>
                  <a:cubicBezTo>
                    <a:pt x="95418" y="5271871"/>
                    <a:pt x="47974" y="5255031"/>
                    <a:pt x="825" y="5237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2" name="Freeform: Shape 70">
              <a:extLst>
                <a:ext uri="{FF2B5EF4-FFF2-40B4-BE49-F238E27FC236}">
                  <a16:creationId xmlns:a16="http://schemas.microsoft.com/office/drawing/2014/main" id="{0F86965E-83BF-4C2B-A8B1-6041DAAF8171}"/>
                </a:ext>
              </a:extLst>
            </p:cNvPr>
            <p:cNvSpPr/>
            <p:nvPr/>
          </p:nvSpPr>
          <p:spPr>
            <a:xfrm>
              <a:off x="5068929" y="810321"/>
              <a:ext cx="6419278" cy="5644861"/>
            </a:xfrm>
            <a:custGeom>
              <a:avLst/>
              <a:gdLst>
                <a:gd name="connsiteX0" fmla="*/ -128 w 6419278"/>
                <a:gd name="connsiteY0" fmla="*/ 5336279 h 5644861"/>
                <a:gd name="connsiteX1" fmla="*/ 873506 w 6419278"/>
                <a:gd name="connsiteY1" fmla="*/ 5575071 h 5644861"/>
                <a:gd name="connsiteX2" fmla="*/ 1338135 w 6419278"/>
                <a:gd name="connsiteY2" fmla="*/ 5632221 h 5644861"/>
                <a:gd name="connsiteX3" fmla="*/ 1813528 w 6419278"/>
                <a:gd name="connsiteY3" fmla="*/ 5642889 h 5644861"/>
                <a:gd name="connsiteX4" fmla="*/ 3700812 w 6419278"/>
                <a:gd name="connsiteY4" fmla="*/ 5195214 h 5644861"/>
                <a:gd name="connsiteX5" fmla="*/ 4540059 w 6419278"/>
                <a:gd name="connsiteY5" fmla="*/ 4686484 h 5644861"/>
                <a:gd name="connsiteX6" fmla="*/ 5794692 w 6419278"/>
                <a:gd name="connsiteY6" fmla="*/ 3258305 h 5644861"/>
                <a:gd name="connsiteX7" fmla="*/ 6165501 w 6419278"/>
                <a:gd name="connsiteY7" fmla="*/ 2433154 h 5644861"/>
                <a:gd name="connsiteX8" fmla="*/ 6321234 w 6419278"/>
                <a:gd name="connsiteY8" fmla="*/ 1858130 h 5644861"/>
                <a:gd name="connsiteX9" fmla="*/ 6403340 w 6419278"/>
                <a:gd name="connsiteY9" fmla="*/ 1268532 h 5644861"/>
                <a:gd name="connsiteX10" fmla="*/ 6412198 w 6419278"/>
                <a:gd name="connsiteY10" fmla="*/ 1119942 h 5644861"/>
                <a:gd name="connsiteX11" fmla="*/ 6415246 w 6419278"/>
                <a:gd name="connsiteY11" fmla="*/ 1045647 h 5644861"/>
                <a:gd name="connsiteX12" fmla="*/ 6416580 w 6419278"/>
                <a:gd name="connsiteY12" fmla="*/ 971257 h 5644861"/>
                <a:gd name="connsiteX13" fmla="*/ 6416484 w 6419278"/>
                <a:gd name="connsiteY13" fmla="*/ 934205 h 5644861"/>
                <a:gd name="connsiteX14" fmla="*/ 6416484 w 6419278"/>
                <a:gd name="connsiteY14" fmla="*/ 898581 h 5644861"/>
                <a:gd name="connsiteX15" fmla="*/ 6416484 w 6419278"/>
                <a:gd name="connsiteY15" fmla="*/ 830192 h 5644861"/>
                <a:gd name="connsiteX16" fmla="*/ 6416484 w 6419278"/>
                <a:gd name="connsiteY16" fmla="*/ 693317 h 5644861"/>
                <a:gd name="connsiteX17" fmla="*/ 6419152 w 6419278"/>
                <a:gd name="connsiteY17" fmla="*/ 145916 h 5644861"/>
                <a:gd name="connsiteX18" fmla="*/ 6389719 w 6419278"/>
                <a:gd name="connsiteY18" fmla="*/ -293 h 5644861"/>
                <a:gd name="connsiteX19" fmla="*/ 6360382 w 6419278"/>
                <a:gd name="connsiteY19" fmla="*/ 145916 h 5644861"/>
                <a:gd name="connsiteX20" fmla="*/ 6362954 w 6419278"/>
                <a:gd name="connsiteY20" fmla="*/ 693317 h 5644861"/>
                <a:gd name="connsiteX21" fmla="*/ 6363525 w 6419278"/>
                <a:gd name="connsiteY21" fmla="*/ 830192 h 5644861"/>
                <a:gd name="connsiteX22" fmla="*/ 6363525 w 6419278"/>
                <a:gd name="connsiteY22" fmla="*/ 898581 h 5644861"/>
                <a:gd name="connsiteX23" fmla="*/ 6363525 w 6419278"/>
                <a:gd name="connsiteY23" fmla="*/ 915155 h 5644861"/>
                <a:gd name="connsiteX24" fmla="*/ 6363525 w 6419278"/>
                <a:gd name="connsiteY24" fmla="*/ 933443 h 5644861"/>
                <a:gd name="connsiteX25" fmla="*/ 6363525 w 6419278"/>
                <a:gd name="connsiteY25" fmla="*/ 970209 h 5644861"/>
                <a:gd name="connsiteX26" fmla="*/ 6362668 w 6419278"/>
                <a:gd name="connsiteY26" fmla="*/ 1043742 h 5644861"/>
                <a:gd name="connsiteX27" fmla="*/ 6360192 w 6419278"/>
                <a:gd name="connsiteY27" fmla="*/ 1117371 h 5644861"/>
                <a:gd name="connsiteX28" fmla="*/ 6352381 w 6419278"/>
                <a:gd name="connsiteY28" fmla="*/ 1264437 h 5644861"/>
                <a:gd name="connsiteX29" fmla="*/ 6275800 w 6419278"/>
                <a:gd name="connsiteY29" fmla="*/ 1848605 h 5644861"/>
                <a:gd name="connsiteX30" fmla="*/ 6125019 w 6419278"/>
                <a:gd name="connsiteY30" fmla="*/ 2418962 h 5644861"/>
                <a:gd name="connsiteX31" fmla="*/ 145605 w 6419278"/>
                <a:gd name="connsiteY31" fmla="*/ 5385161 h 5644861"/>
                <a:gd name="connsiteX32" fmla="*/ 444 w 6419278"/>
                <a:gd name="connsiteY32" fmla="*/ 5333612 h 5644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6419278" h="5644861">
                  <a:moveTo>
                    <a:pt x="-128" y="5336279"/>
                  </a:moveTo>
                  <a:cubicBezTo>
                    <a:pt x="282775" y="5443636"/>
                    <a:pt x="575325" y="5523598"/>
                    <a:pt x="873506" y="5575071"/>
                  </a:cubicBezTo>
                  <a:cubicBezTo>
                    <a:pt x="1025906" y="5601360"/>
                    <a:pt x="1180782" y="5620410"/>
                    <a:pt x="1338135" y="5632221"/>
                  </a:cubicBezTo>
                  <a:cubicBezTo>
                    <a:pt x="1495107" y="5643651"/>
                    <a:pt x="1653889" y="5646985"/>
                    <a:pt x="1813528" y="5642889"/>
                  </a:cubicBezTo>
                  <a:cubicBezTo>
                    <a:pt x="2466829" y="5625915"/>
                    <a:pt x="3109490" y="5473477"/>
                    <a:pt x="3700812" y="5195214"/>
                  </a:cubicBezTo>
                  <a:cubicBezTo>
                    <a:pt x="3997553" y="5055396"/>
                    <a:pt x="4278836" y="4884889"/>
                    <a:pt x="4540059" y="4686484"/>
                  </a:cubicBezTo>
                  <a:cubicBezTo>
                    <a:pt x="5050475" y="4300093"/>
                    <a:pt x="5477281" y="3814251"/>
                    <a:pt x="5794692" y="3258305"/>
                  </a:cubicBezTo>
                  <a:cubicBezTo>
                    <a:pt x="5944425" y="2995758"/>
                    <a:pt x="6068603" y="2719438"/>
                    <a:pt x="6165501" y="2433154"/>
                  </a:cubicBezTo>
                  <a:cubicBezTo>
                    <a:pt x="6229270" y="2244892"/>
                    <a:pt x="6281277" y="2052840"/>
                    <a:pt x="6321234" y="1858130"/>
                  </a:cubicBezTo>
                  <a:cubicBezTo>
                    <a:pt x="6360668" y="1663467"/>
                    <a:pt x="6388081" y="1466566"/>
                    <a:pt x="6403340" y="1268532"/>
                  </a:cubicBezTo>
                  <a:cubicBezTo>
                    <a:pt x="6406388" y="1219002"/>
                    <a:pt x="6410674" y="1169567"/>
                    <a:pt x="6412198" y="1119942"/>
                  </a:cubicBezTo>
                  <a:lnTo>
                    <a:pt x="6415246" y="1045647"/>
                  </a:lnTo>
                  <a:lnTo>
                    <a:pt x="6416580" y="971257"/>
                  </a:lnTo>
                  <a:lnTo>
                    <a:pt x="6416484" y="934205"/>
                  </a:lnTo>
                  <a:lnTo>
                    <a:pt x="6416484" y="898581"/>
                  </a:lnTo>
                  <a:lnTo>
                    <a:pt x="6416484" y="830192"/>
                  </a:lnTo>
                  <a:lnTo>
                    <a:pt x="6416484" y="693317"/>
                  </a:lnTo>
                  <a:lnTo>
                    <a:pt x="6419152" y="145916"/>
                  </a:lnTo>
                  <a:cubicBezTo>
                    <a:pt x="6419152" y="66001"/>
                    <a:pt x="6401530" y="-293"/>
                    <a:pt x="6389719" y="-293"/>
                  </a:cubicBezTo>
                  <a:cubicBezTo>
                    <a:pt x="6377908" y="-293"/>
                    <a:pt x="6359906" y="66382"/>
                    <a:pt x="6360382" y="145916"/>
                  </a:cubicBezTo>
                  <a:lnTo>
                    <a:pt x="6362954" y="693317"/>
                  </a:lnTo>
                  <a:lnTo>
                    <a:pt x="6363525" y="830192"/>
                  </a:lnTo>
                  <a:lnTo>
                    <a:pt x="6363525" y="898581"/>
                  </a:lnTo>
                  <a:lnTo>
                    <a:pt x="6363525" y="915155"/>
                  </a:lnTo>
                  <a:lnTo>
                    <a:pt x="6363525" y="933443"/>
                  </a:lnTo>
                  <a:lnTo>
                    <a:pt x="6363525" y="970209"/>
                  </a:lnTo>
                  <a:lnTo>
                    <a:pt x="6362668" y="1043742"/>
                  </a:lnTo>
                  <a:lnTo>
                    <a:pt x="6360192" y="1117371"/>
                  </a:lnTo>
                  <a:cubicBezTo>
                    <a:pt x="6359048" y="1166424"/>
                    <a:pt x="6355048" y="1215383"/>
                    <a:pt x="6352381" y="1264437"/>
                  </a:cubicBezTo>
                  <a:cubicBezTo>
                    <a:pt x="6338903" y="1460547"/>
                    <a:pt x="6313328" y="1655647"/>
                    <a:pt x="6275800" y="1848605"/>
                  </a:cubicBezTo>
                  <a:cubicBezTo>
                    <a:pt x="6237424" y="2041667"/>
                    <a:pt x="6187065" y="2232158"/>
                    <a:pt x="6125019" y="2418962"/>
                  </a:cubicBezTo>
                  <a:cubicBezTo>
                    <a:pt x="5292944" y="4889223"/>
                    <a:pt x="2615866" y="6217237"/>
                    <a:pt x="145605" y="5385161"/>
                  </a:cubicBezTo>
                  <a:cubicBezTo>
                    <a:pt x="96942" y="5368769"/>
                    <a:pt x="48545" y="5351586"/>
                    <a:pt x="444" y="53336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3" name="Freeform: Shape 71">
              <a:extLst>
                <a:ext uri="{FF2B5EF4-FFF2-40B4-BE49-F238E27FC236}">
                  <a16:creationId xmlns:a16="http://schemas.microsoft.com/office/drawing/2014/main" id="{88840396-3BBD-4408-9595-B8B3531F008B}"/>
                </a:ext>
              </a:extLst>
            </p:cNvPr>
            <p:cNvSpPr/>
            <p:nvPr/>
          </p:nvSpPr>
          <p:spPr>
            <a:xfrm>
              <a:off x="5032543" y="809464"/>
              <a:ext cx="6559677" cy="5748641"/>
            </a:xfrm>
            <a:custGeom>
              <a:avLst/>
              <a:gdLst>
                <a:gd name="connsiteX0" fmla="*/ -128 w 6559677"/>
                <a:gd name="connsiteY0" fmla="*/ 5433625 h 5748641"/>
                <a:gd name="connsiteX1" fmla="*/ 892651 w 6559677"/>
                <a:gd name="connsiteY1" fmla="*/ 5677655 h 5748641"/>
                <a:gd name="connsiteX2" fmla="*/ 1367377 w 6559677"/>
                <a:gd name="connsiteY2" fmla="*/ 5735758 h 5748641"/>
                <a:gd name="connsiteX3" fmla="*/ 1853152 w 6559677"/>
                <a:gd name="connsiteY3" fmla="*/ 5746616 h 5748641"/>
                <a:gd name="connsiteX4" fmla="*/ 3781583 w 6559677"/>
                <a:gd name="connsiteY4" fmla="*/ 5289416 h 5748641"/>
                <a:gd name="connsiteX5" fmla="*/ 4638833 w 6559677"/>
                <a:gd name="connsiteY5" fmla="*/ 4769827 h 5748641"/>
                <a:gd name="connsiteX6" fmla="*/ 5920803 w 6559677"/>
                <a:gd name="connsiteY6" fmla="*/ 3309931 h 5748641"/>
                <a:gd name="connsiteX7" fmla="*/ 6299708 w 6559677"/>
                <a:gd name="connsiteY7" fmla="*/ 2466682 h 5748641"/>
                <a:gd name="connsiteX8" fmla="*/ 6458394 w 6559677"/>
                <a:gd name="connsiteY8" fmla="*/ 1879180 h 5748641"/>
                <a:gd name="connsiteX9" fmla="*/ 6542310 w 6559677"/>
                <a:gd name="connsiteY9" fmla="*/ 1276819 h 5748641"/>
                <a:gd name="connsiteX10" fmla="*/ 6551263 w 6559677"/>
                <a:gd name="connsiteY10" fmla="*/ 1124991 h 5748641"/>
                <a:gd name="connsiteX11" fmla="*/ 6554406 w 6559677"/>
                <a:gd name="connsiteY11" fmla="*/ 1048791 h 5748641"/>
                <a:gd name="connsiteX12" fmla="*/ 6555835 w 6559677"/>
                <a:gd name="connsiteY12" fmla="*/ 972591 h 5748641"/>
                <a:gd name="connsiteX13" fmla="*/ 6556406 w 6559677"/>
                <a:gd name="connsiteY13" fmla="*/ 934491 h 5748641"/>
                <a:gd name="connsiteX14" fmla="*/ 6556406 w 6559677"/>
                <a:gd name="connsiteY14" fmla="*/ 898582 h 5748641"/>
                <a:gd name="connsiteX15" fmla="*/ 6556406 w 6559677"/>
                <a:gd name="connsiteY15" fmla="*/ 830192 h 5748641"/>
                <a:gd name="connsiteX16" fmla="*/ 6556978 w 6559677"/>
                <a:gd name="connsiteY16" fmla="*/ 693318 h 5748641"/>
                <a:gd name="connsiteX17" fmla="*/ 6559550 w 6559677"/>
                <a:gd name="connsiteY17" fmla="*/ 145916 h 5748641"/>
                <a:gd name="connsiteX18" fmla="*/ 6530213 w 6559677"/>
                <a:gd name="connsiteY18" fmla="*/ -293 h 5748641"/>
                <a:gd name="connsiteX19" fmla="*/ 6500781 w 6559677"/>
                <a:gd name="connsiteY19" fmla="*/ 145916 h 5748641"/>
                <a:gd name="connsiteX20" fmla="*/ 6503447 w 6559677"/>
                <a:gd name="connsiteY20" fmla="*/ 693318 h 5748641"/>
                <a:gd name="connsiteX21" fmla="*/ 6504019 w 6559677"/>
                <a:gd name="connsiteY21" fmla="*/ 830192 h 5748641"/>
                <a:gd name="connsiteX22" fmla="*/ 6504019 w 6559677"/>
                <a:gd name="connsiteY22" fmla="*/ 898582 h 5748641"/>
                <a:gd name="connsiteX23" fmla="*/ 6504019 w 6559677"/>
                <a:gd name="connsiteY23" fmla="*/ 935062 h 5748641"/>
                <a:gd name="connsiteX24" fmla="*/ 6504019 w 6559677"/>
                <a:gd name="connsiteY24" fmla="*/ 972686 h 5748641"/>
                <a:gd name="connsiteX25" fmla="*/ 6503162 w 6559677"/>
                <a:gd name="connsiteY25" fmla="*/ 1047838 h 5748641"/>
                <a:gd name="connsiteX26" fmla="*/ 6500590 w 6559677"/>
                <a:gd name="connsiteY26" fmla="*/ 1122991 h 5748641"/>
                <a:gd name="connsiteX27" fmla="*/ 6492589 w 6559677"/>
                <a:gd name="connsiteY27" fmla="*/ 1273295 h 5748641"/>
                <a:gd name="connsiteX28" fmla="*/ 6258846 w 6559677"/>
                <a:gd name="connsiteY28" fmla="*/ 2453157 h 5748641"/>
                <a:gd name="connsiteX29" fmla="*/ 148653 w 6559677"/>
                <a:gd name="connsiteY29" fmla="*/ 5483402 h 5748641"/>
                <a:gd name="connsiteX30" fmla="*/ 730 w 6559677"/>
                <a:gd name="connsiteY30" fmla="*/ 5430862 h 5748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559677" h="5748641">
                  <a:moveTo>
                    <a:pt x="-128" y="5433625"/>
                  </a:moveTo>
                  <a:cubicBezTo>
                    <a:pt x="288956" y="5543400"/>
                    <a:pt x="587927" y="5625115"/>
                    <a:pt x="892651" y="5677655"/>
                  </a:cubicBezTo>
                  <a:cubicBezTo>
                    <a:pt x="1048385" y="5704516"/>
                    <a:pt x="1206976" y="5724042"/>
                    <a:pt x="1367377" y="5735758"/>
                  </a:cubicBezTo>
                  <a:cubicBezTo>
                    <a:pt x="1527778" y="5747473"/>
                    <a:pt x="1689893" y="5750808"/>
                    <a:pt x="1853152" y="5746616"/>
                  </a:cubicBezTo>
                  <a:cubicBezTo>
                    <a:pt x="2520683" y="5729405"/>
                    <a:pt x="3177365" y="5573709"/>
                    <a:pt x="3781583" y="5289416"/>
                  </a:cubicBezTo>
                  <a:cubicBezTo>
                    <a:pt x="4084688" y="5146627"/>
                    <a:pt x="4372010" y="4972481"/>
                    <a:pt x="4638833" y="4769827"/>
                  </a:cubicBezTo>
                  <a:cubicBezTo>
                    <a:pt x="5160422" y="4374826"/>
                    <a:pt x="5596524" y="3878192"/>
                    <a:pt x="5920803" y="3309931"/>
                  </a:cubicBezTo>
                  <a:cubicBezTo>
                    <a:pt x="6073823" y="3041630"/>
                    <a:pt x="6200705" y="2759252"/>
                    <a:pt x="6299708" y="2466682"/>
                  </a:cubicBezTo>
                  <a:cubicBezTo>
                    <a:pt x="6364707" y="2274325"/>
                    <a:pt x="6417703" y="2078110"/>
                    <a:pt x="6458394" y="1879180"/>
                  </a:cubicBezTo>
                  <a:cubicBezTo>
                    <a:pt x="6498704" y="1680308"/>
                    <a:pt x="6526736" y="1479140"/>
                    <a:pt x="6542310" y="1276819"/>
                  </a:cubicBezTo>
                  <a:cubicBezTo>
                    <a:pt x="6545358" y="1226242"/>
                    <a:pt x="6549739" y="1175664"/>
                    <a:pt x="6551263" y="1124991"/>
                  </a:cubicBezTo>
                  <a:lnTo>
                    <a:pt x="6554406" y="1048791"/>
                  </a:lnTo>
                  <a:lnTo>
                    <a:pt x="6555835" y="972591"/>
                  </a:lnTo>
                  <a:lnTo>
                    <a:pt x="6556406" y="934491"/>
                  </a:lnTo>
                  <a:lnTo>
                    <a:pt x="6556406" y="898582"/>
                  </a:lnTo>
                  <a:lnTo>
                    <a:pt x="6556406" y="830192"/>
                  </a:lnTo>
                  <a:lnTo>
                    <a:pt x="6556978" y="693318"/>
                  </a:lnTo>
                  <a:lnTo>
                    <a:pt x="6559550" y="145916"/>
                  </a:lnTo>
                  <a:cubicBezTo>
                    <a:pt x="6559550" y="66001"/>
                    <a:pt x="6542024" y="-293"/>
                    <a:pt x="6530213" y="-293"/>
                  </a:cubicBezTo>
                  <a:cubicBezTo>
                    <a:pt x="6518402" y="-293"/>
                    <a:pt x="6500399" y="66382"/>
                    <a:pt x="6500781" y="145916"/>
                  </a:cubicBezTo>
                  <a:lnTo>
                    <a:pt x="6503447" y="693318"/>
                  </a:lnTo>
                  <a:lnTo>
                    <a:pt x="6504019" y="830192"/>
                  </a:lnTo>
                  <a:lnTo>
                    <a:pt x="6504019" y="898582"/>
                  </a:lnTo>
                  <a:lnTo>
                    <a:pt x="6504019" y="935062"/>
                  </a:lnTo>
                  <a:lnTo>
                    <a:pt x="6504019" y="972686"/>
                  </a:lnTo>
                  <a:lnTo>
                    <a:pt x="6503162" y="1047838"/>
                  </a:lnTo>
                  <a:lnTo>
                    <a:pt x="6500590" y="1122991"/>
                  </a:lnTo>
                  <a:cubicBezTo>
                    <a:pt x="6499447" y="1173187"/>
                    <a:pt x="6495351" y="1223194"/>
                    <a:pt x="6492589" y="1273295"/>
                  </a:cubicBezTo>
                  <a:cubicBezTo>
                    <a:pt x="6464691" y="1674860"/>
                    <a:pt x="6386156" y="2071290"/>
                    <a:pt x="6258846" y="2453157"/>
                  </a:cubicBezTo>
                  <a:cubicBezTo>
                    <a:pt x="5408339" y="4977215"/>
                    <a:pt x="2672711" y="6333909"/>
                    <a:pt x="148653" y="5483402"/>
                  </a:cubicBezTo>
                  <a:cubicBezTo>
                    <a:pt x="99066" y="5466696"/>
                    <a:pt x="49745" y="5449179"/>
                    <a:pt x="730" y="543086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4" name="Freeform: Shape 72">
              <a:extLst>
                <a:ext uri="{FF2B5EF4-FFF2-40B4-BE49-F238E27FC236}">
                  <a16:creationId xmlns:a16="http://schemas.microsoft.com/office/drawing/2014/main" id="{E9FDC09F-223B-4BEB-AA9F-FD515BE8043E}"/>
                </a:ext>
              </a:extLst>
            </p:cNvPr>
            <p:cNvSpPr/>
            <p:nvPr/>
          </p:nvSpPr>
          <p:spPr>
            <a:xfrm>
              <a:off x="5360966" y="810130"/>
              <a:ext cx="5302662" cy="4820983"/>
            </a:xfrm>
            <a:custGeom>
              <a:avLst/>
              <a:gdLst>
                <a:gd name="connsiteX0" fmla="*/ -128 w 5302662"/>
                <a:gd name="connsiteY0" fmla="*/ 4564087 h 4820983"/>
                <a:gd name="connsiteX1" fmla="*/ 4784756 w 5302662"/>
                <a:gd name="connsiteY1" fmla="*/ 2850444 h 4820983"/>
                <a:gd name="connsiteX2" fmla="*/ 5090985 w 5302662"/>
                <a:gd name="connsiteY2" fmla="*/ 2169788 h 4820983"/>
                <a:gd name="connsiteX3" fmla="*/ 5219573 w 5302662"/>
                <a:gd name="connsiteY3" fmla="*/ 1695634 h 4820983"/>
                <a:gd name="connsiteX4" fmla="*/ 5287771 w 5302662"/>
                <a:gd name="connsiteY4" fmla="*/ 1208430 h 4820983"/>
                <a:gd name="connsiteX5" fmla="*/ 5295106 w 5302662"/>
                <a:gd name="connsiteY5" fmla="*/ 1085462 h 4820983"/>
                <a:gd name="connsiteX6" fmla="*/ 5297678 w 5302662"/>
                <a:gd name="connsiteY6" fmla="*/ 1023835 h 4820983"/>
                <a:gd name="connsiteX7" fmla="*/ 5298821 w 5302662"/>
                <a:gd name="connsiteY7" fmla="*/ 962209 h 4820983"/>
                <a:gd name="connsiteX8" fmla="*/ 5299392 w 5302662"/>
                <a:gd name="connsiteY8" fmla="*/ 931347 h 4820983"/>
                <a:gd name="connsiteX9" fmla="*/ 5299392 w 5302662"/>
                <a:gd name="connsiteY9" fmla="*/ 915727 h 4820983"/>
                <a:gd name="connsiteX10" fmla="*/ 5299392 w 5302662"/>
                <a:gd name="connsiteY10" fmla="*/ 898581 h 4820983"/>
                <a:gd name="connsiteX11" fmla="*/ 5299392 w 5302662"/>
                <a:gd name="connsiteY11" fmla="*/ 830192 h 4820983"/>
                <a:gd name="connsiteX12" fmla="*/ 5299964 w 5302662"/>
                <a:gd name="connsiteY12" fmla="*/ 693318 h 4820983"/>
                <a:gd name="connsiteX13" fmla="*/ 5302536 w 5302662"/>
                <a:gd name="connsiteY13" fmla="*/ 145916 h 4820983"/>
                <a:gd name="connsiteX14" fmla="*/ 5273199 w 5302662"/>
                <a:gd name="connsiteY14" fmla="*/ -293 h 4820983"/>
                <a:gd name="connsiteX15" fmla="*/ 5243861 w 5302662"/>
                <a:gd name="connsiteY15" fmla="*/ 145916 h 4820983"/>
                <a:gd name="connsiteX16" fmla="*/ 5246433 w 5302662"/>
                <a:gd name="connsiteY16" fmla="*/ 693318 h 4820983"/>
                <a:gd name="connsiteX17" fmla="*/ 5247005 w 5302662"/>
                <a:gd name="connsiteY17" fmla="*/ 830192 h 4820983"/>
                <a:gd name="connsiteX18" fmla="*/ 5247005 w 5302662"/>
                <a:gd name="connsiteY18" fmla="*/ 898581 h 4820983"/>
                <a:gd name="connsiteX19" fmla="*/ 5247005 w 5302662"/>
                <a:gd name="connsiteY19" fmla="*/ 931157 h 4820983"/>
                <a:gd name="connsiteX20" fmla="*/ 5247005 w 5302662"/>
                <a:gd name="connsiteY20" fmla="*/ 961637 h 4820983"/>
                <a:gd name="connsiteX21" fmla="*/ 5246433 w 5302662"/>
                <a:gd name="connsiteY21" fmla="*/ 1022502 h 4820983"/>
                <a:gd name="connsiteX22" fmla="*/ 5244337 w 5302662"/>
                <a:gd name="connsiteY22" fmla="*/ 1083367 h 4820983"/>
                <a:gd name="connsiteX23" fmla="*/ 5238051 w 5302662"/>
                <a:gd name="connsiteY23" fmla="*/ 1204905 h 4820983"/>
                <a:gd name="connsiteX24" fmla="*/ 5050218 w 5302662"/>
                <a:gd name="connsiteY24" fmla="*/ 2156167 h 4820983"/>
                <a:gd name="connsiteX25" fmla="*/ 117573 w 5302662"/>
                <a:gd name="connsiteY25" fmla="*/ 4603245 h 4820983"/>
                <a:gd name="connsiteX26" fmla="*/ 444 w 5302662"/>
                <a:gd name="connsiteY26" fmla="*/ 4561706 h 4820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02662" h="4820983">
                  <a:moveTo>
                    <a:pt x="-128" y="4564087"/>
                  </a:moveTo>
                  <a:cubicBezTo>
                    <a:pt x="1799202" y="5249601"/>
                    <a:pt x="3829723" y="4522396"/>
                    <a:pt x="4784756" y="2850444"/>
                  </a:cubicBezTo>
                  <a:cubicBezTo>
                    <a:pt x="4908505" y="2633951"/>
                    <a:pt x="5011061" y="2406008"/>
                    <a:pt x="5090985" y="2169788"/>
                  </a:cubicBezTo>
                  <a:cubicBezTo>
                    <a:pt x="5143592" y="2014540"/>
                    <a:pt x="5186531" y="1856187"/>
                    <a:pt x="5219573" y="1695634"/>
                  </a:cubicBezTo>
                  <a:cubicBezTo>
                    <a:pt x="5252263" y="1534785"/>
                    <a:pt x="5275037" y="1372079"/>
                    <a:pt x="5287771" y="1208430"/>
                  </a:cubicBezTo>
                  <a:cubicBezTo>
                    <a:pt x="5290153" y="1167472"/>
                    <a:pt x="5293963" y="1126515"/>
                    <a:pt x="5295106" y="1085462"/>
                  </a:cubicBezTo>
                  <a:lnTo>
                    <a:pt x="5297678" y="1023835"/>
                  </a:lnTo>
                  <a:lnTo>
                    <a:pt x="5298821" y="962209"/>
                  </a:lnTo>
                  <a:lnTo>
                    <a:pt x="5299392" y="931347"/>
                  </a:lnTo>
                  <a:lnTo>
                    <a:pt x="5299392" y="915727"/>
                  </a:lnTo>
                  <a:lnTo>
                    <a:pt x="5299392" y="898581"/>
                  </a:lnTo>
                  <a:lnTo>
                    <a:pt x="5299392" y="830192"/>
                  </a:lnTo>
                  <a:lnTo>
                    <a:pt x="5299964" y="693318"/>
                  </a:lnTo>
                  <a:lnTo>
                    <a:pt x="5302536" y="145916"/>
                  </a:lnTo>
                  <a:cubicBezTo>
                    <a:pt x="5302536" y="66001"/>
                    <a:pt x="5285009" y="-293"/>
                    <a:pt x="5273199" y="-293"/>
                  </a:cubicBezTo>
                  <a:cubicBezTo>
                    <a:pt x="5261388" y="-293"/>
                    <a:pt x="5243385" y="66382"/>
                    <a:pt x="5243861" y="145916"/>
                  </a:cubicBezTo>
                  <a:lnTo>
                    <a:pt x="5246433" y="693318"/>
                  </a:lnTo>
                  <a:lnTo>
                    <a:pt x="5247005" y="830192"/>
                  </a:lnTo>
                  <a:lnTo>
                    <a:pt x="5247005" y="898581"/>
                  </a:lnTo>
                  <a:lnTo>
                    <a:pt x="5247005" y="931157"/>
                  </a:lnTo>
                  <a:lnTo>
                    <a:pt x="5247005" y="961637"/>
                  </a:lnTo>
                  <a:lnTo>
                    <a:pt x="5246433" y="1022502"/>
                  </a:lnTo>
                  <a:lnTo>
                    <a:pt x="5244337" y="1083367"/>
                  </a:lnTo>
                  <a:cubicBezTo>
                    <a:pt x="5243481" y="1123943"/>
                    <a:pt x="5240052" y="1164329"/>
                    <a:pt x="5238051" y="1204905"/>
                  </a:cubicBezTo>
                  <a:cubicBezTo>
                    <a:pt x="5215725" y="1528632"/>
                    <a:pt x="5152612" y="1848252"/>
                    <a:pt x="5050218" y="2156167"/>
                  </a:cubicBezTo>
                  <a:cubicBezTo>
                    <a:pt x="4363846" y="4194022"/>
                    <a:pt x="2155428" y="5289616"/>
                    <a:pt x="117573" y="4603245"/>
                  </a:cubicBezTo>
                  <a:cubicBezTo>
                    <a:pt x="78311" y="4590024"/>
                    <a:pt x="39258" y="4576175"/>
                    <a:pt x="444" y="45617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5" name="Freeform: Shape 73">
              <a:extLst>
                <a:ext uri="{FF2B5EF4-FFF2-40B4-BE49-F238E27FC236}">
                  <a16:creationId xmlns:a16="http://schemas.microsoft.com/office/drawing/2014/main" id="{AF79710C-D20B-4204-AD3D-8024251CE78C}"/>
                </a:ext>
              </a:extLst>
            </p:cNvPr>
            <p:cNvSpPr/>
            <p:nvPr/>
          </p:nvSpPr>
          <p:spPr>
            <a:xfrm>
              <a:off x="5324199" y="810130"/>
              <a:ext cx="5441917" cy="4922572"/>
            </a:xfrm>
            <a:custGeom>
              <a:avLst/>
              <a:gdLst>
                <a:gd name="connsiteX0" fmla="*/ -128 w 5441917"/>
                <a:gd name="connsiteY0" fmla="*/ 4660671 h 4922572"/>
                <a:gd name="connsiteX1" fmla="*/ 739013 w 5441917"/>
                <a:gd name="connsiteY1" fmla="*/ 4863077 h 4922572"/>
                <a:gd name="connsiteX2" fmla="*/ 1132776 w 5441917"/>
                <a:gd name="connsiteY2" fmla="*/ 4911464 h 4922572"/>
                <a:gd name="connsiteX3" fmla="*/ 1536731 w 5441917"/>
                <a:gd name="connsiteY3" fmla="*/ 4920989 h 4922572"/>
                <a:gd name="connsiteX4" fmla="*/ 5225574 w 5441917"/>
                <a:gd name="connsiteY4" fmla="*/ 2202744 h 4922572"/>
                <a:gd name="connsiteX5" fmla="*/ 5357399 w 5441917"/>
                <a:gd name="connsiteY5" fmla="*/ 1716017 h 4922572"/>
                <a:gd name="connsiteX6" fmla="*/ 5427218 w 5441917"/>
                <a:gd name="connsiteY6" fmla="*/ 1215954 h 4922572"/>
                <a:gd name="connsiteX7" fmla="*/ 5434838 w 5441917"/>
                <a:gd name="connsiteY7" fmla="*/ 1089748 h 4922572"/>
                <a:gd name="connsiteX8" fmla="*/ 5437505 w 5441917"/>
                <a:gd name="connsiteY8" fmla="*/ 1026597 h 4922572"/>
                <a:gd name="connsiteX9" fmla="*/ 5438648 w 5441917"/>
                <a:gd name="connsiteY9" fmla="*/ 963352 h 4922572"/>
                <a:gd name="connsiteX10" fmla="*/ 5439124 w 5441917"/>
                <a:gd name="connsiteY10" fmla="*/ 931728 h 4922572"/>
                <a:gd name="connsiteX11" fmla="*/ 5439124 w 5441917"/>
                <a:gd name="connsiteY11" fmla="*/ 915727 h 4922572"/>
                <a:gd name="connsiteX12" fmla="*/ 5439124 w 5441917"/>
                <a:gd name="connsiteY12" fmla="*/ 898581 h 4922572"/>
                <a:gd name="connsiteX13" fmla="*/ 5439124 w 5441917"/>
                <a:gd name="connsiteY13" fmla="*/ 830192 h 4922572"/>
                <a:gd name="connsiteX14" fmla="*/ 5439124 w 5441917"/>
                <a:gd name="connsiteY14" fmla="*/ 693318 h 4922572"/>
                <a:gd name="connsiteX15" fmla="*/ 5441791 w 5441917"/>
                <a:gd name="connsiteY15" fmla="*/ 145916 h 4922572"/>
                <a:gd name="connsiteX16" fmla="*/ 5412359 w 5441917"/>
                <a:gd name="connsiteY16" fmla="*/ -293 h 4922572"/>
                <a:gd name="connsiteX17" fmla="*/ 5383022 w 5441917"/>
                <a:gd name="connsiteY17" fmla="*/ 145916 h 4922572"/>
                <a:gd name="connsiteX18" fmla="*/ 5385594 w 5441917"/>
                <a:gd name="connsiteY18" fmla="*/ 693318 h 4922572"/>
                <a:gd name="connsiteX19" fmla="*/ 5386165 w 5441917"/>
                <a:gd name="connsiteY19" fmla="*/ 830192 h 4922572"/>
                <a:gd name="connsiteX20" fmla="*/ 5386165 w 5441917"/>
                <a:gd name="connsiteY20" fmla="*/ 898581 h 4922572"/>
                <a:gd name="connsiteX21" fmla="*/ 5386165 w 5441917"/>
                <a:gd name="connsiteY21" fmla="*/ 915345 h 4922572"/>
                <a:gd name="connsiteX22" fmla="*/ 5386165 w 5441917"/>
                <a:gd name="connsiteY22" fmla="*/ 931157 h 4922572"/>
                <a:gd name="connsiteX23" fmla="*/ 5386165 w 5441917"/>
                <a:gd name="connsiteY23" fmla="*/ 962399 h 4922572"/>
                <a:gd name="connsiteX24" fmla="*/ 5385498 w 5441917"/>
                <a:gd name="connsiteY24" fmla="*/ 1024883 h 4922572"/>
                <a:gd name="connsiteX25" fmla="*/ 5383308 w 5441917"/>
                <a:gd name="connsiteY25" fmla="*/ 1087272 h 4922572"/>
                <a:gd name="connsiteX26" fmla="*/ 5376831 w 5441917"/>
                <a:gd name="connsiteY26" fmla="*/ 1212049 h 4922572"/>
                <a:gd name="connsiteX27" fmla="*/ 5183949 w 5441917"/>
                <a:gd name="connsiteY27" fmla="*/ 2188743 h 4922572"/>
                <a:gd name="connsiteX28" fmla="*/ 119468 w 5441917"/>
                <a:gd name="connsiteY28" fmla="*/ 4700771 h 4922572"/>
                <a:gd name="connsiteX29" fmla="*/ 730 w 5441917"/>
                <a:gd name="connsiteY29" fmla="*/ 4658671 h 492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441917" h="4922572">
                  <a:moveTo>
                    <a:pt x="-128" y="4660671"/>
                  </a:moveTo>
                  <a:cubicBezTo>
                    <a:pt x="239217" y="4751616"/>
                    <a:pt x="486724" y="4819396"/>
                    <a:pt x="739013" y="4863077"/>
                  </a:cubicBezTo>
                  <a:cubicBezTo>
                    <a:pt x="868076" y="4885366"/>
                    <a:pt x="999617" y="4901177"/>
                    <a:pt x="1132776" y="4911464"/>
                  </a:cubicBezTo>
                  <a:cubicBezTo>
                    <a:pt x="1265936" y="4921751"/>
                    <a:pt x="1401095" y="4924132"/>
                    <a:pt x="1536731" y="4920989"/>
                  </a:cubicBezTo>
                  <a:cubicBezTo>
                    <a:pt x="3214379" y="4877155"/>
                    <a:pt x="4686830" y="3792134"/>
                    <a:pt x="5225574" y="2202744"/>
                  </a:cubicBezTo>
                  <a:cubicBezTo>
                    <a:pt x="5279533" y="2043382"/>
                    <a:pt x="5323557" y="1880828"/>
                    <a:pt x="5357399" y="1716017"/>
                  </a:cubicBezTo>
                  <a:cubicBezTo>
                    <a:pt x="5390861" y="1550911"/>
                    <a:pt x="5414178" y="1383909"/>
                    <a:pt x="5427218" y="1215954"/>
                  </a:cubicBezTo>
                  <a:cubicBezTo>
                    <a:pt x="5429694" y="1173949"/>
                    <a:pt x="5433599" y="1131944"/>
                    <a:pt x="5434838" y="1089748"/>
                  </a:cubicBezTo>
                  <a:lnTo>
                    <a:pt x="5437505" y="1026597"/>
                  </a:lnTo>
                  <a:lnTo>
                    <a:pt x="5438648" y="963352"/>
                  </a:lnTo>
                  <a:lnTo>
                    <a:pt x="5439124" y="931728"/>
                  </a:lnTo>
                  <a:lnTo>
                    <a:pt x="5439124" y="915727"/>
                  </a:lnTo>
                  <a:lnTo>
                    <a:pt x="5439124" y="898581"/>
                  </a:lnTo>
                  <a:lnTo>
                    <a:pt x="5439124" y="830192"/>
                  </a:lnTo>
                  <a:lnTo>
                    <a:pt x="5439124" y="693318"/>
                  </a:lnTo>
                  <a:lnTo>
                    <a:pt x="5441791" y="145916"/>
                  </a:lnTo>
                  <a:cubicBezTo>
                    <a:pt x="5441791" y="66001"/>
                    <a:pt x="5424170" y="-293"/>
                    <a:pt x="5412359" y="-293"/>
                  </a:cubicBezTo>
                  <a:cubicBezTo>
                    <a:pt x="5400548" y="-293"/>
                    <a:pt x="5382545" y="66382"/>
                    <a:pt x="5383022" y="145916"/>
                  </a:cubicBezTo>
                  <a:lnTo>
                    <a:pt x="5385594" y="693318"/>
                  </a:lnTo>
                  <a:lnTo>
                    <a:pt x="5386165" y="830192"/>
                  </a:lnTo>
                  <a:lnTo>
                    <a:pt x="5386165" y="898581"/>
                  </a:lnTo>
                  <a:lnTo>
                    <a:pt x="5386165" y="915345"/>
                  </a:lnTo>
                  <a:lnTo>
                    <a:pt x="5386165" y="931157"/>
                  </a:lnTo>
                  <a:lnTo>
                    <a:pt x="5386165" y="962399"/>
                  </a:lnTo>
                  <a:lnTo>
                    <a:pt x="5385498" y="1024883"/>
                  </a:lnTo>
                  <a:lnTo>
                    <a:pt x="5383308" y="1087272"/>
                  </a:lnTo>
                  <a:cubicBezTo>
                    <a:pt x="5382545" y="1128991"/>
                    <a:pt x="5379021" y="1170425"/>
                    <a:pt x="5376831" y="1212049"/>
                  </a:cubicBezTo>
                  <a:cubicBezTo>
                    <a:pt x="5353904" y="1544434"/>
                    <a:pt x="5289096" y="1872598"/>
                    <a:pt x="5183949" y="2188743"/>
                  </a:cubicBezTo>
                  <a:cubicBezTo>
                    <a:pt x="4479109" y="4280938"/>
                    <a:pt x="2211663" y="5405612"/>
                    <a:pt x="119468" y="4700771"/>
                  </a:cubicBezTo>
                  <a:cubicBezTo>
                    <a:pt x="79673" y="4687360"/>
                    <a:pt x="40087" y="4673330"/>
                    <a:pt x="730" y="465867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6" name="Freeform: Shape 74">
              <a:extLst>
                <a:ext uri="{FF2B5EF4-FFF2-40B4-BE49-F238E27FC236}">
                  <a16:creationId xmlns:a16="http://schemas.microsoft.com/office/drawing/2014/main" id="{553D1AC0-AD22-4943-8F92-B6F3AA4E6DED}"/>
                </a:ext>
              </a:extLst>
            </p:cNvPr>
            <p:cNvSpPr/>
            <p:nvPr/>
          </p:nvSpPr>
          <p:spPr>
            <a:xfrm>
              <a:off x="5287718" y="810130"/>
              <a:ext cx="5581754" cy="5025616"/>
            </a:xfrm>
            <a:custGeom>
              <a:avLst/>
              <a:gdLst>
                <a:gd name="connsiteX0" fmla="*/ -128 w 5581754"/>
                <a:gd name="connsiteY0" fmla="*/ 4757159 h 5025616"/>
                <a:gd name="connsiteX1" fmla="*/ 758253 w 5581754"/>
                <a:gd name="connsiteY1" fmla="*/ 4964804 h 5025616"/>
                <a:gd name="connsiteX2" fmla="*/ 1162113 w 5581754"/>
                <a:gd name="connsiteY2" fmla="*/ 5014429 h 5025616"/>
                <a:gd name="connsiteX3" fmla="*/ 1576260 w 5581754"/>
                <a:gd name="connsiteY3" fmla="*/ 5023954 h 5025616"/>
                <a:gd name="connsiteX4" fmla="*/ 5359495 w 5581754"/>
                <a:gd name="connsiteY4" fmla="*/ 2235606 h 5025616"/>
                <a:gd name="connsiteX5" fmla="*/ 5494655 w 5581754"/>
                <a:gd name="connsiteY5" fmla="*/ 1736305 h 5025616"/>
                <a:gd name="connsiteX6" fmla="*/ 5566283 w 5581754"/>
                <a:gd name="connsiteY6" fmla="*/ 1223479 h 5025616"/>
                <a:gd name="connsiteX7" fmla="*/ 5573998 w 5581754"/>
                <a:gd name="connsiteY7" fmla="*/ 1094130 h 5025616"/>
                <a:gd name="connsiteX8" fmla="*/ 5576760 w 5581754"/>
                <a:gd name="connsiteY8" fmla="*/ 1029360 h 5025616"/>
                <a:gd name="connsiteX9" fmla="*/ 5577903 w 5581754"/>
                <a:gd name="connsiteY9" fmla="*/ 964494 h 5025616"/>
                <a:gd name="connsiteX10" fmla="*/ 5578475 w 5581754"/>
                <a:gd name="connsiteY10" fmla="*/ 932014 h 5025616"/>
                <a:gd name="connsiteX11" fmla="*/ 5578475 w 5581754"/>
                <a:gd name="connsiteY11" fmla="*/ 915727 h 5025616"/>
                <a:gd name="connsiteX12" fmla="*/ 5578475 w 5581754"/>
                <a:gd name="connsiteY12" fmla="*/ 898581 h 5025616"/>
                <a:gd name="connsiteX13" fmla="*/ 5578475 w 5581754"/>
                <a:gd name="connsiteY13" fmla="*/ 830192 h 5025616"/>
                <a:gd name="connsiteX14" fmla="*/ 5579046 w 5581754"/>
                <a:gd name="connsiteY14" fmla="*/ 693318 h 5025616"/>
                <a:gd name="connsiteX15" fmla="*/ 5581618 w 5581754"/>
                <a:gd name="connsiteY15" fmla="*/ 145916 h 5025616"/>
                <a:gd name="connsiteX16" fmla="*/ 5552281 w 5581754"/>
                <a:gd name="connsiteY16" fmla="*/ -293 h 5025616"/>
                <a:gd name="connsiteX17" fmla="*/ 5522849 w 5581754"/>
                <a:gd name="connsiteY17" fmla="*/ 145916 h 5025616"/>
                <a:gd name="connsiteX18" fmla="*/ 5525516 w 5581754"/>
                <a:gd name="connsiteY18" fmla="*/ 693318 h 5025616"/>
                <a:gd name="connsiteX19" fmla="*/ 5526087 w 5581754"/>
                <a:gd name="connsiteY19" fmla="*/ 830192 h 5025616"/>
                <a:gd name="connsiteX20" fmla="*/ 5526087 w 5581754"/>
                <a:gd name="connsiteY20" fmla="*/ 898581 h 5025616"/>
                <a:gd name="connsiteX21" fmla="*/ 5526087 w 5581754"/>
                <a:gd name="connsiteY21" fmla="*/ 931824 h 5025616"/>
                <a:gd name="connsiteX22" fmla="*/ 5526087 w 5581754"/>
                <a:gd name="connsiteY22" fmla="*/ 963923 h 5025616"/>
                <a:gd name="connsiteX23" fmla="*/ 5525420 w 5581754"/>
                <a:gd name="connsiteY23" fmla="*/ 1027931 h 5025616"/>
                <a:gd name="connsiteX24" fmla="*/ 5523230 w 5581754"/>
                <a:gd name="connsiteY24" fmla="*/ 1092034 h 5025616"/>
                <a:gd name="connsiteX25" fmla="*/ 5516562 w 5581754"/>
                <a:gd name="connsiteY25" fmla="*/ 1219955 h 5025616"/>
                <a:gd name="connsiteX26" fmla="*/ 5318538 w 5581754"/>
                <a:gd name="connsiteY26" fmla="*/ 2221985 h 5025616"/>
                <a:gd name="connsiteX27" fmla="*/ 123745 w 5581754"/>
                <a:gd name="connsiteY27" fmla="*/ 4798384 h 5025616"/>
                <a:gd name="connsiteX28" fmla="*/ 825 w 5581754"/>
                <a:gd name="connsiteY28" fmla="*/ 4754778 h 5025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581754" h="5025616">
                  <a:moveTo>
                    <a:pt x="-128" y="4757159"/>
                  </a:moveTo>
                  <a:cubicBezTo>
                    <a:pt x="245427" y="4850504"/>
                    <a:pt x="499392" y="4920037"/>
                    <a:pt x="758253" y="4964804"/>
                  </a:cubicBezTo>
                  <a:cubicBezTo>
                    <a:pt x="890651" y="4987664"/>
                    <a:pt x="1025524" y="5004428"/>
                    <a:pt x="1162113" y="5014429"/>
                  </a:cubicBezTo>
                  <a:cubicBezTo>
                    <a:pt x="1298702" y="5024431"/>
                    <a:pt x="1437195" y="5027384"/>
                    <a:pt x="1576260" y="5023954"/>
                  </a:cubicBezTo>
                  <a:cubicBezTo>
                    <a:pt x="3296904" y="4978701"/>
                    <a:pt x="4806960" y="3865743"/>
                    <a:pt x="5359495" y="2235606"/>
                  </a:cubicBezTo>
                  <a:cubicBezTo>
                    <a:pt x="5414807" y="2072119"/>
                    <a:pt x="5459946" y="1905364"/>
                    <a:pt x="5494655" y="1736305"/>
                  </a:cubicBezTo>
                  <a:cubicBezTo>
                    <a:pt x="5528964" y="1566979"/>
                    <a:pt x="5552881" y="1395720"/>
                    <a:pt x="5566283" y="1223479"/>
                  </a:cubicBezTo>
                  <a:cubicBezTo>
                    <a:pt x="5568854" y="1180331"/>
                    <a:pt x="5572760" y="1137278"/>
                    <a:pt x="5573998" y="1094130"/>
                  </a:cubicBezTo>
                  <a:lnTo>
                    <a:pt x="5576760" y="1029360"/>
                  </a:lnTo>
                  <a:lnTo>
                    <a:pt x="5577903" y="964494"/>
                  </a:lnTo>
                  <a:lnTo>
                    <a:pt x="5578475" y="932014"/>
                  </a:lnTo>
                  <a:lnTo>
                    <a:pt x="5578475" y="915727"/>
                  </a:lnTo>
                  <a:lnTo>
                    <a:pt x="5578475" y="898581"/>
                  </a:lnTo>
                  <a:lnTo>
                    <a:pt x="5578475" y="830192"/>
                  </a:lnTo>
                  <a:lnTo>
                    <a:pt x="5579046" y="693318"/>
                  </a:lnTo>
                  <a:lnTo>
                    <a:pt x="5581618" y="145916"/>
                  </a:lnTo>
                  <a:cubicBezTo>
                    <a:pt x="5582094" y="66001"/>
                    <a:pt x="5564092" y="-293"/>
                    <a:pt x="5552281" y="-293"/>
                  </a:cubicBezTo>
                  <a:cubicBezTo>
                    <a:pt x="5540470" y="-293"/>
                    <a:pt x="5522468" y="66382"/>
                    <a:pt x="5522849" y="145916"/>
                  </a:cubicBezTo>
                  <a:lnTo>
                    <a:pt x="5525516" y="693318"/>
                  </a:lnTo>
                  <a:lnTo>
                    <a:pt x="5526087" y="830192"/>
                  </a:lnTo>
                  <a:lnTo>
                    <a:pt x="5526087" y="898581"/>
                  </a:lnTo>
                  <a:lnTo>
                    <a:pt x="5526087" y="931824"/>
                  </a:lnTo>
                  <a:lnTo>
                    <a:pt x="5526087" y="963923"/>
                  </a:lnTo>
                  <a:lnTo>
                    <a:pt x="5525420" y="1027931"/>
                  </a:lnTo>
                  <a:lnTo>
                    <a:pt x="5523230" y="1092034"/>
                  </a:lnTo>
                  <a:cubicBezTo>
                    <a:pt x="5522372" y="1134706"/>
                    <a:pt x="5518753" y="1177283"/>
                    <a:pt x="5516562" y="1219955"/>
                  </a:cubicBezTo>
                  <a:cubicBezTo>
                    <a:pt x="5492921" y="1560960"/>
                    <a:pt x="5426389" y="1897621"/>
                    <a:pt x="5318538" y="2221985"/>
                  </a:cubicBezTo>
                  <a:cubicBezTo>
                    <a:pt x="4595485" y="4367939"/>
                    <a:pt x="2269699" y="5521435"/>
                    <a:pt x="123745" y="4798384"/>
                  </a:cubicBezTo>
                  <a:cubicBezTo>
                    <a:pt x="82540" y="4784496"/>
                    <a:pt x="41563" y="4769961"/>
                    <a:pt x="825" y="475477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7" name="Freeform: Shape 75">
              <a:extLst>
                <a:ext uri="{FF2B5EF4-FFF2-40B4-BE49-F238E27FC236}">
                  <a16:creationId xmlns:a16="http://schemas.microsoft.com/office/drawing/2014/main" id="{F85A1254-AD3D-4D0F-B517-6A5C669010E2}"/>
                </a:ext>
              </a:extLst>
            </p:cNvPr>
            <p:cNvSpPr/>
            <p:nvPr/>
          </p:nvSpPr>
          <p:spPr>
            <a:xfrm>
              <a:off x="5251237" y="809464"/>
              <a:ext cx="5722429" cy="5129417"/>
            </a:xfrm>
            <a:custGeom>
              <a:avLst/>
              <a:gdLst>
                <a:gd name="connsiteX0" fmla="*/ -128 w 5722429"/>
                <a:gd name="connsiteY0" fmla="*/ 4854409 h 5129417"/>
                <a:gd name="connsiteX1" fmla="*/ 777494 w 5722429"/>
                <a:gd name="connsiteY1" fmla="*/ 5067198 h 5129417"/>
                <a:gd name="connsiteX2" fmla="*/ 1191450 w 5722429"/>
                <a:gd name="connsiteY2" fmla="*/ 5118061 h 5129417"/>
                <a:gd name="connsiteX3" fmla="*/ 1615884 w 5722429"/>
                <a:gd name="connsiteY3" fmla="*/ 5127586 h 5129417"/>
                <a:gd name="connsiteX4" fmla="*/ 5494178 w 5722429"/>
                <a:gd name="connsiteY4" fmla="*/ 2269134 h 5129417"/>
                <a:gd name="connsiteX5" fmla="*/ 5706014 w 5722429"/>
                <a:gd name="connsiteY5" fmla="*/ 1231576 h 5129417"/>
                <a:gd name="connsiteX6" fmla="*/ 5713920 w 5722429"/>
                <a:gd name="connsiteY6" fmla="*/ 1098987 h 5129417"/>
                <a:gd name="connsiteX7" fmla="*/ 5716778 w 5722429"/>
                <a:gd name="connsiteY7" fmla="*/ 1032312 h 5129417"/>
                <a:gd name="connsiteX8" fmla="*/ 5717921 w 5722429"/>
                <a:gd name="connsiteY8" fmla="*/ 965637 h 5129417"/>
                <a:gd name="connsiteX9" fmla="*/ 5719064 w 5722429"/>
                <a:gd name="connsiteY9" fmla="*/ 830192 h 5129417"/>
                <a:gd name="connsiteX10" fmla="*/ 5719635 w 5722429"/>
                <a:gd name="connsiteY10" fmla="*/ 693318 h 5129417"/>
                <a:gd name="connsiteX11" fmla="*/ 5722302 w 5722429"/>
                <a:gd name="connsiteY11" fmla="*/ 145916 h 5129417"/>
                <a:gd name="connsiteX12" fmla="*/ 5692870 w 5722429"/>
                <a:gd name="connsiteY12" fmla="*/ -293 h 5129417"/>
                <a:gd name="connsiteX13" fmla="*/ 5663533 w 5722429"/>
                <a:gd name="connsiteY13" fmla="*/ 145916 h 5129417"/>
                <a:gd name="connsiteX14" fmla="*/ 5666105 w 5722429"/>
                <a:gd name="connsiteY14" fmla="*/ 693318 h 5129417"/>
                <a:gd name="connsiteX15" fmla="*/ 5666676 w 5722429"/>
                <a:gd name="connsiteY15" fmla="*/ 830192 h 5129417"/>
                <a:gd name="connsiteX16" fmla="*/ 5666676 w 5722429"/>
                <a:gd name="connsiteY16" fmla="*/ 965066 h 5129417"/>
                <a:gd name="connsiteX17" fmla="*/ 5666009 w 5722429"/>
                <a:gd name="connsiteY17" fmla="*/ 1030693 h 5129417"/>
                <a:gd name="connsiteX18" fmla="*/ 5663628 w 5722429"/>
                <a:gd name="connsiteY18" fmla="*/ 1096987 h 5129417"/>
                <a:gd name="connsiteX19" fmla="*/ 5656770 w 5722429"/>
                <a:gd name="connsiteY19" fmla="*/ 1228051 h 5129417"/>
                <a:gd name="connsiteX20" fmla="*/ 5453697 w 5722429"/>
                <a:gd name="connsiteY20" fmla="*/ 2255609 h 5129417"/>
                <a:gd name="connsiteX21" fmla="*/ 128641 w 5722429"/>
                <a:gd name="connsiteY21" fmla="*/ 4897386 h 5129417"/>
                <a:gd name="connsiteX22" fmla="*/ 825 w 5722429"/>
                <a:gd name="connsiteY22" fmla="*/ 4852028 h 5129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722429" h="5129417">
                  <a:moveTo>
                    <a:pt x="-128" y="4854409"/>
                  </a:moveTo>
                  <a:cubicBezTo>
                    <a:pt x="251685" y="4950031"/>
                    <a:pt x="512079" y="5021287"/>
                    <a:pt x="777494" y="5067198"/>
                  </a:cubicBezTo>
                  <a:cubicBezTo>
                    <a:pt x="913253" y="5090630"/>
                    <a:pt x="1051242" y="5107584"/>
                    <a:pt x="1191450" y="5118061"/>
                  </a:cubicBezTo>
                  <a:cubicBezTo>
                    <a:pt x="1331563" y="5128348"/>
                    <a:pt x="1473295" y="5131301"/>
                    <a:pt x="1615884" y="5127586"/>
                  </a:cubicBezTo>
                  <a:cubicBezTo>
                    <a:pt x="3379790" y="5081238"/>
                    <a:pt x="4927822" y="3940285"/>
                    <a:pt x="5494178" y="2269134"/>
                  </a:cubicBezTo>
                  <a:cubicBezTo>
                    <a:pt x="5607983" y="1933521"/>
                    <a:pt x="5679154" y="1584934"/>
                    <a:pt x="5706014" y="1231576"/>
                  </a:cubicBezTo>
                  <a:cubicBezTo>
                    <a:pt x="5708682" y="1187379"/>
                    <a:pt x="5712682" y="1143279"/>
                    <a:pt x="5713920" y="1098987"/>
                  </a:cubicBezTo>
                  <a:lnTo>
                    <a:pt x="5716778" y="1032312"/>
                  </a:lnTo>
                  <a:lnTo>
                    <a:pt x="5717921" y="965637"/>
                  </a:lnTo>
                  <a:cubicBezTo>
                    <a:pt x="5718968" y="921918"/>
                    <a:pt x="5718874" y="875721"/>
                    <a:pt x="5719064" y="830192"/>
                  </a:cubicBezTo>
                  <a:lnTo>
                    <a:pt x="5719635" y="693318"/>
                  </a:lnTo>
                  <a:lnTo>
                    <a:pt x="5722302" y="145916"/>
                  </a:lnTo>
                  <a:cubicBezTo>
                    <a:pt x="5722302" y="66001"/>
                    <a:pt x="5704681" y="-293"/>
                    <a:pt x="5692870" y="-293"/>
                  </a:cubicBezTo>
                  <a:cubicBezTo>
                    <a:pt x="5681059" y="-293"/>
                    <a:pt x="5663057" y="66382"/>
                    <a:pt x="5663533" y="145916"/>
                  </a:cubicBezTo>
                  <a:lnTo>
                    <a:pt x="5666105" y="693318"/>
                  </a:lnTo>
                  <a:lnTo>
                    <a:pt x="5666676" y="830192"/>
                  </a:lnTo>
                  <a:cubicBezTo>
                    <a:pt x="5666676" y="875721"/>
                    <a:pt x="5667248" y="922108"/>
                    <a:pt x="5666676" y="965066"/>
                  </a:cubicBezTo>
                  <a:lnTo>
                    <a:pt x="5666009" y="1030693"/>
                  </a:lnTo>
                  <a:lnTo>
                    <a:pt x="5663628" y="1096987"/>
                  </a:lnTo>
                  <a:cubicBezTo>
                    <a:pt x="5662771" y="1140802"/>
                    <a:pt x="5659056" y="1184427"/>
                    <a:pt x="5656770" y="1228051"/>
                  </a:cubicBezTo>
                  <a:cubicBezTo>
                    <a:pt x="5632519" y="1577743"/>
                    <a:pt x="5564292" y="1922986"/>
                    <a:pt x="5453697" y="2255609"/>
                  </a:cubicBezTo>
                  <a:cubicBezTo>
                    <a:pt x="4712729" y="4455588"/>
                    <a:pt x="2328621" y="5638355"/>
                    <a:pt x="128641" y="4897386"/>
                  </a:cubicBezTo>
                  <a:cubicBezTo>
                    <a:pt x="85788" y="4882956"/>
                    <a:pt x="43183" y="4867830"/>
                    <a:pt x="825" y="48520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8" name="Freeform: Shape 76">
              <a:extLst>
                <a:ext uri="{FF2B5EF4-FFF2-40B4-BE49-F238E27FC236}">
                  <a16:creationId xmlns:a16="http://schemas.microsoft.com/office/drawing/2014/main" id="{24E2FB05-10AD-483B-ADFB-9E090402EB4C}"/>
                </a:ext>
              </a:extLst>
            </p:cNvPr>
            <p:cNvSpPr/>
            <p:nvPr/>
          </p:nvSpPr>
          <p:spPr>
            <a:xfrm>
              <a:off x="5214852" y="810130"/>
              <a:ext cx="5861970" cy="5231888"/>
            </a:xfrm>
            <a:custGeom>
              <a:avLst/>
              <a:gdLst>
                <a:gd name="connsiteX0" fmla="*/ -128 w 5861970"/>
                <a:gd name="connsiteY0" fmla="*/ 4950326 h 5231888"/>
                <a:gd name="connsiteX1" fmla="*/ 796639 w 5861970"/>
                <a:gd name="connsiteY1" fmla="*/ 5168258 h 5231888"/>
                <a:gd name="connsiteX2" fmla="*/ 1220787 w 5861970"/>
                <a:gd name="connsiteY2" fmla="*/ 5220360 h 5231888"/>
                <a:gd name="connsiteX3" fmla="*/ 1655317 w 5861970"/>
                <a:gd name="connsiteY3" fmla="*/ 5229885 h 5231888"/>
                <a:gd name="connsiteX4" fmla="*/ 5628386 w 5861970"/>
                <a:gd name="connsiteY4" fmla="*/ 2301424 h 5231888"/>
                <a:gd name="connsiteX5" fmla="*/ 5845365 w 5861970"/>
                <a:gd name="connsiteY5" fmla="*/ 1238529 h 5231888"/>
                <a:gd name="connsiteX6" fmla="*/ 5853462 w 5861970"/>
                <a:gd name="connsiteY6" fmla="*/ 1102797 h 5231888"/>
                <a:gd name="connsiteX7" fmla="*/ 5856319 w 5861970"/>
                <a:gd name="connsiteY7" fmla="*/ 1034789 h 5231888"/>
                <a:gd name="connsiteX8" fmla="*/ 5857557 w 5861970"/>
                <a:gd name="connsiteY8" fmla="*/ 966780 h 5231888"/>
                <a:gd name="connsiteX9" fmla="*/ 5858700 w 5861970"/>
                <a:gd name="connsiteY9" fmla="*/ 830192 h 5231888"/>
                <a:gd name="connsiteX10" fmla="*/ 5859272 w 5861970"/>
                <a:gd name="connsiteY10" fmla="*/ 693318 h 5231888"/>
                <a:gd name="connsiteX11" fmla="*/ 5861844 w 5861970"/>
                <a:gd name="connsiteY11" fmla="*/ 145916 h 5231888"/>
                <a:gd name="connsiteX12" fmla="*/ 5832507 w 5861970"/>
                <a:gd name="connsiteY12" fmla="*/ -293 h 5231888"/>
                <a:gd name="connsiteX13" fmla="*/ 5803074 w 5861970"/>
                <a:gd name="connsiteY13" fmla="*/ 145916 h 5231888"/>
                <a:gd name="connsiteX14" fmla="*/ 5805741 w 5861970"/>
                <a:gd name="connsiteY14" fmla="*/ 693318 h 5231888"/>
                <a:gd name="connsiteX15" fmla="*/ 5806313 w 5861970"/>
                <a:gd name="connsiteY15" fmla="*/ 830192 h 5231888"/>
                <a:gd name="connsiteX16" fmla="*/ 5806313 w 5861970"/>
                <a:gd name="connsiteY16" fmla="*/ 966209 h 5231888"/>
                <a:gd name="connsiteX17" fmla="*/ 5805551 w 5861970"/>
                <a:gd name="connsiteY17" fmla="*/ 1033455 h 5231888"/>
                <a:gd name="connsiteX18" fmla="*/ 5803265 w 5861970"/>
                <a:gd name="connsiteY18" fmla="*/ 1100607 h 5231888"/>
                <a:gd name="connsiteX19" fmla="*/ 5796216 w 5861970"/>
                <a:gd name="connsiteY19" fmla="*/ 1234909 h 5231888"/>
                <a:gd name="connsiteX20" fmla="*/ 5587905 w 5861970"/>
                <a:gd name="connsiteY20" fmla="*/ 2287803 h 5231888"/>
                <a:gd name="connsiteX21" fmla="*/ 132575 w 5861970"/>
                <a:gd name="connsiteY21" fmla="*/ 4994646 h 5231888"/>
                <a:gd name="connsiteX22" fmla="*/ 730 w 5861970"/>
                <a:gd name="connsiteY22" fmla="*/ 4947850 h 523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61970" h="5231888">
                  <a:moveTo>
                    <a:pt x="-128" y="4950326"/>
                  </a:moveTo>
                  <a:cubicBezTo>
                    <a:pt x="257876" y="5048281"/>
                    <a:pt x="524690" y="5121262"/>
                    <a:pt x="796639" y="5168258"/>
                  </a:cubicBezTo>
                  <a:cubicBezTo>
                    <a:pt x="935608" y="5192357"/>
                    <a:pt x="1077340" y="5209787"/>
                    <a:pt x="1220787" y="5220360"/>
                  </a:cubicBezTo>
                  <a:cubicBezTo>
                    <a:pt x="1364233" y="5230933"/>
                    <a:pt x="1509395" y="5233886"/>
                    <a:pt x="1655317" y="5229885"/>
                  </a:cubicBezTo>
                  <a:cubicBezTo>
                    <a:pt x="3462353" y="5182346"/>
                    <a:pt x="5048208" y="4013447"/>
                    <a:pt x="5628386" y="2301424"/>
                  </a:cubicBezTo>
                  <a:cubicBezTo>
                    <a:pt x="5744924" y="1957609"/>
                    <a:pt x="5817828" y="1600517"/>
                    <a:pt x="5845365" y="1238529"/>
                  </a:cubicBezTo>
                  <a:cubicBezTo>
                    <a:pt x="5848032" y="1193285"/>
                    <a:pt x="5852128" y="1148137"/>
                    <a:pt x="5853462" y="1102797"/>
                  </a:cubicBezTo>
                  <a:lnTo>
                    <a:pt x="5856319" y="1034789"/>
                  </a:lnTo>
                  <a:lnTo>
                    <a:pt x="5857557" y="966780"/>
                  </a:lnTo>
                  <a:cubicBezTo>
                    <a:pt x="5858510" y="921537"/>
                    <a:pt x="5858510" y="875817"/>
                    <a:pt x="5858700" y="830192"/>
                  </a:cubicBezTo>
                  <a:lnTo>
                    <a:pt x="5859272" y="693318"/>
                  </a:lnTo>
                  <a:lnTo>
                    <a:pt x="5861844" y="145916"/>
                  </a:lnTo>
                  <a:cubicBezTo>
                    <a:pt x="5861844" y="66001"/>
                    <a:pt x="5844317" y="-293"/>
                    <a:pt x="5832507" y="-293"/>
                  </a:cubicBezTo>
                  <a:cubicBezTo>
                    <a:pt x="5820696" y="-293"/>
                    <a:pt x="5802693" y="66382"/>
                    <a:pt x="5803074" y="145916"/>
                  </a:cubicBezTo>
                  <a:lnTo>
                    <a:pt x="5805741" y="693318"/>
                  </a:lnTo>
                  <a:lnTo>
                    <a:pt x="5806313" y="830192"/>
                  </a:lnTo>
                  <a:cubicBezTo>
                    <a:pt x="5806313" y="875817"/>
                    <a:pt x="5806313" y="921727"/>
                    <a:pt x="5806313" y="966209"/>
                  </a:cubicBezTo>
                  <a:lnTo>
                    <a:pt x="5805551" y="1033455"/>
                  </a:lnTo>
                  <a:lnTo>
                    <a:pt x="5803265" y="1100607"/>
                  </a:lnTo>
                  <a:cubicBezTo>
                    <a:pt x="5802312" y="1145470"/>
                    <a:pt x="5798598" y="1190142"/>
                    <a:pt x="5796216" y="1234909"/>
                  </a:cubicBezTo>
                  <a:cubicBezTo>
                    <a:pt x="5771318" y="1593240"/>
                    <a:pt x="5701328" y="1946989"/>
                    <a:pt x="5587905" y="2287803"/>
                  </a:cubicBezTo>
                  <a:cubicBezTo>
                    <a:pt x="4828933" y="4541723"/>
                    <a:pt x="2386495" y="5753617"/>
                    <a:pt x="132575" y="4994646"/>
                  </a:cubicBezTo>
                  <a:cubicBezTo>
                    <a:pt x="88379" y="4979759"/>
                    <a:pt x="44421" y="4964157"/>
                    <a:pt x="730" y="49478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9" name="Freeform: Shape 77">
              <a:extLst>
                <a:ext uri="{FF2B5EF4-FFF2-40B4-BE49-F238E27FC236}">
                  <a16:creationId xmlns:a16="http://schemas.microsoft.com/office/drawing/2014/main" id="{D3CD89C9-73A6-4474-9E5C-4383CA47C456}"/>
                </a:ext>
              </a:extLst>
            </p:cNvPr>
            <p:cNvSpPr/>
            <p:nvPr/>
          </p:nvSpPr>
          <p:spPr>
            <a:xfrm>
              <a:off x="5178371" y="810321"/>
              <a:ext cx="6001702" cy="5334997"/>
            </a:xfrm>
            <a:custGeom>
              <a:avLst/>
              <a:gdLst>
                <a:gd name="connsiteX0" fmla="*/ -128 w 6001702"/>
                <a:gd name="connsiteY0" fmla="*/ 5046624 h 5334997"/>
                <a:gd name="connsiteX1" fmla="*/ 815784 w 6001702"/>
                <a:gd name="connsiteY1" fmla="*/ 5269794 h 5334997"/>
                <a:gd name="connsiteX2" fmla="*/ 1250124 w 6001702"/>
                <a:gd name="connsiteY2" fmla="*/ 5323135 h 5334997"/>
                <a:gd name="connsiteX3" fmla="*/ 1694846 w 6001702"/>
                <a:gd name="connsiteY3" fmla="*/ 5333136 h 5334997"/>
                <a:gd name="connsiteX4" fmla="*/ 5762688 w 6001702"/>
                <a:gd name="connsiteY4" fmla="*/ 2334380 h 5334997"/>
                <a:gd name="connsiteX5" fmla="*/ 5984716 w 6001702"/>
                <a:gd name="connsiteY5" fmla="*/ 1246053 h 5334997"/>
                <a:gd name="connsiteX6" fmla="*/ 5993003 w 6001702"/>
                <a:gd name="connsiteY6" fmla="*/ 1107083 h 5334997"/>
                <a:gd name="connsiteX7" fmla="*/ 5995956 w 6001702"/>
                <a:gd name="connsiteY7" fmla="*/ 1037551 h 5334997"/>
                <a:gd name="connsiteX8" fmla="*/ 5997193 w 6001702"/>
                <a:gd name="connsiteY8" fmla="*/ 967923 h 5334997"/>
                <a:gd name="connsiteX9" fmla="*/ 5998337 w 6001702"/>
                <a:gd name="connsiteY9" fmla="*/ 830192 h 5334997"/>
                <a:gd name="connsiteX10" fmla="*/ 5998908 w 6001702"/>
                <a:gd name="connsiteY10" fmla="*/ 693317 h 5334997"/>
                <a:gd name="connsiteX11" fmla="*/ 6001575 w 6001702"/>
                <a:gd name="connsiteY11" fmla="*/ 145916 h 5334997"/>
                <a:gd name="connsiteX12" fmla="*/ 5972143 w 6001702"/>
                <a:gd name="connsiteY12" fmla="*/ -293 h 5334997"/>
                <a:gd name="connsiteX13" fmla="*/ 5942806 w 6001702"/>
                <a:gd name="connsiteY13" fmla="*/ 145916 h 5334997"/>
                <a:gd name="connsiteX14" fmla="*/ 5945378 w 6001702"/>
                <a:gd name="connsiteY14" fmla="*/ 693317 h 5334997"/>
                <a:gd name="connsiteX15" fmla="*/ 5945949 w 6001702"/>
                <a:gd name="connsiteY15" fmla="*/ 830192 h 5334997"/>
                <a:gd name="connsiteX16" fmla="*/ 5945949 w 6001702"/>
                <a:gd name="connsiteY16" fmla="*/ 967352 h 5334997"/>
                <a:gd name="connsiteX17" fmla="*/ 5945187 w 6001702"/>
                <a:gd name="connsiteY17" fmla="*/ 1036122 h 5334997"/>
                <a:gd name="connsiteX18" fmla="*/ 5942806 w 6001702"/>
                <a:gd name="connsiteY18" fmla="*/ 1104988 h 5334997"/>
                <a:gd name="connsiteX19" fmla="*/ 5935567 w 6001702"/>
                <a:gd name="connsiteY19" fmla="*/ 1242434 h 5334997"/>
                <a:gd name="connsiteX20" fmla="*/ 5722207 w 6001702"/>
                <a:gd name="connsiteY20" fmla="*/ 2320759 h 5334997"/>
                <a:gd name="connsiteX21" fmla="*/ 135223 w 6001702"/>
                <a:gd name="connsiteY21" fmla="*/ 5092610 h 5334997"/>
                <a:gd name="connsiteX22" fmla="*/ 825 w 6001702"/>
                <a:gd name="connsiteY22" fmla="*/ 5044909 h 5334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001702" h="5334997">
                  <a:moveTo>
                    <a:pt x="-128" y="5046624"/>
                  </a:moveTo>
                  <a:cubicBezTo>
                    <a:pt x="264058" y="5147008"/>
                    <a:pt x="537283" y="5221741"/>
                    <a:pt x="815784" y="5269794"/>
                  </a:cubicBezTo>
                  <a:cubicBezTo>
                    <a:pt x="958183" y="5294464"/>
                    <a:pt x="1103249" y="5312371"/>
                    <a:pt x="1250124" y="5323135"/>
                  </a:cubicBezTo>
                  <a:cubicBezTo>
                    <a:pt x="1397000" y="5333897"/>
                    <a:pt x="1545399" y="5336946"/>
                    <a:pt x="1694846" y="5333136"/>
                  </a:cubicBezTo>
                  <a:cubicBezTo>
                    <a:pt x="3545020" y="5284168"/>
                    <a:pt x="5168614" y="4087275"/>
                    <a:pt x="5762688" y="2334380"/>
                  </a:cubicBezTo>
                  <a:cubicBezTo>
                    <a:pt x="5881960" y="1982326"/>
                    <a:pt x="5956551" y="1616690"/>
                    <a:pt x="5984716" y="1246053"/>
                  </a:cubicBezTo>
                  <a:cubicBezTo>
                    <a:pt x="5987574" y="1199762"/>
                    <a:pt x="5991669" y="1153470"/>
                    <a:pt x="5993003" y="1107083"/>
                  </a:cubicBezTo>
                  <a:lnTo>
                    <a:pt x="5995956" y="1037551"/>
                  </a:lnTo>
                  <a:lnTo>
                    <a:pt x="5997193" y="967923"/>
                  </a:lnTo>
                  <a:cubicBezTo>
                    <a:pt x="5998242" y="921156"/>
                    <a:pt x="5998146" y="875816"/>
                    <a:pt x="5998337" y="830192"/>
                  </a:cubicBezTo>
                  <a:lnTo>
                    <a:pt x="5998908" y="693317"/>
                  </a:lnTo>
                  <a:lnTo>
                    <a:pt x="6001575" y="145916"/>
                  </a:lnTo>
                  <a:cubicBezTo>
                    <a:pt x="6001575" y="66001"/>
                    <a:pt x="5983954" y="-293"/>
                    <a:pt x="5972143" y="-293"/>
                  </a:cubicBezTo>
                  <a:cubicBezTo>
                    <a:pt x="5960332" y="-293"/>
                    <a:pt x="5942330" y="66382"/>
                    <a:pt x="5942806" y="145916"/>
                  </a:cubicBezTo>
                  <a:lnTo>
                    <a:pt x="5945378" y="693317"/>
                  </a:lnTo>
                  <a:lnTo>
                    <a:pt x="5945949" y="830192"/>
                  </a:lnTo>
                  <a:cubicBezTo>
                    <a:pt x="5945949" y="875816"/>
                    <a:pt x="5946521" y="921346"/>
                    <a:pt x="5945949" y="967352"/>
                  </a:cubicBezTo>
                  <a:lnTo>
                    <a:pt x="5945187" y="1036122"/>
                  </a:lnTo>
                  <a:lnTo>
                    <a:pt x="5942806" y="1104988"/>
                  </a:lnTo>
                  <a:cubicBezTo>
                    <a:pt x="5941853" y="1150899"/>
                    <a:pt x="5938044" y="1196618"/>
                    <a:pt x="5935567" y="1242434"/>
                  </a:cubicBezTo>
                  <a:cubicBezTo>
                    <a:pt x="5910164" y="1609432"/>
                    <a:pt x="5838479" y="1971744"/>
                    <a:pt x="5722207" y="2320759"/>
                  </a:cubicBezTo>
                  <a:cubicBezTo>
                    <a:pt x="4944824" y="4628991"/>
                    <a:pt x="2443454" y="5869984"/>
                    <a:pt x="135223" y="5092610"/>
                  </a:cubicBezTo>
                  <a:cubicBezTo>
                    <a:pt x="90169" y="5077428"/>
                    <a:pt x="45364" y="5061530"/>
                    <a:pt x="825" y="504490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20" name="Freeform: Shape 78">
              <a:extLst>
                <a:ext uri="{FF2B5EF4-FFF2-40B4-BE49-F238E27FC236}">
                  <a16:creationId xmlns:a16="http://schemas.microsoft.com/office/drawing/2014/main" id="{708CFA1A-09AC-453A-8CAD-DB5534BA3A0A}"/>
                </a:ext>
              </a:extLst>
            </p:cNvPr>
            <p:cNvSpPr/>
            <p:nvPr/>
          </p:nvSpPr>
          <p:spPr>
            <a:xfrm>
              <a:off x="5141891" y="810130"/>
              <a:ext cx="6141624" cy="5438683"/>
            </a:xfrm>
            <a:custGeom>
              <a:avLst/>
              <a:gdLst>
                <a:gd name="connsiteX0" fmla="*/ -128 w 6141624"/>
                <a:gd name="connsiteY0" fmla="*/ 5143398 h 5438683"/>
                <a:gd name="connsiteX1" fmla="*/ 835024 w 6141624"/>
                <a:gd name="connsiteY1" fmla="*/ 5371998 h 5438683"/>
                <a:gd name="connsiteX2" fmla="*/ 1279461 w 6141624"/>
                <a:gd name="connsiteY2" fmla="*/ 5426576 h 5438683"/>
                <a:gd name="connsiteX3" fmla="*/ 1734375 w 6141624"/>
                <a:gd name="connsiteY3" fmla="*/ 5436768 h 5438683"/>
                <a:gd name="connsiteX4" fmla="*/ 5896800 w 6141624"/>
                <a:gd name="connsiteY4" fmla="*/ 2367622 h 5438683"/>
                <a:gd name="connsiteX5" fmla="*/ 6045486 w 6141624"/>
                <a:gd name="connsiteY5" fmla="*/ 1817839 h 5438683"/>
                <a:gd name="connsiteX6" fmla="*/ 6124448 w 6141624"/>
                <a:gd name="connsiteY6" fmla="*/ 1253578 h 5438683"/>
                <a:gd name="connsiteX7" fmla="*/ 6132925 w 6141624"/>
                <a:gd name="connsiteY7" fmla="*/ 1111370 h 5438683"/>
                <a:gd name="connsiteX8" fmla="*/ 6135878 w 6141624"/>
                <a:gd name="connsiteY8" fmla="*/ 1040218 h 5438683"/>
                <a:gd name="connsiteX9" fmla="*/ 6137116 w 6141624"/>
                <a:gd name="connsiteY9" fmla="*/ 969067 h 5438683"/>
                <a:gd name="connsiteX10" fmla="*/ 6138354 w 6141624"/>
                <a:gd name="connsiteY10" fmla="*/ 830192 h 5438683"/>
                <a:gd name="connsiteX11" fmla="*/ 6138926 w 6141624"/>
                <a:gd name="connsiteY11" fmla="*/ 693318 h 5438683"/>
                <a:gd name="connsiteX12" fmla="*/ 6141497 w 6141624"/>
                <a:gd name="connsiteY12" fmla="*/ 145916 h 5438683"/>
                <a:gd name="connsiteX13" fmla="*/ 6112161 w 6141624"/>
                <a:gd name="connsiteY13" fmla="*/ -293 h 5438683"/>
                <a:gd name="connsiteX14" fmla="*/ 6082728 w 6141624"/>
                <a:gd name="connsiteY14" fmla="*/ 145916 h 5438683"/>
                <a:gd name="connsiteX15" fmla="*/ 6085395 w 6141624"/>
                <a:gd name="connsiteY15" fmla="*/ 693318 h 5438683"/>
                <a:gd name="connsiteX16" fmla="*/ 6085395 w 6141624"/>
                <a:gd name="connsiteY16" fmla="*/ 830192 h 5438683"/>
                <a:gd name="connsiteX17" fmla="*/ 6085395 w 6141624"/>
                <a:gd name="connsiteY17" fmla="*/ 968495 h 5438683"/>
                <a:gd name="connsiteX18" fmla="*/ 6084633 w 6141624"/>
                <a:gd name="connsiteY18" fmla="*/ 1038885 h 5438683"/>
                <a:gd name="connsiteX19" fmla="*/ 6082252 w 6141624"/>
                <a:gd name="connsiteY19" fmla="*/ 1109274 h 5438683"/>
                <a:gd name="connsiteX20" fmla="*/ 6074822 w 6141624"/>
                <a:gd name="connsiteY20" fmla="*/ 1249959 h 5438683"/>
                <a:gd name="connsiteX21" fmla="*/ 5856414 w 6141624"/>
                <a:gd name="connsiteY21" fmla="*/ 2353621 h 5438683"/>
                <a:gd name="connsiteX22" fmla="*/ 138385 w 6141624"/>
                <a:gd name="connsiteY22" fmla="*/ 5189889 h 5438683"/>
                <a:gd name="connsiteX23" fmla="*/ 730 w 6141624"/>
                <a:gd name="connsiteY23" fmla="*/ 5141017 h 5438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141624" h="5438683">
                  <a:moveTo>
                    <a:pt x="-128" y="5143398"/>
                  </a:moveTo>
                  <a:cubicBezTo>
                    <a:pt x="270297" y="5246144"/>
                    <a:pt x="549970" y="5322696"/>
                    <a:pt x="835024" y="5371998"/>
                  </a:cubicBezTo>
                  <a:cubicBezTo>
                    <a:pt x="980757" y="5397239"/>
                    <a:pt x="1129252" y="5415527"/>
                    <a:pt x="1279461" y="5426576"/>
                  </a:cubicBezTo>
                  <a:cubicBezTo>
                    <a:pt x="1429670" y="5437625"/>
                    <a:pt x="1581594" y="5440673"/>
                    <a:pt x="1734375" y="5436768"/>
                  </a:cubicBezTo>
                  <a:cubicBezTo>
                    <a:pt x="3627735" y="5386543"/>
                    <a:pt x="5289134" y="4161523"/>
                    <a:pt x="5896800" y="2367622"/>
                  </a:cubicBezTo>
                  <a:cubicBezTo>
                    <a:pt x="5957703" y="2187619"/>
                    <a:pt x="6007357" y="2004005"/>
                    <a:pt x="6045486" y="1817839"/>
                  </a:cubicBezTo>
                  <a:cubicBezTo>
                    <a:pt x="6083357" y="1631549"/>
                    <a:pt x="6109732" y="1443107"/>
                    <a:pt x="6124448" y="1253578"/>
                  </a:cubicBezTo>
                  <a:cubicBezTo>
                    <a:pt x="6127305" y="1205953"/>
                    <a:pt x="6131496" y="1158900"/>
                    <a:pt x="6132925" y="1111370"/>
                  </a:cubicBezTo>
                  <a:lnTo>
                    <a:pt x="6135878" y="1040218"/>
                  </a:lnTo>
                  <a:lnTo>
                    <a:pt x="6137116" y="969067"/>
                  </a:lnTo>
                  <a:cubicBezTo>
                    <a:pt x="6138164" y="920775"/>
                    <a:pt x="6138068" y="875912"/>
                    <a:pt x="6138354" y="830192"/>
                  </a:cubicBezTo>
                  <a:lnTo>
                    <a:pt x="6138926" y="693318"/>
                  </a:lnTo>
                  <a:lnTo>
                    <a:pt x="6141497" y="145916"/>
                  </a:lnTo>
                  <a:cubicBezTo>
                    <a:pt x="6141497" y="66001"/>
                    <a:pt x="6123876" y="-293"/>
                    <a:pt x="6112161" y="-293"/>
                  </a:cubicBezTo>
                  <a:cubicBezTo>
                    <a:pt x="6100445" y="-293"/>
                    <a:pt x="6082347" y="66382"/>
                    <a:pt x="6082728" y="145916"/>
                  </a:cubicBezTo>
                  <a:lnTo>
                    <a:pt x="6085395" y="693318"/>
                  </a:lnTo>
                  <a:lnTo>
                    <a:pt x="6085395" y="830192"/>
                  </a:lnTo>
                  <a:cubicBezTo>
                    <a:pt x="6085395" y="875817"/>
                    <a:pt x="6085967" y="920965"/>
                    <a:pt x="6085395" y="968495"/>
                  </a:cubicBezTo>
                  <a:lnTo>
                    <a:pt x="6084633" y="1038885"/>
                  </a:lnTo>
                  <a:lnTo>
                    <a:pt x="6082252" y="1109274"/>
                  </a:lnTo>
                  <a:cubicBezTo>
                    <a:pt x="6081204" y="1156233"/>
                    <a:pt x="6077299" y="1203096"/>
                    <a:pt x="6074822" y="1249959"/>
                  </a:cubicBezTo>
                  <a:cubicBezTo>
                    <a:pt x="6048743" y="1625568"/>
                    <a:pt x="5975363" y="1996385"/>
                    <a:pt x="5856414" y="2353621"/>
                  </a:cubicBezTo>
                  <a:cubicBezTo>
                    <a:pt x="5060639" y="4715821"/>
                    <a:pt x="2500585" y="5985665"/>
                    <a:pt x="138385" y="5189889"/>
                  </a:cubicBezTo>
                  <a:cubicBezTo>
                    <a:pt x="92236" y="5174335"/>
                    <a:pt x="46345" y="5158047"/>
                    <a:pt x="730" y="51410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21" name="Freeform: Shape 79">
              <a:extLst>
                <a:ext uri="{FF2B5EF4-FFF2-40B4-BE49-F238E27FC236}">
                  <a16:creationId xmlns:a16="http://schemas.microsoft.com/office/drawing/2014/main" id="{A3A16799-3D41-4373-89EE-78D5498F573B}"/>
                </a:ext>
              </a:extLst>
            </p:cNvPr>
            <p:cNvSpPr/>
            <p:nvPr/>
          </p:nvSpPr>
          <p:spPr>
            <a:xfrm>
              <a:off x="5105410" y="810226"/>
              <a:ext cx="6281261" cy="5541287"/>
            </a:xfrm>
            <a:custGeom>
              <a:avLst/>
              <a:gdLst>
                <a:gd name="connsiteX0" fmla="*/ -128 w 6281261"/>
                <a:gd name="connsiteY0" fmla="*/ 5239600 h 5541287"/>
                <a:gd name="connsiteX1" fmla="*/ 854265 w 6281261"/>
                <a:gd name="connsiteY1" fmla="*/ 5473249 h 5541287"/>
                <a:gd name="connsiteX2" fmla="*/ 1308798 w 6281261"/>
                <a:gd name="connsiteY2" fmla="*/ 5528875 h 5541287"/>
                <a:gd name="connsiteX3" fmla="*/ 1773999 w 6281261"/>
                <a:gd name="connsiteY3" fmla="*/ 5539352 h 5541287"/>
                <a:gd name="connsiteX4" fmla="*/ 6031674 w 6281261"/>
                <a:gd name="connsiteY4" fmla="*/ 2399912 h 5541287"/>
                <a:gd name="connsiteX5" fmla="*/ 6184074 w 6281261"/>
                <a:gd name="connsiteY5" fmla="*/ 1837937 h 5541287"/>
                <a:gd name="connsiteX6" fmla="*/ 6264465 w 6281261"/>
                <a:gd name="connsiteY6" fmla="*/ 1261103 h 5541287"/>
                <a:gd name="connsiteX7" fmla="*/ 6273038 w 6281261"/>
                <a:gd name="connsiteY7" fmla="*/ 1115751 h 5541287"/>
                <a:gd name="connsiteX8" fmla="*/ 6276086 w 6281261"/>
                <a:gd name="connsiteY8" fmla="*/ 1042980 h 5541287"/>
                <a:gd name="connsiteX9" fmla="*/ 6277419 w 6281261"/>
                <a:gd name="connsiteY9" fmla="*/ 970209 h 5541287"/>
                <a:gd name="connsiteX10" fmla="*/ 6277991 w 6281261"/>
                <a:gd name="connsiteY10" fmla="*/ 933824 h 5541287"/>
                <a:gd name="connsiteX11" fmla="*/ 6277991 w 6281261"/>
                <a:gd name="connsiteY11" fmla="*/ 915726 h 5541287"/>
                <a:gd name="connsiteX12" fmla="*/ 6277991 w 6281261"/>
                <a:gd name="connsiteY12" fmla="*/ 898581 h 5541287"/>
                <a:gd name="connsiteX13" fmla="*/ 6277991 w 6281261"/>
                <a:gd name="connsiteY13" fmla="*/ 830192 h 5541287"/>
                <a:gd name="connsiteX14" fmla="*/ 6278562 w 6281261"/>
                <a:gd name="connsiteY14" fmla="*/ 693318 h 5541287"/>
                <a:gd name="connsiteX15" fmla="*/ 6281134 w 6281261"/>
                <a:gd name="connsiteY15" fmla="*/ 145916 h 5541287"/>
                <a:gd name="connsiteX16" fmla="*/ 6251797 w 6281261"/>
                <a:gd name="connsiteY16" fmla="*/ -293 h 5541287"/>
                <a:gd name="connsiteX17" fmla="*/ 6222460 w 6281261"/>
                <a:gd name="connsiteY17" fmla="*/ 145916 h 5541287"/>
                <a:gd name="connsiteX18" fmla="*/ 6225032 w 6281261"/>
                <a:gd name="connsiteY18" fmla="*/ 693318 h 5541287"/>
                <a:gd name="connsiteX19" fmla="*/ 6225603 w 6281261"/>
                <a:gd name="connsiteY19" fmla="*/ 830192 h 5541287"/>
                <a:gd name="connsiteX20" fmla="*/ 6225603 w 6281261"/>
                <a:gd name="connsiteY20" fmla="*/ 898581 h 5541287"/>
                <a:gd name="connsiteX21" fmla="*/ 6225603 w 6281261"/>
                <a:gd name="connsiteY21" fmla="*/ 933633 h 5541287"/>
                <a:gd name="connsiteX22" fmla="*/ 6225603 w 6281261"/>
                <a:gd name="connsiteY22" fmla="*/ 969638 h 5541287"/>
                <a:gd name="connsiteX23" fmla="*/ 6224746 w 6281261"/>
                <a:gd name="connsiteY23" fmla="*/ 1041647 h 5541287"/>
                <a:gd name="connsiteX24" fmla="*/ 6222270 w 6281261"/>
                <a:gd name="connsiteY24" fmla="*/ 1113656 h 5541287"/>
                <a:gd name="connsiteX25" fmla="*/ 6214650 w 6281261"/>
                <a:gd name="connsiteY25" fmla="*/ 1257483 h 5541287"/>
                <a:gd name="connsiteX26" fmla="*/ 5991098 w 6281261"/>
                <a:gd name="connsiteY26" fmla="*/ 2386577 h 5541287"/>
                <a:gd name="connsiteX27" fmla="*/ 143119 w 6281261"/>
                <a:gd name="connsiteY27" fmla="*/ 5287940 h 5541287"/>
                <a:gd name="connsiteX28" fmla="*/ 825 w 6281261"/>
                <a:gd name="connsiteY28" fmla="*/ 5237410 h 5541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281261" h="5541287">
                  <a:moveTo>
                    <a:pt x="-128" y="5239600"/>
                  </a:moveTo>
                  <a:cubicBezTo>
                    <a:pt x="276545" y="5344632"/>
                    <a:pt x="562648" y="5422871"/>
                    <a:pt x="854265" y="5473249"/>
                  </a:cubicBezTo>
                  <a:cubicBezTo>
                    <a:pt x="1003331" y="5498966"/>
                    <a:pt x="1155160" y="5517635"/>
                    <a:pt x="1308798" y="5528875"/>
                  </a:cubicBezTo>
                  <a:cubicBezTo>
                    <a:pt x="1462436" y="5540114"/>
                    <a:pt x="1617789" y="5543353"/>
                    <a:pt x="1773999" y="5539352"/>
                  </a:cubicBezTo>
                  <a:cubicBezTo>
                    <a:pt x="3710717" y="5488003"/>
                    <a:pt x="5410149" y="4234913"/>
                    <a:pt x="6031674" y="2399912"/>
                  </a:cubicBezTo>
                  <a:cubicBezTo>
                    <a:pt x="6094034" y="2215917"/>
                    <a:pt x="6144936" y="2028227"/>
                    <a:pt x="6184074" y="1837937"/>
                  </a:cubicBezTo>
                  <a:cubicBezTo>
                    <a:pt x="6222650" y="1647485"/>
                    <a:pt x="6249492" y="1454841"/>
                    <a:pt x="6264465" y="1261103"/>
                  </a:cubicBezTo>
                  <a:cubicBezTo>
                    <a:pt x="6267418" y="1212621"/>
                    <a:pt x="6271609" y="1164234"/>
                    <a:pt x="6273038" y="1115751"/>
                  </a:cubicBezTo>
                  <a:lnTo>
                    <a:pt x="6276086" y="1042980"/>
                  </a:lnTo>
                  <a:lnTo>
                    <a:pt x="6277419" y="970209"/>
                  </a:lnTo>
                  <a:lnTo>
                    <a:pt x="6277991" y="933824"/>
                  </a:lnTo>
                  <a:lnTo>
                    <a:pt x="6277991" y="915726"/>
                  </a:lnTo>
                  <a:lnTo>
                    <a:pt x="6277991" y="898581"/>
                  </a:lnTo>
                  <a:lnTo>
                    <a:pt x="6277991" y="830192"/>
                  </a:lnTo>
                  <a:lnTo>
                    <a:pt x="6278562" y="693318"/>
                  </a:lnTo>
                  <a:lnTo>
                    <a:pt x="6281134" y="145916"/>
                  </a:lnTo>
                  <a:cubicBezTo>
                    <a:pt x="6281134" y="66001"/>
                    <a:pt x="6263608" y="-293"/>
                    <a:pt x="6251797" y="-293"/>
                  </a:cubicBezTo>
                  <a:cubicBezTo>
                    <a:pt x="6239986" y="-293"/>
                    <a:pt x="6221983" y="66382"/>
                    <a:pt x="6222460" y="145916"/>
                  </a:cubicBezTo>
                  <a:lnTo>
                    <a:pt x="6225032" y="693318"/>
                  </a:lnTo>
                  <a:lnTo>
                    <a:pt x="6225603" y="830192"/>
                  </a:lnTo>
                  <a:lnTo>
                    <a:pt x="6225603" y="898581"/>
                  </a:lnTo>
                  <a:lnTo>
                    <a:pt x="6225603" y="933633"/>
                  </a:lnTo>
                  <a:lnTo>
                    <a:pt x="6225603" y="969638"/>
                  </a:lnTo>
                  <a:lnTo>
                    <a:pt x="6224746" y="1041647"/>
                  </a:lnTo>
                  <a:lnTo>
                    <a:pt x="6222270" y="1113656"/>
                  </a:lnTo>
                  <a:cubicBezTo>
                    <a:pt x="6221222" y="1161281"/>
                    <a:pt x="6217316" y="1209573"/>
                    <a:pt x="6214650" y="1257483"/>
                  </a:cubicBezTo>
                  <a:cubicBezTo>
                    <a:pt x="6187941" y="1641751"/>
                    <a:pt x="6112827" y="2021122"/>
                    <a:pt x="5991098" y="2386577"/>
                  </a:cubicBezTo>
                  <a:cubicBezTo>
                    <a:pt x="5177415" y="4802641"/>
                    <a:pt x="2559183" y="6101622"/>
                    <a:pt x="143119" y="5287940"/>
                  </a:cubicBezTo>
                  <a:cubicBezTo>
                    <a:pt x="95418" y="5271871"/>
                    <a:pt x="47974" y="5255031"/>
                    <a:pt x="825" y="5237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22" name="Freeform: Shape 80">
              <a:extLst>
                <a:ext uri="{FF2B5EF4-FFF2-40B4-BE49-F238E27FC236}">
                  <a16:creationId xmlns:a16="http://schemas.microsoft.com/office/drawing/2014/main" id="{A17907E1-7897-4F13-9F13-714EF47C8612}"/>
                </a:ext>
              </a:extLst>
            </p:cNvPr>
            <p:cNvSpPr/>
            <p:nvPr/>
          </p:nvSpPr>
          <p:spPr>
            <a:xfrm>
              <a:off x="5068929" y="810321"/>
              <a:ext cx="6419278" cy="5644861"/>
            </a:xfrm>
            <a:custGeom>
              <a:avLst/>
              <a:gdLst>
                <a:gd name="connsiteX0" fmla="*/ -128 w 6419278"/>
                <a:gd name="connsiteY0" fmla="*/ 5336279 h 5644861"/>
                <a:gd name="connsiteX1" fmla="*/ 873506 w 6419278"/>
                <a:gd name="connsiteY1" fmla="*/ 5575071 h 5644861"/>
                <a:gd name="connsiteX2" fmla="*/ 1338135 w 6419278"/>
                <a:gd name="connsiteY2" fmla="*/ 5632221 h 5644861"/>
                <a:gd name="connsiteX3" fmla="*/ 1813528 w 6419278"/>
                <a:gd name="connsiteY3" fmla="*/ 5642889 h 5644861"/>
                <a:gd name="connsiteX4" fmla="*/ 3700812 w 6419278"/>
                <a:gd name="connsiteY4" fmla="*/ 5195214 h 5644861"/>
                <a:gd name="connsiteX5" fmla="*/ 4540059 w 6419278"/>
                <a:gd name="connsiteY5" fmla="*/ 4686484 h 5644861"/>
                <a:gd name="connsiteX6" fmla="*/ 5794692 w 6419278"/>
                <a:gd name="connsiteY6" fmla="*/ 3258305 h 5644861"/>
                <a:gd name="connsiteX7" fmla="*/ 6165501 w 6419278"/>
                <a:gd name="connsiteY7" fmla="*/ 2433154 h 5644861"/>
                <a:gd name="connsiteX8" fmla="*/ 6321234 w 6419278"/>
                <a:gd name="connsiteY8" fmla="*/ 1858130 h 5644861"/>
                <a:gd name="connsiteX9" fmla="*/ 6403340 w 6419278"/>
                <a:gd name="connsiteY9" fmla="*/ 1268532 h 5644861"/>
                <a:gd name="connsiteX10" fmla="*/ 6412198 w 6419278"/>
                <a:gd name="connsiteY10" fmla="*/ 1119942 h 5644861"/>
                <a:gd name="connsiteX11" fmla="*/ 6415246 w 6419278"/>
                <a:gd name="connsiteY11" fmla="*/ 1045647 h 5644861"/>
                <a:gd name="connsiteX12" fmla="*/ 6416580 w 6419278"/>
                <a:gd name="connsiteY12" fmla="*/ 971257 h 5644861"/>
                <a:gd name="connsiteX13" fmla="*/ 6416484 w 6419278"/>
                <a:gd name="connsiteY13" fmla="*/ 934205 h 5644861"/>
                <a:gd name="connsiteX14" fmla="*/ 6416484 w 6419278"/>
                <a:gd name="connsiteY14" fmla="*/ 898581 h 5644861"/>
                <a:gd name="connsiteX15" fmla="*/ 6416484 w 6419278"/>
                <a:gd name="connsiteY15" fmla="*/ 830192 h 5644861"/>
                <a:gd name="connsiteX16" fmla="*/ 6416484 w 6419278"/>
                <a:gd name="connsiteY16" fmla="*/ 693317 h 5644861"/>
                <a:gd name="connsiteX17" fmla="*/ 6419152 w 6419278"/>
                <a:gd name="connsiteY17" fmla="*/ 145916 h 5644861"/>
                <a:gd name="connsiteX18" fmla="*/ 6389719 w 6419278"/>
                <a:gd name="connsiteY18" fmla="*/ -293 h 5644861"/>
                <a:gd name="connsiteX19" fmla="*/ 6360382 w 6419278"/>
                <a:gd name="connsiteY19" fmla="*/ 145916 h 5644861"/>
                <a:gd name="connsiteX20" fmla="*/ 6362954 w 6419278"/>
                <a:gd name="connsiteY20" fmla="*/ 693317 h 5644861"/>
                <a:gd name="connsiteX21" fmla="*/ 6363525 w 6419278"/>
                <a:gd name="connsiteY21" fmla="*/ 830192 h 5644861"/>
                <a:gd name="connsiteX22" fmla="*/ 6363525 w 6419278"/>
                <a:gd name="connsiteY22" fmla="*/ 898581 h 5644861"/>
                <a:gd name="connsiteX23" fmla="*/ 6363525 w 6419278"/>
                <a:gd name="connsiteY23" fmla="*/ 915155 h 5644861"/>
                <a:gd name="connsiteX24" fmla="*/ 6363525 w 6419278"/>
                <a:gd name="connsiteY24" fmla="*/ 933443 h 5644861"/>
                <a:gd name="connsiteX25" fmla="*/ 6363525 w 6419278"/>
                <a:gd name="connsiteY25" fmla="*/ 970209 h 5644861"/>
                <a:gd name="connsiteX26" fmla="*/ 6362668 w 6419278"/>
                <a:gd name="connsiteY26" fmla="*/ 1043742 h 5644861"/>
                <a:gd name="connsiteX27" fmla="*/ 6360192 w 6419278"/>
                <a:gd name="connsiteY27" fmla="*/ 1117371 h 5644861"/>
                <a:gd name="connsiteX28" fmla="*/ 6352381 w 6419278"/>
                <a:gd name="connsiteY28" fmla="*/ 1264437 h 5644861"/>
                <a:gd name="connsiteX29" fmla="*/ 6275800 w 6419278"/>
                <a:gd name="connsiteY29" fmla="*/ 1848605 h 5644861"/>
                <a:gd name="connsiteX30" fmla="*/ 6125019 w 6419278"/>
                <a:gd name="connsiteY30" fmla="*/ 2418962 h 5644861"/>
                <a:gd name="connsiteX31" fmla="*/ 145605 w 6419278"/>
                <a:gd name="connsiteY31" fmla="*/ 5385161 h 5644861"/>
                <a:gd name="connsiteX32" fmla="*/ 444 w 6419278"/>
                <a:gd name="connsiteY32" fmla="*/ 5333612 h 5644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6419278" h="5644861">
                  <a:moveTo>
                    <a:pt x="-128" y="5336279"/>
                  </a:moveTo>
                  <a:cubicBezTo>
                    <a:pt x="282775" y="5443636"/>
                    <a:pt x="575325" y="5523598"/>
                    <a:pt x="873506" y="5575071"/>
                  </a:cubicBezTo>
                  <a:cubicBezTo>
                    <a:pt x="1025906" y="5601360"/>
                    <a:pt x="1180782" y="5620410"/>
                    <a:pt x="1338135" y="5632221"/>
                  </a:cubicBezTo>
                  <a:cubicBezTo>
                    <a:pt x="1495107" y="5643651"/>
                    <a:pt x="1653889" y="5646985"/>
                    <a:pt x="1813528" y="5642889"/>
                  </a:cubicBezTo>
                  <a:cubicBezTo>
                    <a:pt x="2466829" y="5625915"/>
                    <a:pt x="3109490" y="5473477"/>
                    <a:pt x="3700812" y="5195214"/>
                  </a:cubicBezTo>
                  <a:cubicBezTo>
                    <a:pt x="3997553" y="5055396"/>
                    <a:pt x="4278836" y="4884889"/>
                    <a:pt x="4540059" y="4686484"/>
                  </a:cubicBezTo>
                  <a:cubicBezTo>
                    <a:pt x="5050475" y="4300093"/>
                    <a:pt x="5477281" y="3814251"/>
                    <a:pt x="5794692" y="3258305"/>
                  </a:cubicBezTo>
                  <a:cubicBezTo>
                    <a:pt x="5944425" y="2995758"/>
                    <a:pt x="6068603" y="2719438"/>
                    <a:pt x="6165501" y="2433154"/>
                  </a:cubicBezTo>
                  <a:cubicBezTo>
                    <a:pt x="6229270" y="2244892"/>
                    <a:pt x="6281277" y="2052840"/>
                    <a:pt x="6321234" y="1858130"/>
                  </a:cubicBezTo>
                  <a:cubicBezTo>
                    <a:pt x="6360668" y="1663467"/>
                    <a:pt x="6388081" y="1466566"/>
                    <a:pt x="6403340" y="1268532"/>
                  </a:cubicBezTo>
                  <a:cubicBezTo>
                    <a:pt x="6406388" y="1219002"/>
                    <a:pt x="6410674" y="1169567"/>
                    <a:pt x="6412198" y="1119942"/>
                  </a:cubicBezTo>
                  <a:lnTo>
                    <a:pt x="6415246" y="1045647"/>
                  </a:lnTo>
                  <a:lnTo>
                    <a:pt x="6416580" y="971257"/>
                  </a:lnTo>
                  <a:lnTo>
                    <a:pt x="6416484" y="934205"/>
                  </a:lnTo>
                  <a:lnTo>
                    <a:pt x="6416484" y="898581"/>
                  </a:lnTo>
                  <a:lnTo>
                    <a:pt x="6416484" y="830192"/>
                  </a:lnTo>
                  <a:lnTo>
                    <a:pt x="6416484" y="693317"/>
                  </a:lnTo>
                  <a:lnTo>
                    <a:pt x="6419152" y="145916"/>
                  </a:lnTo>
                  <a:cubicBezTo>
                    <a:pt x="6419152" y="66001"/>
                    <a:pt x="6401530" y="-293"/>
                    <a:pt x="6389719" y="-293"/>
                  </a:cubicBezTo>
                  <a:cubicBezTo>
                    <a:pt x="6377908" y="-293"/>
                    <a:pt x="6359906" y="66382"/>
                    <a:pt x="6360382" y="145916"/>
                  </a:cubicBezTo>
                  <a:lnTo>
                    <a:pt x="6362954" y="693317"/>
                  </a:lnTo>
                  <a:lnTo>
                    <a:pt x="6363525" y="830192"/>
                  </a:lnTo>
                  <a:lnTo>
                    <a:pt x="6363525" y="898581"/>
                  </a:lnTo>
                  <a:lnTo>
                    <a:pt x="6363525" y="915155"/>
                  </a:lnTo>
                  <a:lnTo>
                    <a:pt x="6363525" y="933443"/>
                  </a:lnTo>
                  <a:lnTo>
                    <a:pt x="6363525" y="970209"/>
                  </a:lnTo>
                  <a:lnTo>
                    <a:pt x="6362668" y="1043742"/>
                  </a:lnTo>
                  <a:lnTo>
                    <a:pt x="6360192" y="1117371"/>
                  </a:lnTo>
                  <a:cubicBezTo>
                    <a:pt x="6359048" y="1166424"/>
                    <a:pt x="6355048" y="1215383"/>
                    <a:pt x="6352381" y="1264437"/>
                  </a:cubicBezTo>
                  <a:cubicBezTo>
                    <a:pt x="6338903" y="1460547"/>
                    <a:pt x="6313328" y="1655647"/>
                    <a:pt x="6275800" y="1848605"/>
                  </a:cubicBezTo>
                  <a:cubicBezTo>
                    <a:pt x="6237424" y="2041667"/>
                    <a:pt x="6187065" y="2232158"/>
                    <a:pt x="6125019" y="2418962"/>
                  </a:cubicBezTo>
                  <a:cubicBezTo>
                    <a:pt x="5292944" y="4889223"/>
                    <a:pt x="2615866" y="6217237"/>
                    <a:pt x="145605" y="5385161"/>
                  </a:cubicBezTo>
                  <a:cubicBezTo>
                    <a:pt x="96942" y="5368769"/>
                    <a:pt x="48545" y="5351586"/>
                    <a:pt x="444" y="53336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2EE7AD0B-0F33-4CF1-B740-7B72000934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20283" y="803052"/>
            <a:ext cx="5509336" cy="558972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61688143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8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-1"/>
            <a:ext cx="4185920" cy="40775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>
              <a:solidFill>
                <a:schemeClr val="bg1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0" y="4077547"/>
            <a:ext cx="4185920" cy="2780452"/>
          </a:xfrm>
          <a:prstGeom prst="rect">
            <a:avLst/>
          </a:prstGeom>
          <a:gradFill flip="none" rotWithShape="1">
            <a:gsLst>
              <a:gs pos="100000">
                <a:schemeClr val="tx1"/>
              </a:gs>
              <a:gs pos="3000">
                <a:schemeClr val="tx1"/>
              </a:gs>
            </a:gsLst>
            <a:lin ang="9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AD731BC8-7A60-465C-AAB6-9BF7E4366E77}"/>
              </a:ext>
            </a:extLst>
          </p:cNvPr>
          <p:cNvGrpSpPr/>
          <p:nvPr/>
        </p:nvGrpSpPr>
        <p:grpSpPr>
          <a:xfrm>
            <a:off x="1864837" y="4367656"/>
            <a:ext cx="1193885" cy="423029"/>
            <a:chOff x="1864837" y="4367656"/>
            <a:chExt cx="1193885" cy="423029"/>
          </a:xfrm>
          <a:solidFill>
            <a:srgbClr val="0006FF"/>
          </a:solidFill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FAF05E81-EFAF-4C86-AFEC-113BF4B83254}"/>
                </a:ext>
              </a:extLst>
            </p:cNvPr>
            <p:cNvSpPr/>
            <p:nvPr/>
          </p:nvSpPr>
          <p:spPr>
            <a:xfrm>
              <a:off x="1864837" y="4367656"/>
              <a:ext cx="423029" cy="423029"/>
            </a:xfrm>
            <a:custGeom>
              <a:avLst/>
              <a:gdLst>
                <a:gd name="connsiteX0" fmla="*/ 0 w 423029"/>
                <a:gd name="connsiteY0" fmla="*/ 0 h 423029"/>
                <a:gd name="connsiteX1" fmla="*/ 423029 w 423029"/>
                <a:gd name="connsiteY1" fmla="*/ 0 h 423029"/>
                <a:gd name="connsiteX2" fmla="*/ 423029 w 423029"/>
                <a:gd name="connsiteY2" fmla="*/ 423029 h 423029"/>
                <a:gd name="connsiteX3" fmla="*/ 0 w 423029"/>
                <a:gd name="connsiteY3" fmla="*/ 423029 h 423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029" h="423029">
                  <a:moveTo>
                    <a:pt x="0" y="0"/>
                  </a:moveTo>
                  <a:lnTo>
                    <a:pt x="423029" y="0"/>
                  </a:lnTo>
                  <a:lnTo>
                    <a:pt x="423029" y="423029"/>
                  </a:lnTo>
                  <a:lnTo>
                    <a:pt x="0" y="423029"/>
                  </a:lnTo>
                  <a:close/>
                </a:path>
              </a:pathLst>
            </a:custGeom>
            <a:grpFill/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23B5E4DE-F3B8-4B26-8E67-2654B3E8C062}"/>
                </a:ext>
              </a:extLst>
            </p:cNvPr>
            <p:cNvSpPr/>
            <p:nvPr/>
          </p:nvSpPr>
          <p:spPr>
            <a:xfrm>
              <a:off x="2635693" y="4367656"/>
              <a:ext cx="423029" cy="423029"/>
            </a:xfrm>
            <a:custGeom>
              <a:avLst/>
              <a:gdLst>
                <a:gd name="connsiteX0" fmla="*/ 0 w 423029"/>
                <a:gd name="connsiteY0" fmla="*/ 0 h 423029"/>
                <a:gd name="connsiteX1" fmla="*/ 423029 w 423029"/>
                <a:gd name="connsiteY1" fmla="*/ 0 h 423029"/>
                <a:gd name="connsiteX2" fmla="*/ 423029 w 423029"/>
                <a:gd name="connsiteY2" fmla="*/ 423029 h 423029"/>
                <a:gd name="connsiteX3" fmla="*/ 0 w 423029"/>
                <a:gd name="connsiteY3" fmla="*/ 423029 h 423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029" h="423029">
                  <a:moveTo>
                    <a:pt x="0" y="0"/>
                  </a:moveTo>
                  <a:lnTo>
                    <a:pt x="423029" y="0"/>
                  </a:lnTo>
                  <a:lnTo>
                    <a:pt x="423029" y="423029"/>
                  </a:lnTo>
                  <a:lnTo>
                    <a:pt x="0" y="423029"/>
                  </a:lnTo>
                  <a:close/>
                </a:path>
              </a:pathLst>
            </a:custGeom>
            <a:grpFill/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9" name="Graphic 34">
            <a:extLst>
              <a:ext uri="{FF2B5EF4-FFF2-40B4-BE49-F238E27FC236}">
                <a16:creationId xmlns:a16="http://schemas.microsoft.com/office/drawing/2014/main" id="{2FAFAC8A-B2B2-421E-B720-433B11290B75}"/>
              </a:ext>
            </a:extLst>
          </p:cNvPr>
          <p:cNvGrpSpPr/>
          <p:nvPr/>
        </p:nvGrpSpPr>
        <p:grpSpPr>
          <a:xfrm>
            <a:off x="-2104262" y="3358649"/>
            <a:ext cx="3363" cy="3363"/>
            <a:chOff x="-2104262" y="3358649"/>
            <a:chExt cx="3363" cy="3363"/>
          </a:xfrm>
          <a:solidFill>
            <a:srgbClr val="0006FF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0B4650B-476A-42DA-8739-8655AC769FAC}"/>
                </a:ext>
              </a:extLst>
            </p:cNvPr>
            <p:cNvSpPr/>
            <p:nvPr/>
          </p:nvSpPr>
          <p:spPr>
            <a:xfrm>
              <a:off x="-2104262" y="3358649"/>
              <a:ext cx="3363" cy="3363"/>
            </a:xfrm>
            <a:custGeom>
              <a:avLst/>
              <a:gdLst/>
              <a:ahLst/>
              <a:cxnLst/>
              <a:rect l="l" t="t" r="r" b="b"/>
              <a:pathLst>
                <a:path w="3363" h="3363"/>
              </a:pathLst>
            </a:custGeom>
            <a:solidFill>
              <a:srgbClr val="0006FF"/>
            </a:solidFill>
            <a:ln w="3490" cap="flat">
              <a:solidFill>
                <a:srgbClr val="3CD6F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F8F7019-63E4-4A55-9567-2C08A6853E97}"/>
                </a:ext>
              </a:extLst>
            </p:cNvPr>
            <p:cNvSpPr/>
            <p:nvPr/>
          </p:nvSpPr>
          <p:spPr>
            <a:xfrm>
              <a:off x="-2104262" y="3358649"/>
              <a:ext cx="3363" cy="3363"/>
            </a:xfrm>
            <a:custGeom>
              <a:avLst/>
              <a:gdLst/>
              <a:ahLst/>
              <a:cxnLst/>
              <a:rect l="l" t="t" r="r" b="b"/>
              <a:pathLst>
                <a:path w="3363" h="3363"/>
              </a:pathLst>
            </a:custGeom>
            <a:solidFill>
              <a:srgbClr val="0006FF"/>
            </a:solidFill>
            <a:ln w="3490" cap="flat">
              <a:solidFill>
                <a:srgbClr val="3CD6F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2" name="Graphic 34">
            <a:extLst>
              <a:ext uri="{FF2B5EF4-FFF2-40B4-BE49-F238E27FC236}">
                <a16:creationId xmlns:a16="http://schemas.microsoft.com/office/drawing/2014/main" id="{7AB7C8FC-644B-4C3F-A014-37851DE3088D}"/>
              </a:ext>
            </a:extLst>
          </p:cNvPr>
          <p:cNvGrpSpPr/>
          <p:nvPr/>
        </p:nvGrpSpPr>
        <p:grpSpPr>
          <a:xfrm>
            <a:off x="-2104262" y="3358649"/>
            <a:ext cx="3363" cy="3363"/>
            <a:chOff x="-2104262" y="3358649"/>
            <a:chExt cx="3363" cy="3363"/>
          </a:xfrm>
          <a:solidFill>
            <a:srgbClr val="0006FF"/>
          </a:solidFill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D83F44A-498B-4DA6-BF9F-AE9309EE1626}"/>
                </a:ext>
              </a:extLst>
            </p:cNvPr>
            <p:cNvSpPr/>
            <p:nvPr/>
          </p:nvSpPr>
          <p:spPr>
            <a:xfrm>
              <a:off x="-2104262" y="3358649"/>
              <a:ext cx="3363" cy="3363"/>
            </a:xfrm>
            <a:custGeom>
              <a:avLst/>
              <a:gdLst/>
              <a:ahLst/>
              <a:cxnLst/>
              <a:rect l="l" t="t" r="r" b="b"/>
              <a:pathLst>
                <a:path w="3363" h="3363"/>
              </a:pathLst>
            </a:custGeom>
            <a:solidFill>
              <a:srgbClr val="0006FF"/>
            </a:solidFill>
            <a:ln w="3490" cap="flat">
              <a:solidFill>
                <a:srgbClr val="3CD6F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6CEB3D2-42E4-4562-BBE2-71153ADF8E8E}"/>
                </a:ext>
              </a:extLst>
            </p:cNvPr>
            <p:cNvSpPr/>
            <p:nvPr/>
          </p:nvSpPr>
          <p:spPr>
            <a:xfrm>
              <a:off x="-2104262" y="3358649"/>
              <a:ext cx="3363" cy="3363"/>
            </a:xfrm>
            <a:custGeom>
              <a:avLst/>
              <a:gdLst/>
              <a:ahLst/>
              <a:cxnLst/>
              <a:rect l="l" t="t" r="r" b="b"/>
              <a:pathLst>
                <a:path w="3363" h="3363"/>
              </a:pathLst>
            </a:custGeom>
            <a:solidFill>
              <a:srgbClr val="0006FF"/>
            </a:solidFill>
            <a:ln w="3490" cap="flat">
              <a:solidFill>
                <a:srgbClr val="3CD6F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97654FC1-71B5-4D78-93E2-FB68F305C353}"/>
              </a:ext>
            </a:extLst>
          </p:cNvPr>
          <p:cNvGrpSpPr/>
          <p:nvPr/>
        </p:nvGrpSpPr>
        <p:grpSpPr>
          <a:xfrm>
            <a:off x="1668620" y="4269807"/>
            <a:ext cx="2359523" cy="2109062"/>
            <a:chOff x="1668620" y="4269807"/>
            <a:chExt cx="2359523" cy="2109062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E827043-9CAF-4166-9241-5B78D25E3112}"/>
                </a:ext>
              </a:extLst>
            </p:cNvPr>
            <p:cNvSpPr/>
            <p:nvPr/>
          </p:nvSpPr>
          <p:spPr>
            <a:xfrm>
              <a:off x="3697833" y="4772279"/>
              <a:ext cx="35653" cy="86677"/>
            </a:xfrm>
            <a:custGeom>
              <a:avLst/>
              <a:gdLst>
                <a:gd name="connsiteX0" fmla="*/ 25656 w 35653"/>
                <a:gd name="connsiteY0" fmla="*/ 76421 h 86677"/>
                <a:gd name="connsiteX1" fmla="*/ 30399 w 35653"/>
                <a:gd name="connsiteY1" fmla="*/ 44907 h 86677"/>
                <a:gd name="connsiteX2" fmla="*/ 32619 w 35653"/>
                <a:gd name="connsiteY2" fmla="*/ 29134 h 86677"/>
                <a:gd name="connsiteX3" fmla="*/ 34502 w 35653"/>
                <a:gd name="connsiteY3" fmla="*/ 13326 h 86677"/>
                <a:gd name="connsiteX4" fmla="*/ 22831 w 35653"/>
                <a:gd name="connsiteY4" fmla="*/ -127 h 86677"/>
                <a:gd name="connsiteX5" fmla="*/ 22024 w 35653"/>
                <a:gd name="connsiteY5" fmla="*/ -127 h 86677"/>
                <a:gd name="connsiteX6" fmla="*/ 7629 w 35653"/>
                <a:gd name="connsiteY6" fmla="*/ 10266 h 86677"/>
                <a:gd name="connsiteX7" fmla="*/ 5779 w 35653"/>
                <a:gd name="connsiteY7" fmla="*/ 25804 h 86677"/>
                <a:gd name="connsiteX8" fmla="*/ 3627 w 35653"/>
                <a:gd name="connsiteY8" fmla="*/ 41309 h 86677"/>
                <a:gd name="connsiteX9" fmla="*/ -1048 w 35653"/>
                <a:gd name="connsiteY9" fmla="*/ 72217 h 86677"/>
                <a:gd name="connsiteX10" fmla="*/ 9917 w 35653"/>
                <a:gd name="connsiteY10" fmla="*/ 86141 h 86677"/>
                <a:gd name="connsiteX11" fmla="*/ 10757 w 35653"/>
                <a:gd name="connsiteY11" fmla="*/ 86141 h 86677"/>
                <a:gd name="connsiteX12" fmla="*/ 25656 w 35653"/>
                <a:gd name="connsiteY12" fmla="*/ 76421 h 86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653" h="86677">
                  <a:moveTo>
                    <a:pt x="25656" y="76421"/>
                  </a:moveTo>
                  <a:cubicBezTo>
                    <a:pt x="27506" y="65961"/>
                    <a:pt x="29020" y="55434"/>
                    <a:pt x="30399" y="44907"/>
                  </a:cubicBezTo>
                  <a:lnTo>
                    <a:pt x="32619" y="29134"/>
                  </a:lnTo>
                  <a:cubicBezTo>
                    <a:pt x="33358" y="23887"/>
                    <a:pt x="33863" y="18573"/>
                    <a:pt x="34502" y="13326"/>
                  </a:cubicBezTo>
                  <a:cubicBezTo>
                    <a:pt x="34973" y="6391"/>
                    <a:pt x="29759" y="375"/>
                    <a:pt x="22831" y="-127"/>
                  </a:cubicBezTo>
                  <a:lnTo>
                    <a:pt x="22024" y="-127"/>
                  </a:lnTo>
                  <a:cubicBezTo>
                    <a:pt x="15197" y="-1159"/>
                    <a:pt x="8806" y="3459"/>
                    <a:pt x="7629" y="10266"/>
                  </a:cubicBezTo>
                  <a:cubicBezTo>
                    <a:pt x="6991" y="15445"/>
                    <a:pt x="6520" y="20625"/>
                    <a:pt x="5779" y="25804"/>
                  </a:cubicBezTo>
                  <a:lnTo>
                    <a:pt x="3627" y="41309"/>
                  </a:lnTo>
                  <a:cubicBezTo>
                    <a:pt x="2181" y="51634"/>
                    <a:pt x="768" y="61959"/>
                    <a:pt x="-1048" y="72217"/>
                  </a:cubicBezTo>
                  <a:cubicBezTo>
                    <a:pt x="-1788" y="79071"/>
                    <a:pt x="3089" y="85266"/>
                    <a:pt x="9917" y="86141"/>
                  </a:cubicBezTo>
                  <a:lnTo>
                    <a:pt x="10757" y="86141"/>
                  </a:lnTo>
                  <a:cubicBezTo>
                    <a:pt x="17551" y="87553"/>
                    <a:pt x="24210" y="83208"/>
                    <a:pt x="25656" y="76421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557DB61-2F51-4138-B132-2B8341494D09}"/>
                </a:ext>
              </a:extLst>
            </p:cNvPr>
            <p:cNvSpPr/>
            <p:nvPr/>
          </p:nvSpPr>
          <p:spPr>
            <a:xfrm>
              <a:off x="3196402" y="5677740"/>
              <a:ext cx="73064" cy="67673"/>
            </a:xfrm>
            <a:custGeom>
              <a:avLst/>
              <a:gdLst>
                <a:gd name="connsiteX0" fmla="*/ 20380 w 73064"/>
                <a:gd name="connsiteY0" fmla="*/ 64742 h 67673"/>
                <a:gd name="connsiteX1" fmla="*/ 32589 w 73064"/>
                <a:gd name="connsiteY1" fmla="*/ 54417 h 67673"/>
                <a:gd name="connsiteX2" fmla="*/ 44528 w 73064"/>
                <a:gd name="connsiteY2" fmla="*/ 43856 h 67673"/>
                <a:gd name="connsiteX3" fmla="*/ 56501 w 73064"/>
                <a:gd name="connsiteY3" fmla="*/ 33296 h 67673"/>
                <a:gd name="connsiteX4" fmla="*/ 68239 w 73064"/>
                <a:gd name="connsiteY4" fmla="*/ 22432 h 67673"/>
                <a:gd name="connsiteX5" fmla="*/ 68306 w 73064"/>
                <a:gd name="connsiteY5" fmla="*/ 4738 h 67673"/>
                <a:gd name="connsiteX6" fmla="*/ 68239 w 73064"/>
                <a:gd name="connsiteY6" fmla="*/ 4675 h 67673"/>
                <a:gd name="connsiteX7" fmla="*/ 67667 w 73064"/>
                <a:gd name="connsiteY7" fmla="*/ 4069 h 67673"/>
                <a:gd name="connsiteX8" fmla="*/ 49943 w 73064"/>
                <a:gd name="connsiteY8" fmla="*/ 2690 h 67673"/>
                <a:gd name="connsiteX9" fmla="*/ 38407 w 73064"/>
                <a:gd name="connsiteY9" fmla="*/ 13318 h 67673"/>
                <a:gd name="connsiteX10" fmla="*/ 26669 w 73064"/>
                <a:gd name="connsiteY10" fmla="*/ 23711 h 67673"/>
                <a:gd name="connsiteX11" fmla="*/ 14898 w 73064"/>
                <a:gd name="connsiteY11" fmla="*/ 34103 h 67673"/>
                <a:gd name="connsiteX12" fmla="*/ 2925 w 73064"/>
                <a:gd name="connsiteY12" fmla="*/ 44193 h 67673"/>
                <a:gd name="connsiteX13" fmla="*/ 2050 w 73064"/>
                <a:gd name="connsiteY13" fmla="*/ 61816 h 67673"/>
                <a:gd name="connsiteX14" fmla="*/ 2589 w 73064"/>
                <a:gd name="connsiteY14" fmla="*/ 62455 h 67673"/>
                <a:gd name="connsiteX15" fmla="*/ 20313 w 73064"/>
                <a:gd name="connsiteY15" fmla="*/ 64789 h 67673"/>
                <a:gd name="connsiteX16" fmla="*/ 20380 w 73064"/>
                <a:gd name="connsiteY16" fmla="*/ 64742 h 67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3064" h="67673">
                  <a:moveTo>
                    <a:pt x="20380" y="64742"/>
                  </a:moveTo>
                  <a:cubicBezTo>
                    <a:pt x="24450" y="61379"/>
                    <a:pt x="28587" y="58016"/>
                    <a:pt x="32589" y="54417"/>
                  </a:cubicBezTo>
                  <a:lnTo>
                    <a:pt x="44528" y="43856"/>
                  </a:lnTo>
                  <a:lnTo>
                    <a:pt x="56501" y="33296"/>
                  </a:lnTo>
                  <a:lnTo>
                    <a:pt x="68239" y="22432"/>
                  </a:lnTo>
                  <a:cubicBezTo>
                    <a:pt x="73150" y="17566"/>
                    <a:pt x="73183" y="9642"/>
                    <a:pt x="68306" y="4738"/>
                  </a:cubicBezTo>
                  <a:cubicBezTo>
                    <a:pt x="68273" y="4718"/>
                    <a:pt x="68273" y="4695"/>
                    <a:pt x="68239" y="4675"/>
                  </a:cubicBezTo>
                  <a:lnTo>
                    <a:pt x="67667" y="4069"/>
                  </a:lnTo>
                  <a:cubicBezTo>
                    <a:pt x="63127" y="-1130"/>
                    <a:pt x="55257" y="-1743"/>
                    <a:pt x="49943" y="2690"/>
                  </a:cubicBezTo>
                  <a:lnTo>
                    <a:pt x="38407" y="13318"/>
                  </a:lnTo>
                  <a:lnTo>
                    <a:pt x="26669" y="23711"/>
                  </a:lnTo>
                  <a:lnTo>
                    <a:pt x="14898" y="34103"/>
                  </a:lnTo>
                  <a:cubicBezTo>
                    <a:pt x="10963" y="37466"/>
                    <a:pt x="6927" y="40830"/>
                    <a:pt x="2925" y="44193"/>
                  </a:cubicBezTo>
                  <a:cubicBezTo>
                    <a:pt x="-2120" y="48851"/>
                    <a:pt x="-2490" y="56681"/>
                    <a:pt x="2050" y="61816"/>
                  </a:cubicBezTo>
                  <a:lnTo>
                    <a:pt x="2589" y="62455"/>
                  </a:lnTo>
                  <a:cubicBezTo>
                    <a:pt x="6826" y="67994"/>
                    <a:pt x="14764" y="69040"/>
                    <a:pt x="20313" y="64789"/>
                  </a:cubicBezTo>
                  <a:cubicBezTo>
                    <a:pt x="20346" y="64773"/>
                    <a:pt x="20346" y="64759"/>
                    <a:pt x="20380" y="6474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5FEAC88-3261-4BEB-9AAE-0E7A49D15670}"/>
                </a:ext>
              </a:extLst>
            </p:cNvPr>
            <p:cNvSpPr/>
            <p:nvPr/>
          </p:nvSpPr>
          <p:spPr>
            <a:xfrm>
              <a:off x="2777558" y="5944683"/>
              <a:ext cx="83438" cy="50628"/>
            </a:xfrm>
            <a:custGeom>
              <a:avLst/>
              <a:gdLst>
                <a:gd name="connsiteX0" fmla="*/ 16229 w 83438"/>
                <a:gd name="connsiteY0" fmla="*/ 49706 h 50628"/>
                <a:gd name="connsiteX1" fmla="*/ 75220 w 83438"/>
                <a:gd name="connsiteY1" fmla="*/ 25255 h 50628"/>
                <a:gd name="connsiteX2" fmla="*/ 81106 w 83438"/>
                <a:gd name="connsiteY2" fmla="*/ 8721 h 50628"/>
                <a:gd name="connsiteX3" fmla="*/ 80972 w 83438"/>
                <a:gd name="connsiteY3" fmla="*/ 8439 h 50628"/>
                <a:gd name="connsiteX4" fmla="*/ 80635 w 83438"/>
                <a:gd name="connsiteY4" fmla="*/ 7665 h 50628"/>
                <a:gd name="connsiteX5" fmla="*/ 64323 w 83438"/>
                <a:gd name="connsiteY5" fmla="*/ 535 h 50628"/>
                <a:gd name="connsiteX6" fmla="*/ 6375 w 83438"/>
                <a:gd name="connsiteY6" fmla="*/ 24548 h 50628"/>
                <a:gd name="connsiteX7" fmla="*/ -117 w 83438"/>
                <a:gd name="connsiteY7" fmla="*/ 40961 h 50628"/>
                <a:gd name="connsiteX8" fmla="*/ 186 w 83438"/>
                <a:gd name="connsiteY8" fmla="*/ 41735 h 50628"/>
                <a:gd name="connsiteX9" fmla="*/ 16229 w 83438"/>
                <a:gd name="connsiteY9" fmla="*/ 49706 h 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3438" h="50628">
                  <a:moveTo>
                    <a:pt x="16229" y="49706"/>
                  </a:moveTo>
                  <a:cubicBezTo>
                    <a:pt x="36005" y="41869"/>
                    <a:pt x="55781" y="33898"/>
                    <a:pt x="75220" y="25255"/>
                  </a:cubicBezTo>
                  <a:cubicBezTo>
                    <a:pt x="81409" y="22315"/>
                    <a:pt x="84066" y="14913"/>
                    <a:pt x="81106" y="8721"/>
                  </a:cubicBezTo>
                  <a:cubicBezTo>
                    <a:pt x="81072" y="8627"/>
                    <a:pt x="81005" y="8533"/>
                    <a:pt x="80972" y="8439"/>
                  </a:cubicBezTo>
                  <a:lnTo>
                    <a:pt x="80635" y="7665"/>
                  </a:lnTo>
                  <a:cubicBezTo>
                    <a:pt x="78012" y="1282"/>
                    <a:pt x="70781" y="-1870"/>
                    <a:pt x="64323" y="535"/>
                  </a:cubicBezTo>
                  <a:cubicBezTo>
                    <a:pt x="45220" y="9044"/>
                    <a:pt x="25814" y="16847"/>
                    <a:pt x="6375" y="24548"/>
                  </a:cubicBezTo>
                  <a:cubicBezTo>
                    <a:pt x="85" y="27316"/>
                    <a:pt x="-2807" y="34635"/>
                    <a:pt x="-117" y="40961"/>
                  </a:cubicBezTo>
                  <a:lnTo>
                    <a:pt x="186" y="41735"/>
                  </a:lnTo>
                  <a:cubicBezTo>
                    <a:pt x="2440" y="48347"/>
                    <a:pt x="9603" y="51908"/>
                    <a:pt x="16229" y="49706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B827883-BB0A-4F88-B05B-7CBA6388F199}"/>
                </a:ext>
              </a:extLst>
            </p:cNvPr>
            <p:cNvSpPr/>
            <p:nvPr/>
          </p:nvSpPr>
          <p:spPr>
            <a:xfrm>
              <a:off x="3589100" y="4887920"/>
              <a:ext cx="125825" cy="335376"/>
            </a:xfrm>
            <a:custGeom>
              <a:avLst/>
              <a:gdLst>
                <a:gd name="connsiteX0" fmla="*/ 24444 w 125825"/>
                <a:gd name="connsiteY0" fmla="*/ 327878 h 335376"/>
                <a:gd name="connsiteX1" fmla="*/ 124434 w 125825"/>
                <a:gd name="connsiteY1" fmla="*/ 15903 h 335376"/>
                <a:gd name="connsiteX2" fmla="*/ 113839 w 125825"/>
                <a:gd name="connsiteY2" fmla="*/ -5 h 335376"/>
                <a:gd name="connsiteX3" fmla="*/ 97931 w 125825"/>
                <a:gd name="connsiteY3" fmla="*/ 10589 h 335376"/>
                <a:gd name="connsiteX4" fmla="*/ -242 w 125825"/>
                <a:gd name="connsiteY4" fmla="*/ 316880 h 335376"/>
                <a:gd name="connsiteX5" fmla="*/ 6989 w 125825"/>
                <a:gd name="connsiteY5" fmla="*/ 333696 h 335376"/>
                <a:gd name="connsiteX6" fmla="*/ 24343 w 125825"/>
                <a:gd name="connsiteY6" fmla="*/ 328049 h 335376"/>
                <a:gd name="connsiteX7" fmla="*/ 24444 w 125825"/>
                <a:gd name="connsiteY7" fmla="*/ 327878 h 33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825" h="335376">
                  <a:moveTo>
                    <a:pt x="24444" y="327878"/>
                  </a:moveTo>
                  <a:cubicBezTo>
                    <a:pt x="69276" y="227926"/>
                    <a:pt x="102808" y="123288"/>
                    <a:pt x="124434" y="15903"/>
                  </a:cubicBezTo>
                  <a:cubicBezTo>
                    <a:pt x="125913" y="8585"/>
                    <a:pt x="121171" y="1462"/>
                    <a:pt x="113839" y="-5"/>
                  </a:cubicBezTo>
                  <a:cubicBezTo>
                    <a:pt x="106507" y="-1471"/>
                    <a:pt x="99411" y="3271"/>
                    <a:pt x="97931" y="10589"/>
                  </a:cubicBezTo>
                  <a:cubicBezTo>
                    <a:pt x="76675" y="116010"/>
                    <a:pt x="43749" y="218741"/>
                    <a:pt x="-242" y="316880"/>
                  </a:cubicBezTo>
                  <a:cubicBezTo>
                    <a:pt x="-2798" y="323519"/>
                    <a:pt x="397" y="330992"/>
                    <a:pt x="6989" y="333696"/>
                  </a:cubicBezTo>
                  <a:cubicBezTo>
                    <a:pt x="13346" y="336932"/>
                    <a:pt x="21115" y="334406"/>
                    <a:pt x="24343" y="328049"/>
                  </a:cubicBezTo>
                  <a:cubicBezTo>
                    <a:pt x="24377" y="327992"/>
                    <a:pt x="24411" y="327935"/>
                    <a:pt x="24444" y="32787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75A7A6E-4530-4A81-A21B-B792A9249BE0}"/>
                </a:ext>
              </a:extLst>
            </p:cNvPr>
            <p:cNvSpPr/>
            <p:nvPr/>
          </p:nvSpPr>
          <p:spPr>
            <a:xfrm>
              <a:off x="3706570" y="4879583"/>
              <a:ext cx="67915" cy="192416"/>
            </a:xfrm>
            <a:custGeom>
              <a:avLst/>
              <a:gdLst>
                <a:gd name="connsiteX0" fmla="*/ 25192 w 67915"/>
                <a:gd name="connsiteY0" fmla="*/ 183086 h 192416"/>
                <a:gd name="connsiteX1" fmla="*/ 66594 w 67915"/>
                <a:gd name="connsiteY1" fmla="*/ 14924 h 192416"/>
                <a:gd name="connsiteX2" fmla="*/ 56135 w 67915"/>
                <a:gd name="connsiteY2" fmla="*/ 8 h 192416"/>
                <a:gd name="connsiteX3" fmla="*/ 55832 w 67915"/>
                <a:gd name="connsiteY3" fmla="*/ -42 h 192416"/>
                <a:gd name="connsiteX4" fmla="*/ 55563 w 67915"/>
                <a:gd name="connsiteY4" fmla="*/ -42 h 192416"/>
                <a:gd name="connsiteX5" fmla="*/ 40025 w 67915"/>
                <a:gd name="connsiteY5" fmla="*/ 10047 h 192416"/>
                <a:gd name="connsiteX6" fmla="*/ -671 w 67915"/>
                <a:gd name="connsiteY6" fmla="*/ 175418 h 192416"/>
                <a:gd name="connsiteX7" fmla="*/ 8343 w 67915"/>
                <a:gd name="connsiteY7" fmla="*/ 191461 h 192416"/>
                <a:gd name="connsiteX8" fmla="*/ 8578 w 67915"/>
                <a:gd name="connsiteY8" fmla="*/ 191461 h 192416"/>
                <a:gd name="connsiteX9" fmla="*/ 25159 w 67915"/>
                <a:gd name="connsiteY9" fmla="*/ 183224 h 192416"/>
                <a:gd name="connsiteX10" fmla="*/ 25192 w 67915"/>
                <a:gd name="connsiteY10" fmla="*/ 183086 h 192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7915" h="192416">
                  <a:moveTo>
                    <a:pt x="25192" y="183086"/>
                  </a:moveTo>
                  <a:cubicBezTo>
                    <a:pt x="42110" y="127845"/>
                    <a:pt x="55933" y="71702"/>
                    <a:pt x="66594" y="14924"/>
                  </a:cubicBezTo>
                  <a:cubicBezTo>
                    <a:pt x="67839" y="7918"/>
                    <a:pt x="63130" y="1239"/>
                    <a:pt x="56135" y="8"/>
                  </a:cubicBezTo>
                  <a:cubicBezTo>
                    <a:pt x="56034" y="-9"/>
                    <a:pt x="55933" y="-26"/>
                    <a:pt x="55832" y="-42"/>
                  </a:cubicBezTo>
                  <a:lnTo>
                    <a:pt x="55563" y="-42"/>
                  </a:lnTo>
                  <a:cubicBezTo>
                    <a:pt x="48534" y="-1351"/>
                    <a:pt x="41706" y="3085"/>
                    <a:pt x="40025" y="10047"/>
                  </a:cubicBezTo>
                  <a:cubicBezTo>
                    <a:pt x="29531" y="65880"/>
                    <a:pt x="15944" y="121092"/>
                    <a:pt x="-671" y="175418"/>
                  </a:cubicBezTo>
                  <a:cubicBezTo>
                    <a:pt x="-2521" y="182326"/>
                    <a:pt x="1482" y="189456"/>
                    <a:pt x="8343" y="191461"/>
                  </a:cubicBezTo>
                  <a:lnTo>
                    <a:pt x="8578" y="191461"/>
                  </a:lnTo>
                  <a:cubicBezTo>
                    <a:pt x="15439" y="193761"/>
                    <a:pt x="22838" y="190075"/>
                    <a:pt x="25159" y="183224"/>
                  </a:cubicBezTo>
                  <a:cubicBezTo>
                    <a:pt x="25159" y="183180"/>
                    <a:pt x="25192" y="183133"/>
                    <a:pt x="25192" y="183086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1697F57-8FF1-4E40-8E3B-B95655BE4531}"/>
                </a:ext>
              </a:extLst>
            </p:cNvPr>
            <p:cNvSpPr/>
            <p:nvPr/>
          </p:nvSpPr>
          <p:spPr>
            <a:xfrm>
              <a:off x="3601648" y="5099078"/>
              <a:ext cx="114322" cy="228616"/>
            </a:xfrm>
            <a:custGeom>
              <a:avLst/>
              <a:gdLst>
                <a:gd name="connsiteX0" fmla="*/ 24374 w 114322"/>
                <a:gd name="connsiteY0" fmla="*/ 221047 h 228616"/>
                <a:gd name="connsiteX1" fmla="*/ 112524 w 114322"/>
                <a:gd name="connsiteY1" fmla="*/ 17067 h 228616"/>
                <a:gd name="connsiteX2" fmla="*/ 104284 w 114322"/>
                <a:gd name="connsiteY2" fmla="*/ 607 h 228616"/>
                <a:gd name="connsiteX3" fmla="*/ 104016 w 114322"/>
                <a:gd name="connsiteY3" fmla="*/ 519 h 228616"/>
                <a:gd name="connsiteX4" fmla="*/ 86964 w 114322"/>
                <a:gd name="connsiteY4" fmla="*/ 8255 h 228616"/>
                <a:gd name="connsiteX5" fmla="*/ 394 w 114322"/>
                <a:gd name="connsiteY5" fmla="*/ 208637 h 228616"/>
                <a:gd name="connsiteX6" fmla="*/ 6178 w 114322"/>
                <a:gd name="connsiteY6" fmla="*/ 226832 h 228616"/>
                <a:gd name="connsiteX7" fmla="*/ 24374 w 114322"/>
                <a:gd name="connsiteY7" fmla="*/ 221047 h 228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322" h="228616">
                  <a:moveTo>
                    <a:pt x="24374" y="221047"/>
                  </a:moveTo>
                  <a:cubicBezTo>
                    <a:pt x="58679" y="155293"/>
                    <a:pt x="88141" y="87120"/>
                    <a:pt x="112524" y="17067"/>
                  </a:cubicBezTo>
                  <a:cubicBezTo>
                    <a:pt x="114811" y="10246"/>
                    <a:pt x="111112" y="2877"/>
                    <a:pt x="104284" y="607"/>
                  </a:cubicBezTo>
                  <a:cubicBezTo>
                    <a:pt x="104183" y="577"/>
                    <a:pt x="104116" y="546"/>
                    <a:pt x="104016" y="519"/>
                  </a:cubicBezTo>
                  <a:cubicBezTo>
                    <a:pt x="97188" y="-1929"/>
                    <a:pt x="89621" y="1495"/>
                    <a:pt x="86964" y="8255"/>
                  </a:cubicBezTo>
                  <a:cubicBezTo>
                    <a:pt x="63017" y="77070"/>
                    <a:pt x="34094" y="144043"/>
                    <a:pt x="394" y="208637"/>
                  </a:cubicBezTo>
                  <a:cubicBezTo>
                    <a:pt x="-3037" y="215259"/>
                    <a:pt x="-447" y="223405"/>
                    <a:pt x="6178" y="226832"/>
                  </a:cubicBezTo>
                  <a:cubicBezTo>
                    <a:pt x="12804" y="230259"/>
                    <a:pt x="20943" y="227670"/>
                    <a:pt x="24374" y="22104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38BC7ED-2A15-409B-B948-FCD404B7EFAE}"/>
                </a:ext>
              </a:extLst>
            </p:cNvPr>
            <p:cNvSpPr/>
            <p:nvPr/>
          </p:nvSpPr>
          <p:spPr>
            <a:xfrm>
              <a:off x="3787307" y="4930199"/>
              <a:ext cx="34776" cy="61184"/>
            </a:xfrm>
            <a:custGeom>
              <a:avLst/>
              <a:gdLst>
                <a:gd name="connsiteX0" fmla="*/ 25543 w 34776"/>
                <a:gd name="connsiteY0" fmla="*/ 50643 h 61184"/>
                <a:gd name="connsiteX1" fmla="*/ 33380 w 34776"/>
                <a:gd name="connsiteY1" fmla="*/ 15867 h 61184"/>
                <a:gd name="connsiteX2" fmla="*/ 23021 w 34776"/>
                <a:gd name="connsiteY2" fmla="*/ 26 h 61184"/>
                <a:gd name="connsiteX3" fmla="*/ 6945 w 34776"/>
                <a:gd name="connsiteY3" fmla="*/ 10116 h 61184"/>
                <a:gd name="connsiteX4" fmla="*/ -757 w 34776"/>
                <a:gd name="connsiteY4" fmla="*/ 44286 h 61184"/>
                <a:gd name="connsiteX5" fmla="*/ 9265 w 34776"/>
                <a:gd name="connsiteY5" fmla="*/ 60548 h 61184"/>
                <a:gd name="connsiteX6" fmla="*/ 25543 w 34776"/>
                <a:gd name="connsiteY6" fmla="*/ 50508 h 6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776" h="61184">
                  <a:moveTo>
                    <a:pt x="25543" y="50643"/>
                  </a:moveTo>
                  <a:cubicBezTo>
                    <a:pt x="28503" y="39140"/>
                    <a:pt x="30790" y="27470"/>
                    <a:pt x="33380" y="15867"/>
                  </a:cubicBezTo>
                  <a:cubicBezTo>
                    <a:pt x="34859" y="8639"/>
                    <a:pt x="30218" y="1573"/>
                    <a:pt x="23021" y="26"/>
                  </a:cubicBezTo>
                  <a:cubicBezTo>
                    <a:pt x="15824" y="-1494"/>
                    <a:pt x="8693" y="2969"/>
                    <a:pt x="6945" y="10116"/>
                  </a:cubicBezTo>
                  <a:cubicBezTo>
                    <a:pt x="4388" y="21517"/>
                    <a:pt x="2135" y="32986"/>
                    <a:pt x="-757" y="44286"/>
                  </a:cubicBezTo>
                  <a:cubicBezTo>
                    <a:pt x="-2473" y="51547"/>
                    <a:pt x="2034" y="58829"/>
                    <a:pt x="9265" y="60548"/>
                  </a:cubicBezTo>
                  <a:cubicBezTo>
                    <a:pt x="16530" y="62266"/>
                    <a:pt x="23828" y="57769"/>
                    <a:pt x="25543" y="5050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AE93D7E8-E61D-4343-9C6F-9CE6DA01F3F3}"/>
                </a:ext>
              </a:extLst>
            </p:cNvPr>
            <p:cNvSpPr/>
            <p:nvPr/>
          </p:nvSpPr>
          <p:spPr>
            <a:xfrm>
              <a:off x="3245537" y="5541836"/>
              <a:ext cx="298470" cy="310108"/>
            </a:xfrm>
            <a:custGeom>
              <a:avLst/>
              <a:gdLst>
                <a:gd name="connsiteX0" fmla="*/ 20853 w 298470"/>
                <a:gd name="connsiteY0" fmla="*/ 306823 h 310108"/>
                <a:gd name="connsiteX1" fmla="*/ 294756 w 298470"/>
                <a:gd name="connsiteY1" fmla="*/ 21183 h 310108"/>
                <a:gd name="connsiteX2" fmla="*/ 291830 w 298470"/>
                <a:gd name="connsiteY2" fmla="*/ 2382 h 310108"/>
                <a:gd name="connsiteX3" fmla="*/ 291796 w 298470"/>
                <a:gd name="connsiteY3" fmla="*/ 2349 h 310108"/>
                <a:gd name="connsiteX4" fmla="*/ 291796 w 298470"/>
                <a:gd name="connsiteY4" fmla="*/ 2349 h 310108"/>
                <a:gd name="connsiteX5" fmla="*/ 273063 w 298470"/>
                <a:gd name="connsiteY5" fmla="*/ 5107 h 310108"/>
                <a:gd name="connsiteX6" fmla="*/ 3734 w 298470"/>
                <a:gd name="connsiteY6" fmla="*/ 285971 h 310108"/>
                <a:gd name="connsiteX7" fmla="*/ 1851 w 298470"/>
                <a:gd name="connsiteY7" fmla="*/ 304772 h 310108"/>
                <a:gd name="connsiteX8" fmla="*/ 20752 w 298470"/>
                <a:gd name="connsiteY8" fmla="*/ 306901 h 310108"/>
                <a:gd name="connsiteX9" fmla="*/ 20853 w 298470"/>
                <a:gd name="connsiteY9" fmla="*/ 306823 h 310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8470" h="310108">
                  <a:moveTo>
                    <a:pt x="20853" y="306823"/>
                  </a:moveTo>
                  <a:cubicBezTo>
                    <a:pt x="123600" y="223294"/>
                    <a:pt x="215618" y="127347"/>
                    <a:pt x="294756" y="21183"/>
                  </a:cubicBezTo>
                  <a:cubicBezTo>
                    <a:pt x="299128" y="15186"/>
                    <a:pt x="297850" y="6768"/>
                    <a:pt x="291830" y="2382"/>
                  </a:cubicBezTo>
                  <a:cubicBezTo>
                    <a:pt x="291830" y="2372"/>
                    <a:pt x="291796" y="2359"/>
                    <a:pt x="291796" y="2349"/>
                  </a:cubicBezTo>
                  <a:lnTo>
                    <a:pt x="291796" y="2349"/>
                  </a:lnTo>
                  <a:cubicBezTo>
                    <a:pt x="285843" y="-2027"/>
                    <a:pt x="277502" y="-796"/>
                    <a:pt x="273063" y="5107"/>
                  </a:cubicBezTo>
                  <a:cubicBezTo>
                    <a:pt x="195237" y="109488"/>
                    <a:pt x="104766" y="203827"/>
                    <a:pt x="3734" y="285971"/>
                  </a:cubicBezTo>
                  <a:cubicBezTo>
                    <a:pt x="-1916" y="290670"/>
                    <a:pt x="-2757" y="299044"/>
                    <a:pt x="1851" y="304772"/>
                  </a:cubicBezTo>
                  <a:cubicBezTo>
                    <a:pt x="6492" y="310580"/>
                    <a:pt x="14933" y="311535"/>
                    <a:pt x="20752" y="306901"/>
                  </a:cubicBezTo>
                  <a:cubicBezTo>
                    <a:pt x="20786" y="306877"/>
                    <a:pt x="20819" y="306850"/>
                    <a:pt x="20853" y="30682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648B2CE6-1E1D-4726-9D67-431B11EE13EA}"/>
                </a:ext>
              </a:extLst>
            </p:cNvPr>
            <p:cNvSpPr/>
            <p:nvPr/>
          </p:nvSpPr>
          <p:spPr>
            <a:xfrm>
              <a:off x="3617552" y="5028865"/>
              <a:ext cx="180078" cy="387653"/>
            </a:xfrm>
            <a:custGeom>
              <a:avLst/>
              <a:gdLst>
                <a:gd name="connsiteX0" fmla="*/ 24042 w 180078"/>
                <a:gd name="connsiteY0" fmla="*/ 380723 h 387653"/>
                <a:gd name="connsiteX1" fmla="*/ 178449 w 180078"/>
                <a:gd name="connsiteY1" fmla="*/ 16921 h 387653"/>
                <a:gd name="connsiteX2" fmla="*/ 169099 w 180078"/>
                <a:gd name="connsiteY2" fmla="*/ 239 h 387653"/>
                <a:gd name="connsiteX3" fmla="*/ 152417 w 180078"/>
                <a:gd name="connsiteY3" fmla="*/ 9589 h 387653"/>
                <a:gd name="connsiteX4" fmla="*/ 634 w 180078"/>
                <a:gd name="connsiteY4" fmla="*/ 367236 h 387653"/>
                <a:gd name="connsiteX5" fmla="*/ 5510 w 180078"/>
                <a:gd name="connsiteY5" fmla="*/ 385465 h 387653"/>
                <a:gd name="connsiteX6" fmla="*/ 23975 w 180078"/>
                <a:gd name="connsiteY6" fmla="*/ 380847 h 387653"/>
                <a:gd name="connsiteX7" fmla="*/ 24042 w 180078"/>
                <a:gd name="connsiteY7" fmla="*/ 380723 h 3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0078" h="387653">
                  <a:moveTo>
                    <a:pt x="24042" y="380723"/>
                  </a:moveTo>
                  <a:cubicBezTo>
                    <a:pt x="90533" y="266389"/>
                    <a:pt x="142394" y="144169"/>
                    <a:pt x="178449" y="16921"/>
                  </a:cubicBezTo>
                  <a:cubicBezTo>
                    <a:pt x="180467" y="9733"/>
                    <a:pt x="176296" y="2264"/>
                    <a:pt x="169099" y="239"/>
                  </a:cubicBezTo>
                  <a:cubicBezTo>
                    <a:pt x="161901" y="-1786"/>
                    <a:pt x="154435" y="2401"/>
                    <a:pt x="152417" y="9589"/>
                  </a:cubicBezTo>
                  <a:cubicBezTo>
                    <a:pt x="116968" y="134678"/>
                    <a:pt x="65982" y="254833"/>
                    <a:pt x="634" y="367236"/>
                  </a:cubicBezTo>
                  <a:cubicBezTo>
                    <a:pt x="-2999" y="373627"/>
                    <a:pt x="-812" y="381739"/>
                    <a:pt x="5510" y="385465"/>
                  </a:cubicBezTo>
                  <a:cubicBezTo>
                    <a:pt x="11867" y="389286"/>
                    <a:pt x="20141" y="387221"/>
                    <a:pt x="23975" y="380847"/>
                  </a:cubicBezTo>
                  <a:cubicBezTo>
                    <a:pt x="24008" y="380807"/>
                    <a:pt x="24008" y="380767"/>
                    <a:pt x="24042" y="38072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91AA4FC-D4BD-4199-A579-98403A94C2C3}"/>
                </a:ext>
              </a:extLst>
            </p:cNvPr>
            <p:cNvSpPr/>
            <p:nvPr/>
          </p:nvSpPr>
          <p:spPr>
            <a:xfrm>
              <a:off x="2802019" y="5897236"/>
              <a:ext cx="374646" cy="209749"/>
            </a:xfrm>
            <a:custGeom>
              <a:avLst/>
              <a:gdLst>
                <a:gd name="connsiteX0" fmla="*/ 17059 w 374646"/>
                <a:gd name="connsiteY0" fmla="*/ 208645 h 209749"/>
                <a:gd name="connsiteX1" fmla="*/ 108910 w 374646"/>
                <a:gd name="connsiteY1" fmla="*/ 170842 h 209749"/>
                <a:gd name="connsiteX2" fmla="*/ 198137 w 374646"/>
                <a:gd name="connsiteY2" fmla="*/ 127120 h 209749"/>
                <a:gd name="connsiteX3" fmla="*/ 284572 w 374646"/>
                <a:gd name="connsiteY3" fmla="*/ 78285 h 209749"/>
                <a:gd name="connsiteX4" fmla="*/ 326545 w 374646"/>
                <a:gd name="connsiteY4" fmla="*/ 51783 h 209749"/>
                <a:gd name="connsiteX5" fmla="*/ 347296 w 374646"/>
                <a:gd name="connsiteY5" fmla="*/ 38162 h 209749"/>
                <a:gd name="connsiteX6" fmla="*/ 367711 w 374646"/>
                <a:gd name="connsiteY6" fmla="*/ 24070 h 209749"/>
                <a:gd name="connsiteX7" fmla="*/ 371243 w 374646"/>
                <a:gd name="connsiteY7" fmla="*/ 5670 h 209749"/>
                <a:gd name="connsiteX8" fmla="*/ 371074 w 374646"/>
                <a:gd name="connsiteY8" fmla="*/ 5404 h 209749"/>
                <a:gd name="connsiteX9" fmla="*/ 352341 w 374646"/>
                <a:gd name="connsiteY9" fmla="*/ 2041 h 209749"/>
                <a:gd name="connsiteX10" fmla="*/ 332162 w 374646"/>
                <a:gd name="connsiteY10" fmla="*/ 15897 h 209749"/>
                <a:gd name="connsiteX11" fmla="*/ 311747 w 374646"/>
                <a:gd name="connsiteY11" fmla="*/ 29350 h 209749"/>
                <a:gd name="connsiteX12" fmla="*/ 270480 w 374646"/>
                <a:gd name="connsiteY12" fmla="*/ 55415 h 209749"/>
                <a:gd name="connsiteX13" fmla="*/ 185524 w 374646"/>
                <a:gd name="connsiteY13" fmla="*/ 103443 h 209749"/>
                <a:gd name="connsiteX14" fmla="*/ 97811 w 374646"/>
                <a:gd name="connsiteY14" fmla="*/ 146290 h 209749"/>
                <a:gd name="connsiteX15" fmla="*/ 7508 w 374646"/>
                <a:gd name="connsiteY15" fmla="*/ 183286 h 209749"/>
                <a:gd name="connsiteX16" fmla="*/ -228 w 374646"/>
                <a:gd name="connsiteY16" fmla="*/ 200640 h 209749"/>
                <a:gd name="connsiteX17" fmla="*/ 17026 w 374646"/>
                <a:gd name="connsiteY17" fmla="*/ 208658 h 209749"/>
                <a:gd name="connsiteX18" fmla="*/ 17059 w 374646"/>
                <a:gd name="connsiteY18" fmla="*/ 208645 h 209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74646" h="209749">
                  <a:moveTo>
                    <a:pt x="17059" y="208645"/>
                  </a:moveTo>
                  <a:cubicBezTo>
                    <a:pt x="48136" y="197176"/>
                    <a:pt x="78607" y="184161"/>
                    <a:pt x="108910" y="170842"/>
                  </a:cubicBezTo>
                  <a:cubicBezTo>
                    <a:pt x="139212" y="157523"/>
                    <a:pt x="168943" y="142893"/>
                    <a:pt x="198137" y="127120"/>
                  </a:cubicBezTo>
                  <a:cubicBezTo>
                    <a:pt x="227329" y="111346"/>
                    <a:pt x="256186" y="95303"/>
                    <a:pt x="284572" y="78285"/>
                  </a:cubicBezTo>
                  <a:cubicBezTo>
                    <a:pt x="298563" y="69474"/>
                    <a:pt x="312823" y="60998"/>
                    <a:pt x="326545" y="51783"/>
                  </a:cubicBezTo>
                  <a:lnTo>
                    <a:pt x="347296" y="38162"/>
                  </a:lnTo>
                  <a:lnTo>
                    <a:pt x="367711" y="24070"/>
                  </a:lnTo>
                  <a:cubicBezTo>
                    <a:pt x="373765" y="19967"/>
                    <a:pt x="375346" y="11730"/>
                    <a:pt x="371243" y="5670"/>
                  </a:cubicBezTo>
                  <a:cubicBezTo>
                    <a:pt x="371209" y="5579"/>
                    <a:pt x="371142" y="5491"/>
                    <a:pt x="371074" y="5404"/>
                  </a:cubicBezTo>
                  <a:cubicBezTo>
                    <a:pt x="366736" y="-569"/>
                    <a:pt x="358462" y="-2056"/>
                    <a:pt x="352341" y="2041"/>
                  </a:cubicBezTo>
                  <a:lnTo>
                    <a:pt x="332162" y="15897"/>
                  </a:lnTo>
                  <a:lnTo>
                    <a:pt x="311747" y="29350"/>
                  </a:lnTo>
                  <a:cubicBezTo>
                    <a:pt x="298294" y="38431"/>
                    <a:pt x="284236" y="46738"/>
                    <a:pt x="270480" y="55415"/>
                  </a:cubicBezTo>
                  <a:cubicBezTo>
                    <a:pt x="242565" y="72232"/>
                    <a:pt x="214415" y="88442"/>
                    <a:pt x="185524" y="103443"/>
                  </a:cubicBezTo>
                  <a:cubicBezTo>
                    <a:pt x="156634" y="118443"/>
                    <a:pt x="127374" y="132703"/>
                    <a:pt x="97811" y="146290"/>
                  </a:cubicBezTo>
                  <a:cubicBezTo>
                    <a:pt x="68248" y="159878"/>
                    <a:pt x="38046" y="172187"/>
                    <a:pt x="7508" y="183286"/>
                  </a:cubicBezTo>
                  <a:cubicBezTo>
                    <a:pt x="580" y="185950"/>
                    <a:pt x="-2885" y="193712"/>
                    <a:pt x="-228" y="200640"/>
                  </a:cubicBezTo>
                  <a:cubicBezTo>
                    <a:pt x="2328" y="207619"/>
                    <a:pt x="10064" y="211208"/>
                    <a:pt x="17026" y="208658"/>
                  </a:cubicBezTo>
                  <a:cubicBezTo>
                    <a:pt x="17026" y="208652"/>
                    <a:pt x="17059" y="208648"/>
                    <a:pt x="17059" y="208645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9B4D7B4-038E-43E4-B6F5-5891BA84AC35}"/>
                </a:ext>
              </a:extLst>
            </p:cNvPr>
            <p:cNvSpPr/>
            <p:nvPr/>
          </p:nvSpPr>
          <p:spPr>
            <a:xfrm>
              <a:off x="3736077" y="4860042"/>
              <a:ext cx="156998" cy="451405"/>
            </a:xfrm>
            <a:custGeom>
              <a:avLst/>
              <a:gdLst>
                <a:gd name="connsiteX0" fmla="*/ 24676 w 156998"/>
                <a:gd name="connsiteY0" fmla="*/ 443267 h 451405"/>
                <a:gd name="connsiteX1" fmla="*/ 155641 w 156998"/>
                <a:gd name="connsiteY1" fmla="*/ 15631 h 451405"/>
                <a:gd name="connsiteX2" fmla="*/ 144912 w 156998"/>
                <a:gd name="connsiteY2" fmla="*/ -79 h 451405"/>
                <a:gd name="connsiteX3" fmla="*/ 144542 w 156998"/>
                <a:gd name="connsiteY3" fmla="*/ -143 h 451405"/>
                <a:gd name="connsiteX4" fmla="*/ 128937 w 156998"/>
                <a:gd name="connsiteY4" fmla="*/ 11359 h 451405"/>
                <a:gd name="connsiteX5" fmla="*/ 125 w 156998"/>
                <a:gd name="connsiteY5" fmla="*/ 431967 h 451405"/>
                <a:gd name="connsiteX6" fmla="*/ 6750 w 156998"/>
                <a:gd name="connsiteY6" fmla="*/ 449893 h 451405"/>
                <a:gd name="connsiteX7" fmla="*/ 24676 w 156998"/>
                <a:gd name="connsiteY7" fmla="*/ 443267 h 451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998" h="451405">
                  <a:moveTo>
                    <a:pt x="24676" y="443267"/>
                  </a:moveTo>
                  <a:cubicBezTo>
                    <a:pt x="87704" y="307389"/>
                    <a:pt x="131762" y="163499"/>
                    <a:pt x="155641" y="15631"/>
                  </a:cubicBezTo>
                  <a:cubicBezTo>
                    <a:pt x="157020" y="8329"/>
                    <a:pt x="152211" y="1297"/>
                    <a:pt x="144912" y="-79"/>
                  </a:cubicBezTo>
                  <a:cubicBezTo>
                    <a:pt x="144778" y="-102"/>
                    <a:pt x="144677" y="-123"/>
                    <a:pt x="144542" y="-143"/>
                  </a:cubicBezTo>
                  <a:cubicBezTo>
                    <a:pt x="137076" y="-1155"/>
                    <a:pt x="130182" y="3940"/>
                    <a:pt x="128937" y="11359"/>
                  </a:cubicBezTo>
                  <a:cubicBezTo>
                    <a:pt x="105461" y="156800"/>
                    <a:pt x="62109" y="298325"/>
                    <a:pt x="125" y="431967"/>
                  </a:cubicBezTo>
                  <a:cubicBezTo>
                    <a:pt x="-3003" y="438747"/>
                    <a:pt x="-44" y="446772"/>
                    <a:pt x="6750" y="449893"/>
                  </a:cubicBezTo>
                  <a:cubicBezTo>
                    <a:pt x="13544" y="453014"/>
                    <a:pt x="21549" y="450048"/>
                    <a:pt x="24676" y="44326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31366852-02A9-4A01-9699-DD25BF3DE232}"/>
                </a:ext>
              </a:extLst>
            </p:cNvPr>
            <p:cNvSpPr/>
            <p:nvPr/>
          </p:nvSpPr>
          <p:spPr>
            <a:xfrm>
              <a:off x="3912423" y="4676976"/>
              <a:ext cx="56709" cy="274043"/>
            </a:xfrm>
            <a:custGeom>
              <a:avLst/>
              <a:gdLst>
                <a:gd name="connsiteX0" fmla="*/ 25641 w 56709"/>
                <a:gd name="connsiteY0" fmla="*/ 262127 h 274043"/>
                <a:gd name="connsiteX1" fmla="*/ 55574 w 56709"/>
                <a:gd name="connsiteY1" fmla="*/ 13819 h 274043"/>
                <a:gd name="connsiteX2" fmla="*/ 42760 w 56709"/>
                <a:gd name="connsiteY2" fmla="*/ -256 h 274043"/>
                <a:gd name="connsiteX3" fmla="*/ 28668 w 56709"/>
                <a:gd name="connsiteY3" fmla="*/ 12574 h 274043"/>
                <a:gd name="connsiteX4" fmla="*/ -828 w 56709"/>
                <a:gd name="connsiteY4" fmla="*/ 256982 h 274043"/>
                <a:gd name="connsiteX5" fmla="*/ 9766 w 56709"/>
                <a:gd name="connsiteY5" fmla="*/ 273596 h 274043"/>
                <a:gd name="connsiteX6" fmla="*/ 25641 w 56709"/>
                <a:gd name="connsiteY6" fmla="*/ 262127 h 274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709" h="274043">
                  <a:moveTo>
                    <a:pt x="25641" y="262127"/>
                  </a:moveTo>
                  <a:cubicBezTo>
                    <a:pt x="41650" y="180195"/>
                    <a:pt x="51639" y="97207"/>
                    <a:pt x="55574" y="13819"/>
                  </a:cubicBezTo>
                  <a:cubicBezTo>
                    <a:pt x="55910" y="6389"/>
                    <a:pt x="50159" y="87"/>
                    <a:pt x="42760" y="-256"/>
                  </a:cubicBezTo>
                  <a:cubicBezTo>
                    <a:pt x="35327" y="-599"/>
                    <a:pt x="29004" y="5145"/>
                    <a:pt x="28668" y="12574"/>
                  </a:cubicBezTo>
                  <a:cubicBezTo>
                    <a:pt x="24800" y="94654"/>
                    <a:pt x="14946" y="176341"/>
                    <a:pt x="-828" y="256982"/>
                  </a:cubicBezTo>
                  <a:cubicBezTo>
                    <a:pt x="-2375" y="264475"/>
                    <a:pt x="2334" y="271840"/>
                    <a:pt x="9766" y="273596"/>
                  </a:cubicBezTo>
                  <a:cubicBezTo>
                    <a:pt x="17300" y="274807"/>
                    <a:pt x="24430" y="269674"/>
                    <a:pt x="25641" y="26212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7F41DAE-0F7D-4106-8B3C-07F84A3CB2AD}"/>
                </a:ext>
              </a:extLst>
            </p:cNvPr>
            <p:cNvSpPr/>
            <p:nvPr/>
          </p:nvSpPr>
          <p:spPr>
            <a:xfrm>
              <a:off x="3839663" y="4999629"/>
              <a:ext cx="82951" cy="210736"/>
            </a:xfrm>
            <a:custGeom>
              <a:avLst/>
              <a:gdLst>
                <a:gd name="connsiteX0" fmla="*/ 25284 w 82951"/>
                <a:gd name="connsiteY0" fmla="*/ 200866 h 210736"/>
                <a:gd name="connsiteX1" fmla="*/ 81383 w 82951"/>
                <a:gd name="connsiteY1" fmla="*/ 16830 h 210736"/>
                <a:gd name="connsiteX2" fmla="*/ 71797 w 82951"/>
                <a:gd name="connsiteY2" fmla="*/ 13 h 210736"/>
                <a:gd name="connsiteX3" fmla="*/ 55250 w 82951"/>
                <a:gd name="connsiteY3" fmla="*/ 10708 h 210736"/>
                <a:gd name="connsiteX4" fmla="*/ -109 w 82951"/>
                <a:gd name="connsiteY4" fmla="*/ 191718 h 210736"/>
                <a:gd name="connsiteX5" fmla="*/ 7492 w 82951"/>
                <a:gd name="connsiteY5" fmla="*/ 209745 h 210736"/>
                <a:gd name="connsiteX6" fmla="*/ 25284 w 82951"/>
                <a:gd name="connsiteY6" fmla="*/ 200866 h 210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951" h="210736">
                  <a:moveTo>
                    <a:pt x="25284" y="200866"/>
                  </a:moveTo>
                  <a:cubicBezTo>
                    <a:pt x="47448" y="140624"/>
                    <a:pt x="66147" y="79181"/>
                    <a:pt x="81383" y="16830"/>
                  </a:cubicBezTo>
                  <a:cubicBezTo>
                    <a:pt x="83266" y="9552"/>
                    <a:pt x="79029" y="2088"/>
                    <a:pt x="71797" y="13"/>
                  </a:cubicBezTo>
                  <a:cubicBezTo>
                    <a:pt x="64297" y="-1510"/>
                    <a:pt x="56932" y="3239"/>
                    <a:pt x="55250" y="10708"/>
                  </a:cubicBezTo>
                  <a:cubicBezTo>
                    <a:pt x="40217" y="72041"/>
                    <a:pt x="21752" y="132475"/>
                    <a:pt x="-109" y="191718"/>
                  </a:cubicBezTo>
                  <a:cubicBezTo>
                    <a:pt x="-2967" y="198795"/>
                    <a:pt x="429" y="206843"/>
                    <a:pt x="7492" y="209745"/>
                  </a:cubicBezTo>
                  <a:cubicBezTo>
                    <a:pt x="14858" y="212187"/>
                    <a:pt x="22795" y="208218"/>
                    <a:pt x="25284" y="200866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6A36AF4A-02F3-43B7-B003-992B4DC604CB}"/>
                </a:ext>
              </a:extLst>
            </p:cNvPr>
            <p:cNvSpPr/>
            <p:nvPr/>
          </p:nvSpPr>
          <p:spPr>
            <a:xfrm>
              <a:off x="3299270" y="5762311"/>
              <a:ext cx="207098" cy="191788"/>
            </a:xfrm>
            <a:custGeom>
              <a:avLst/>
              <a:gdLst>
                <a:gd name="connsiteX0" fmla="*/ 21369 w 207098"/>
                <a:gd name="connsiteY0" fmla="*/ 188120 h 191788"/>
                <a:gd name="connsiteX1" fmla="*/ 202312 w 207098"/>
                <a:gd name="connsiteY1" fmla="*/ 22480 h 191788"/>
                <a:gd name="connsiteX2" fmla="*/ 201707 w 207098"/>
                <a:gd name="connsiteY2" fmla="*/ 3394 h 191788"/>
                <a:gd name="connsiteX3" fmla="*/ 182637 w 207098"/>
                <a:gd name="connsiteY3" fmla="*/ 3983 h 191788"/>
                <a:gd name="connsiteX4" fmla="*/ 4385 w 207098"/>
                <a:gd name="connsiteY4" fmla="*/ 167033 h 191788"/>
                <a:gd name="connsiteX5" fmla="*/ 1560 w 207098"/>
                <a:gd name="connsiteY5" fmla="*/ 186439 h 191788"/>
                <a:gd name="connsiteX6" fmla="*/ 21067 w 207098"/>
                <a:gd name="connsiteY6" fmla="*/ 188383 h 191788"/>
                <a:gd name="connsiteX7" fmla="*/ 21369 w 207098"/>
                <a:gd name="connsiteY7" fmla="*/ 188120 h 191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7098" h="191788">
                  <a:moveTo>
                    <a:pt x="21369" y="188120"/>
                  </a:moveTo>
                  <a:cubicBezTo>
                    <a:pt x="85540" y="137261"/>
                    <a:pt x="146011" y="81909"/>
                    <a:pt x="202312" y="22480"/>
                  </a:cubicBezTo>
                  <a:cubicBezTo>
                    <a:pt x="207424" y="17049"/>
                    <a:pt x="207155" y="8503"/>
                    <a:pt x="201707" y="3394"/>
                  </a:cubicBezTo>
                  <a:cubicBezTo>
                    <a:pt x="196292" y="-1715"/>
                    <a:pt x="187749" y="-1449"/>
                    <a:pt x="182637" y="3983"/>
                  </a:cubicBezTo>
                  <a:cubicBezTo>
                    <a:pt x="127177" y="62493"/>
                    <a:pt x="67580" y="116981"/>
                    <a:pt x="4385" y="167033"/>
                  </a:cubicBezTo>
                  <a:cubicBezTo>
                    <a:pt x="-1669" y="171657"/>
                    <a:pt x="-2913" y="180277"/>
                    <a:pt x="1560" y="186439"/>
                  </a:cubicBezTo>
                  <a:cubicBezTo>
                    <a:pt x="6403" y="192361"/>
                    <a:pt x="15147" y="193229"/>
                    <a:pt x="21067" y="188383"/>
                  </a:cubicBezTo>
                  <a:cubicBezTo>
                    <a:pt x="21168" y="188295"/>
                    <a:pt x="21269" y="188208"/>
                    <a:pt x="21369" y="18812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3472EFA-424D-4255-9B24-E2679869B69B}"/>
                </a:ext>
              </a:extLst>
            </p:cNvPr>
            <p:cNvSpPr/>
            <p:nvPr/>
          </p:nvSpPr>
          <p:spPr>
            <a:xfrm>
              <a:off x="2799177" y="6105165"/>
              <a:ext cx="251632" cy="123285"/>
            </a:xfrm>
            <a:custGeom>
              <a:avLst/>
              <a:gdLst>
                <a:gd name="connsiteX0" fmla="*/ 17447 w 251632"/>
                <a:gd name="connsiteY0" fmla="*/ 122062 h 123285"/>
                <a:gd name="connsiteX1" fmla="*/ 243255 w 251632"/>
                <a:gd name="connsiteY1" fmla="*/ 25167 h 123285"/>
                <a:gd name="connsiteX2" fmla="*/ 248973 w 251632"/>
                <a:gd name="connsiteY2" fmla="*/ 6988 h 123285"/>
                <a:gd name="connsiteX3" fmla="*/ 230811 w 251632"/>
                <a:gd name="connsiteY3" fmla="*/ 1254 h 123285"/>
                <a:gd name="connsiteX4" fmla="*/ 8568 w 251632"/>
                <a:gd name="connsiteY4" fmla="*/ 96636 h 123285"/>
                <a:gd name="connsiteX5" fmla="*/ -513 w 251632"/>
                <a:gd name="connsiteY5" fmla="*/ 114091 h 123285"/>
                <a:gd name="connsiteX6" fmla="*/ 17312 w 251632"/>
                <a:gd name="connsiteY6" fmla="*/ 122112 h 123285"/>
                <a:gd name="connsiteX7" fmla="*/ 17447 w 251632"/>
                <a:gd name="connsiteY7" fmla="*/ 122062 h 12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1632" h="123285">
                  <a:moveTo>
                    <a:pt x="17447" y="122062"/>
                  </a:moveTo>
                  <a:cubicBezTo>
                    <a:pt x="94936" y="95230"/>
                    <a:pt x="170407" y="62849"/>
                    <a:pt x="243255" y="25167"/>
                  </a:cubicBezTo>
                  <a:cubicBezTo>
                    <a:pt x="249847" y="21730"/>
                    <a:pt x="252437" y="13590"/>
                    <a:pt x="248973" y="6988"/>
                  </a:cubicBezTo>
                  <a:cubicBezTo>
                    <a:pt x="245542" y="386"/>
                    <a:pt x="237403" y="-2183"/>
                    <a:pt x="230811" y="1254"/>
                  </a:cubicBezTo>
                  <a:cubicBezTo>
                    <a:pt x="159107" y="38331"/>
                    <a:pt x="84846" y="70204"/>
                    <a:pt x="8568" y="96636"/>
                  </a:cubicBezTo>
                  <a:cubicBezTo>
                    <a:pt x="1303" y="99013"/>
                    <a:pt x="-2733" y="106769"/>
                    <a:pt x="-513" y="114091"/>
                  </a:cubicBezTo>
                  <a:cubicBezTo>
                    <a:pt x="2211" y="121228"/>
                    <a:pt x="10182" y="124820"/>
                    <a:pt x="17312" y="122112"/>
                  </a:cubicBezTo>
                  <a:cubicBezTo>
                    <a:pt x="17346" y="122096"/>
                    <a:pt x="17413" y="122079"/>
                    <a:pt x="17447" y="12206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90C5352C-5F8F-4421-B780-E024468F06AE}"/>
                </a:ext>
              </a:extLst>
            </p:cNvPr>
            <p:cNvSpPr/>
            <p:nvPr/>
          </p:nvSpPr>
          <p:spPr>
            <a:xfrm>
              <a:off x="3855676" y="4979779"/>
              <a:ext cx="129942" cy="342463"/>
            </a:xfrm>
            <a:custGeom>
              <a:avLst/>
              <a:gdLst>
                <a:gd name="connsiteX0" fmla="*/ 24809 w 129942"/>
                <a:gd name="connsiteY0" fmla="*/ 334024 h 342463"/>
                <a:gd name="connsiteX1" fmla="*/ 128498 w 129942"/>
                <a:gd name="connsiteY1" fmla="*/ 16163 h 342463"/>
                <a:gd name="connsiteX2" fmla="*/ 118240 w 129942"/>
                <a:gd name="connsiteY2" fmla="*/ 53 h 342463"/>
                <a:gd name="connsiteX3" fmla="*/ 102130 w 129942"/>
                <a:gd name="connsiteY3" fmla="*/ 10311 h 342463"/>
                <a:gd name="connsiteX4" fmla="*/ -12 w 129942"/>
                <a:gd name="connsiteY4" fmla="*/ 323328 h 342463"/>
                <a:gd name="connsiteX5" fmla="*/ 7051 w 129942"/>
                <a:gd name="connsiteY5" fmla="*/ 341086 h 342463"/>
                <a:gd name="connsiteX6" fmla="*/ 24809 w 129942"/>
                <a:gd name="connsiteY6" fmla="*/ 334024 h 342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9942" h="342463">
                  <a:moveTo>
                    <a:pt x="24809" y="334024"/>
                  </a:moveTo>
                  <a:cubicBezTo>
                    <a:pt x="69440" y="231616"/>
                    <a:pt x="104148" y="125180"/>
                    <a:pt x="128498" y="16163"/>
                  </a:cubicBezTo>
                  <a:cubicBezTo>
                    <a:pt x="130112" y="8882"/>
                    <a:pt x="125505" y="1668"/>
                    <a:pt x="118240" y="53"/>
                  </a:cubicBezTo>
                  <a:cubicBezTo>
                    <a:pt x="110976" y="-1564"/>
                    <a:pt x="103744" y="3030"/>
                    <a:pt x="102130" y="10311"/>
                  </a:cubicBezTo>
                  <a:cubicBezTo>
                    <a:pt x="78117" y="117663"/>
                    <a:pt x="43912" y="222478"/>
                    <a:pt x="-12" y="323328"/>
                  </a:cubicBezTo>
                  <a:cubicBezTo>
                    <a:pt x="-2971" y="330183"/>
                    <a:pt x="190" y="338134"/>
                    <a:pt x="7051" y="341086"/>
                  </a:cubicBezTo>
                  <a:cubicBezTo>
                    <a:pt x="13912" y="344039"/>
                    <a:pt x="21850" y="340878"/>
                    <a:pt x="24809" y="33402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5F7ABBD6-4E68-47EB-A9C8-5525D058BB69}"/>
                </a:ext>
              </a:extLst>
            </p:cNvPr>
            <p:cNvSpPr/>
            <p:nvPr/>
          </p:nvSpPr>
          <p:spPr>
            <a:xfrm>
              <a:off x="3973683" y="4780741"/>
              <a:ext cx="44546" cy="151207"/>
            </a:xfrm>
            <a:custGeom>
              <a:avLst/>
              <a:gdLst>
                <a:gd name="connsiteX0" fmla="*/ 25727 w 44546"/>
                <a:gd name="connsiteY0" fmla="*/ 139764 h 151207"/>
                <a:gd name="connsiteX1" fmla="*/ 43351 w 44546"/>
                <a:gd name="connsiteY1" fmla="*/ 14651 h 151207"/>
                <a:gd name="connsiteX2" fmla="*/ 31310 w 44546"/>
                <a:gd name="connsiteY2" fmla="*/ -198 h 151207"/>
                <a:gd name="connsiteX3" fmla="*/ 16445 w 44546"/>
                <a:gd name="connsiteY3" fmla="*/ 11859 h 151207"/>
                <a:gd name="connsiteX4" fmla="*/ -910 w 44546"/>
                <a:gd name="connsiteY4" fmla="*/ 135055 h 151207"/>
                <a:gd name="connsiteX5" fmla="*/ 10054 w 44546"/>
                <a:gd name="connsiteY5" fmla="*/ 150728 h 151207"/>
                <a:gd name="connsiteX6" fmla="*/ 25727 w 44546"/>
                <a:gd name="connsiteY6" fmla="*/ 139764 h 151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546" h="151207">
                  <a:moveTo>
                    <a:pt x="25727" y="139764"/>
                  </a:moveTo>
                  <a:cubicBezTo>
                    <a:pt x="32925" y="98261"/>
                    <a:pt x="38911" y="56523"/>
                    <a:pt x="43351" y="14651"/>
                  </a:cubicBezTo>
                  <a:cubicBezTo>
                    <a:pt x="44124" y="7222"/>
                    <a:pt x="38709" y="572"/>
                    <a:pt x="31310" y="-198"/>
                  </a:cubicBezTo>
                  <a:cubicBezTo>
                    <a:pt x="23877" y="-968"/>
                    <a:pt x="17218" y="4430"/>
                    <a:pt x="16445" y="11859"/>
                  </a:cubicBezTo>
                  <a:cubicBezTo>
                    <a:pt x="12106" y="53093"/>
                    <a:pt x="6187" y="94192"/>
                    <a:pt x="-910" y="135055"/>
                  </a:cubicBezTo>
                  <a:cubicBezTo>
                    <a:pt x="-2222" y="142411"/>
                    <a:pt x="2689" y="149426"/>
                    <a:pt x="10054" y="150728"/>
                  </a:cubicBezTo>
                  <a:cubicBezTo>
                    <a:pt x="17420" y="152029"/>
                    <a:pt x="24416" y="147119"/>
                    <a:pt x="25727" y="13976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62E0D3A9-E9CF-4822-81CD-3337EE97C9D1}"/>
                </a:ext>
              </a:extLst>
            </p:cNvPr>
            <p:cNvSpPr/>
            <p:nvPr/>
          </p:nvSpPr>
          <p:spPr>
            <a:xfrm>
              <a:off x="3529526" y="5260752"/>
              <a:ext cx="56054" cy="80738"/>
            </a:xfrm>
            <a:custGeom>
              <a:avLst/>
              <a:gdLst>
                <a:gd name="connsiteX0" fmla="*/ 23749 w 56054"/>
                <a:gd name="connsiteY0" fmla="*/ 74475 h 80738"/>
                <a:gd name="connsiteX1" fmla="*/ 39086 w 56054"/>
                <a:gd name="connsiteY1" fmla="*/ 46560 h 80738"/>
                <a:gd name="connsiteX2" fmla="*/ 53816 w 56054"/>
                <a:gd name="connsiteY2" fmla="*/ 18275 h 80738"/>
                <a:gd name="connsiteX3" fmla="*/ 47527 w 56054"/>
                <a:gd name="connsiteY3" fmla="*/ 1681 h 80738"/>
                <a:gd name="connsiteX4" fmla="*/ 47494 w 56054"/>
                <a:gd name="connsiteY4" fmla="*/ 1661 h 80738"/>
                <a:gd name="connsiteX5" fmla="*/ 46754 w 56054"/>
                <a:gd name="connsiteY5" fmla="*/ 1291 h 80738"/>
                <a:gd name="connsiteX6" fmla="*/ 29702 w 56054"/>
                <a:gd name="connsiteY6" fmla="*/ 6134 h 80738"/>
                <a:gd name="connsiteX7" fmla="*/ 15206 w 56054"/>
                <a:gd name="connsiteY7" fmla="*/ 33881 h 80738"/>
                <a:gd name="connsiteX8" fmla="*/ 173 w 56054"/>
                <a:gd name="connsiteY8" fmla="*/ 61325 h 80738"/>
                <a:gd name="connsiteX9" fmla="*/ 5722 w 56054"/>
                <a:gd name="connsiteY9" fmla="*/ 78141 h 80738"/>
                <a:gd name="connsiteX10" fmla="*/ 6462 w 56054"/>
                <a:gd name="connsiteY10" fmla="*/ 78578 h 80738"/>
                <a:gd name="connsiteX11" fmla="*/ 23682 w 56054"/>
                <a:gd name="connsiteY11" fmla="*/ 74563 h 80738"/>
                <a:gd name="connsiteX12" fmla="*/ 23749 w 56054"/>
                <a:gd name="connsiteY12" fmla="*/ 74475 h 80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6054" h="80738">
                  <a:moveTo>
                    <a:pt x="23749" y="74475"/>
                  </a:moveTo>
                  <a:cubicBezTo>
                    <a:pt x="28962" y="65226"/>
                    <a:pt x="34242" y="55977"/>
                    <a:pt x="39086" y="46560"/>
                  </a:cubicBezTo>
                  <a:cubicBezTo>
                    <a:pt x="43929" y="37143"/>
                    <a:pt x="49176" y="27860"/>
                    <a:pt x="53816" y="18275"/>
                  </a:cubicBezTo>
                  <a:cubicBezTo>
                    <a:pt x="56675" y="11959"/>
                    <a:pt x="53850" y="4529"/>
                    <a:pt x="47527" y="1681"/>
                  </a:cubicBezTo>
                  <a:cubicBezTo>
                    <a:pt x="47527" y="1674"/>
                    <a:pt x="47494" y="1667"/>
                    <a:pt x="47494" y="1661"/>
                  </a:cubicBezTo>
                  <a:lnTo>
                    <a:pt x="46754" y="1291"/>
                  </a:lnTo>
                  <a:cubicBezTo>
                    <a:pt x="40700" y="-2035"/>
                    <a:pt x="33099" y="124"/>
                    <a:pt x="29702" y="6134"/>
                  </a:cubicBezTo>
                  <a:cubicBezTo>
                    <a:pt x="25162" y="15551"/>
                    <a:pt x="20016" y="24632"/>
                    <a:pt x="15206" y="33881"/>
                  </a:cubicBezTo>
                  <a:cubicBezTo>
                    <a:pt x="10397" y="43130"/>
                    <a:pt x="5117" y="52244"/>
                    <a:pt x="173" y="61325"/>
                  </a:cubicBezTo>
                  <a:cubicBezTo>
                    <a:pt x="-2854" y="67506"/>
                    <a:pt x="-399" y="74969"/>
                    <a:pt x="5722" y="78141"/>
                  </a:cubicBezTo>
                  <a:lnTo>
                    <a:pt x="6462" y="78578"/>
                  </a:lnTo>
                  <a:cubicBezTo>
                    <a:pt x="12314" y="82227"/>
                    <a:pt x="20050" y="80431"/>
                    <a:pt x="23682" y="74563"/>
                  </a:cubicBezTo>
                  <a:cubicBezTo>
                    <a:pt x="23716" y="74535"/>
                    <a:pt x="23716" y="74505"/>
                    <a:pt x="23749" y="74475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A154B0C-151D-42DB-BFE5-0CF460DB5136}"/>
                </a:ext>
              </a:extLst>
            </p:cNvPr>
            <p:cNvSpPr/>
            <p:nvPr/>
          </p:nvSpPr>
          <p:spPr>
            <a:xfrm>
              <a:off x="3301650" y="5364153"/>
              <a:ext cx="226053" cy="283061"/>
            </a:xfrm>
            <a:custGeom>
              <a:avLst/>
              <a:gdLst>
                <a:gd name="connsiteX0" fmla="*/ 21881 w 226053"/>
                <a:gd name="connsiteY0" fmla="*/ 278642 h 283061"/>
                <a:gd name="connsiteX1" fmla="*/ 29079 w 226053"/>
                <a:gd name="connsiteY1" fmla="*/ 271310 h 283061"/>
                <a:gd name="connsiteX2" fmla="*/ 36108 w 226053"/>
                <a:gd name="connsiteY2" fmla="*/ 263810 h 283061"/>
                <a:gd name="connsiteX3" fmla="*/ 50133 w 226053"/>
                <a:gd name="connsiteY3" fmla="*/ 248776 h 283061"/>
                <a:gd name="connsiteX4" fmla="*/ 77610 w 226053"/>
                <a:gd name="connsiteY4" fmla="*/ 218137 h 283061"/>
                <a:gd name="connsiteX5" fmla="*/ 104113 w 226053"/>
                <a:gd name="connsiteY5" fmla="*/ 186691 h 283061"/>
                <a:gd name="connsiteX6" fmla="*/ 117028 w 226053"/>
                <a:gd name="connsiteY6" fmla="*/ 170715 h 283061"/>
                <a:gd name="connsiteX7" fmla="*/ 123485 w 226053"/>
                <a:gd name="connsiteY7" fmla="*/ 162711 h 283061"/>
                <a:gd name="connsiteX8" fmla="*/ 129741 w 226053"/>
                <a:gd name="connsiteY8" fmla="*/ 154572 h 283061"/>
                <a:gd name="connsiteX9" fmla="*/ 223306 w 226053"/>
                <a:gd name="connsiteY9" fmla="*/ 19470 h 283061"/>
                <a:gd name="connsiteX10" fmla="*/ 218261 w 226053"/>
                <a:gd name="connsiteY10" fmla="*/ 1867 h 283061"/>
                <a:gd name="connsiteX11" fmla="*/ 218161 w 226053"/>
                <a:gd name="connsiteY11" fmla="*/ 1813 h 283061"/>
                <a:gd name="connsiteX12" fmla="*/ 200234 w 226053"/>
                <a:gd name="connsiteY12" fmla="*/ 5412 h 283061"/>
                <a:gd name="connsiteX13" fmla="*/ 108351 w 226053"/>
                <a:gd name="connsiteY13" fmla="*/ 138058 h 283061"/>
                <a:gd name="connsiteX14" fmla="*/ 102196 w 226053"/>
                <a:gd name="connsiteY14" fmla="*/ 146063 h 283061"/>
                <a:gd name="connsiteX15" fmla="*/ 95873 w 226053"/>
                <a:gd name="connsiteY15" fmla="*/ 153933 h 283061"/>
                <a:gd name="connsiteX16" fmla="*/ 83194 w 226053"/>
                <a:gd name="connsiteY16" fmla="*/ 169639 h 283061"/>
                <a:gd name="connsiteX17" fmla="*/ 57162 w 226053"/>
                <a:gd name="connsiteY17" fmla="*/ 200514 h 283061"/>
                <a:gd name="connsiteX18" fmla="*/ 30256 w 226053"/>
                <a:gd name="connsiteY18" fmla="*/ 230581 h 283061"/>
                <a:gd name="connsiteX19" fmla="*/ 16466 w 226053"/>
                <a:gd name="connsiteY19" fmla="*/ 245346 h 283061"/>
                <a:gd name="connsiteX20" fmla="*/ 9740 w 226053"/>
                <a:gd name="connsiteY20" fmla="*/ 252711 h 283061"/>
                <a:gd name="connsiteX21" fmla="*/ 2644 w 226053"/>
                <a:gd name="connsiteY21" fmla="*/ 259942 h 283061"/>
                <a:gd name="connsiteX22" fmla="*/ 3013 w 226053"/>
                <a:gd name="connsiteY22" fmla="*/ 279029 h 283061"/>
                <a:gd name="connsiteX23" fmla="*/ 22117 w 226053"/>
                <a:gd name="connsiteY23" fmla="*/ 278642 h 283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26053" h="283061">
                  <a:moveTo>
                    <a:pt x="21881" y="278642"/>
                  </a:moveTo>
                  <a:lnTo>
                    <a:pt x="29079" y="271310"/>
                  </a:lnTo>
                  <a:lnTo>
                    <a:pt x="36108" y="263810"/>
                  </a:lnTo>
                  <a:lnTo>
                    <a:pt x="50133" y="248776"/>
                  </a:lnTo>
                  <a:cubicBezTo>
                    <a:pt x="59449" y="238687"/>
                    <a:pt x="68429" y="228328"/>
                    <a:pt x="77610" y="218137"/>
                  </a:cubicBezTo>
                  <a:cubicBezTo>
                    <a:pt x="86792" y="207947"/>
                    <a:pt x="95436" y="197319"/>
                    <a:pt x="104113" y="186691"/>
                  </a:cubicBezTo>
                  <a:lnTo>
                    <a:pt x="117028" y="170715"/>
                  </a:lnTo>
                  <a:lnTo>
                    <a:pt x="123485" y="162711"/>
                  </a:lnTo>
                  <a:lnTo>
                    <a:pt x="129741" y="154572"/>
                  </a:lnTo>
                  <a:cubicBezTo>
                    <a:pt x="163340" y="111260"/>
                    <a:pt x="194584" y="66159"/>
                    <a:pt x="223306" y="19470"/>
                  </a:cubicBezTo>
                  <a:cubicBezTo>
                    <a:pt x="226770" y="13215"/>
                    <a:pt x="224517" y="5334"/>
                    <a:pt x="218261" y="1867"/>
                  </a:cubicBezTo>
                  <a:cubicBezTo>
                    <a:pt x="218228" y="1850"/>
                    <a:pt x="218194" y="1830"/>
                    <a:pt x="218161" y="1813"/>
                  </a:cubicBezTo>
                  <a:cubicBezTo>
                    <a:pt x="212208" y="-2017"/>
                    <a:pt x="204270" y="-423"/>
                    <a:pt x="200234" y="5412"/>
                  </a:cubicBezTo>
                  <a:cubicBezTo>
                    <a:pt x="172017" y="51260"/>
                    <a:pt x="141344" y="95540"/>
                    <a:pt x="108351" y="138058"/>
                  </a:cubicBezTo>
                  <a:lnTo>
                    <a:pt x="102196" y="146063"/>
                  </a:lnTo>
                  <a:lnTo>
                    <a:pt x="95873" y="153933"/>
                  </a:lnTo>
                  <a:lnTo>
                    <a:pt x="83194" y="169639"/>
                  </a:lnTo>
                  <a:cubicBezTo>
                    <a:pt x="74684" y="180065"/>
                    <a:pt x="65805" y="190189"/>
                    <a:pt x="57162" y="200514"/>
                  </a:cubicBezTo>
                  <a:cubicBezTo>
                    <a:pt x="48518" y="210839"/>
                    <a:pt x="39337" y="220693"/>
                    <a:pt x="30256" y="230581"/>
                  </a:cubicBezTo>
                  <a:lnTo>
                    <a:pt x="16466" y="245346"/>
                  </a:lnTo>
                  <a:lnTo>
                    <a:pt x="9740" y="252711"/>
                  </a:lnTo>
                  <a:lnTo>
                    <a:pt x="2644" y="259942"/>
                  </a:lnTo>
                  <a:cubicBezTo>
                    <a:pt x="-2536" y="265320"/>
                    <a:pt x="-2334" y="273866"/>
                    <a:pt x="3013" y="279029"/>
                  </a:cubicBezTo>
                  <a:cubicBezTo>
                    <a:pt x="8395" y="284191"/>
                    <a:pt x="16937" y="284020"/>
                    <a:pt x="22117" y="27864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35C36748-22FD-4C03-8084-4BCB2FAD6C9F}"/>
                </a:ext>
              </a:extLst>
            </p:cNvPr>
            <p:cNvSpPr/>
            <p:nvPr/>
          </p:nvSpPr>
          <p:spPr>
            <a:xfrm>
              <a:off x="3464354" y="5375668"/>
              <a:ext cx="122664" cy="168603"/>
            </a:xfrm>
            <a:custGeom>
              <a:avLst/>
              <a:gdLst>
                <a:gd name="connsiteX0" fmla="*/ 22935 w 122664"/>
                <a:gd name="connsiteY0" fmla="*/ 163438 h 168603"/>
                <a:gd name="connsiteX1" fmla="*/ 119863 w 122664"/>
                <a:gd name="connsiteY1" fmla="*/ 19458 h 168603"/>
                <a:gd name="connsiteX2" fmla="*/ 114919 w 122664"/>
                <a:gd name="connsiteY2" fmla="*/ 1727 h 168603"/>
                <a:gd name="connsiteX3" fmla="*/ 114818 w 122664"/>
                <a:gd name="connsiteY3" fmla="*/ 1666 h 168603"/>
                <a:gd name="connsiteX4" fmla="*/ 114617 w 122664"/>
                <a:gd name="connsiteY4" fmla="*/ 1666 h 168603"/>
                <a:gd name="connsiteX5" fmla="*/ 96590 w 122664"/>
                <a:gd name="connsiteY5" fmla="*/ 5837 h 168603"/>
                <a:gd name="connsiteX6" fmla="*/ 1342 w 122664"/>
                <a:gd name="connsiteY6" fmla="*/ 147295 h 168603"/>
                <a:gd name="connsiteX7" fmla="*/ 4235 w 122664"/>
                <a:gd name="connsiteY7" fmla="*/ 165456 h 168603"/>
                <a:gd name="connsiteX8" fmla="*/ 4437 w 122664"/>
                <a:gd name="connsiteY8" fmla="*/ 165456 h 168603"/>
                <a:gd name="connsiteX9" fmla="*/ 22935 w 122664"/>
                <a:gd name="connsiteY9" fmla="*/ 163438 h 168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2664" h="168603">
                  <a:moveTo>
                    <a:pt x="22935" y="163438"/>
                  </a:moveTo>
                  <a:cubicBezTo>
                    <a:pt x="57980" y="117335"/>
                    <a:pt x="90334" y="69261"/>
                    <a:pt x="119863" y="19458"/>
                  </a:cubicBezTo>
                  <a:cubicBezTo>
                    <a:pt x="123395" y="13199"/>
                    <a:pt x="121175" y="5258"/>
                    <a:pt x="114919" y="1727"/>
                  </a:cubicBezTo>
                  <a:cubicBezTo>
                    <a:pt x="114886" y="1707"/>
                    <a:pt x="114852" y="1686"/>
                    <a:pt x="114818" y="1666"/>
                  </a:cubicBezTo>
                  <a:lnTo>
                    <a:pt x="114617" y="1666"/>
                  </a:lnTo>
                  <a:cubicBezTo>
                    <a:pt x="108462" y="-2084"/>
                    <a:pt x="100458" y="-227"/>
                    <a:pt x="96590" y="5837"/>
                  </a:cubicBezTo>
                  <a:cubicBezTo>
                    <a:pt x="67565" y="54765"/>
                    <a:pt x="35748" y="101995"/>
                    <a:pt x="1342" y="147295"/>
                  </a:cubicBezTo>
                  <a:cubicBezTo>
                    <a:pt x="-2862" y="153117"/>
                    <a:pt x="-1550" y="161225"/>
                    <a:pt x="4235" y="165456"/>
                  </a:cubicBezTo>
                  <a:lnTo>
                    <a:pt x="4437" y="165456"/>
                  </a:lnTo>
                  <a:cubicBezTo>
                    <a:pt x="10120" y="169973"/>
                    <a:pt x="18361" y="169072"/>
                    <a:pt x="22935" y="16343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299DED59-83E0-4AAE-A2F9-33318CBF8FC5}"/>
                </a:ext>
              </a:extLst>
            </p:cNvPr>
            <p:cNvSpPr/>
            <p:nvPr/>
          </p:nvSpPr>
          <p:spPr>
            <a:xfrm>
              <a:off x="3278230" y="5562102"/>
              <a:ext cx="177900" cy="186674"/>
            </a:xfrm>
            <a:custGeom>
              <a:avLst/>
              <a:gdLst>
                <a:gd name="connsiteX0" fmla="*/ 21120 w 177900"/>
                <a:gd name="connsiteY0" fmla="*/ 183070 h 186674"/>
                <a:gd name="connsiteX1" fmla="*/ 174013 w 177900"/>
                <a:gd name="connsiteY1" fmla="*/ 21264 h 186674"/>
                <a:gd name="connsiteX2" fmla="*/ 171727 w 177900"/>
                <a:gd name="connsiteY2" fmla="*/ 2854 h 186674"/>
                <a:gd name="connsiteX3" fmla="*/ 171626 w 177900"/>
                <a:gd name="connsiteY3" fmla="*/ 2767 h 186674"/>
                <a:gd name="connsiteX4" fmla="*/ 153027 w 177900"/>
                <a:gd name="connsiteY4" fmla="*/ 4280 h 186674"/>
                <a:gd name="connsiteX5" fmla="*/ 2824 w 177900"/>
                <a:gd name="connsiteY5" fmla="*/ 163227 h 186674"/>
                <a:gd name="connsiteX6" fmla="*/ 2454 w 177900"/>
                <a:gd name="connsiteY6" fmla="*/ 181859 h 186674"/>
                <a:gd name="connsiteX7" fmla="*/ 20952 w 177900"/>
                <a:gd name="connsiteY7" fmla="*/ 183215 h 186674"/>
                <a:gd name="connsiteX8" fmla="*/ 21120 w 177900"/>
                <a:gd name="connsiteY8" fmla="*/ 183070 h 186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7900" h="186674">
                  <a:moveTo>
                    <a:pt x="21120" y="183070"/>
                  </a:moveTo>
                  <a:cubicBezTo>
                    <a:pt x="75908" y="132864"/>
                    <a:pt x="126995" y="78789"/>
                    <a:pt x="174013" y="21264"/>
                  </a:cubicBezTo>
                  <a:cubicBezTo>
                    <a:pt x="178453" y="15554"/>
                    <a:pt x="177444" y="7310"/>
                    <a:pt x="171727" y="2854"/>
                  </a:cubicBezTo>
                  <a:cubicBezTo>
                    <a:pt x="171693" y="2824"/>
                    <a:pt x="171659" y="2797"/>
                    <a:pt x="171626" y="2767"/>
                  </a:cubicBezTo>
                  <a:cubicBezTo>
                    <a:pt x="166042" y="-1811"/>
                    <a:pt x="157803" y="-1141"/>
                    <a:pt x="153027" y="4280"/>
                  </a:cubicBezTo>
                  <a:cubicBezTo>
                    <a:pt x="106849" y="60796"/>
                    <a:pt x="56636" y="113918"/>
                    <a:pt x="2824" y="163227"/>
                  </a:cubicBezTo>
                  <a:cubicBezTo>
                    <a:pt x="-2288" y="168333"/>
                    <a:pt x="-2456" y="176555"/>
                    <a:pt x="2454" y="181859"/>
                  </a:cubicBezTo>
                  <a:cubicBezTo>
                    <a:pt x="7196" y="187341"/>
                    <a:pt x="15470" y="187950"/>
                    <a:pt x="20952" y="183215"/>
                  </a:cubicBezTo>
                  <a:cubicBezTo>
                    <a:pt x="21019" y="183168"/>
                    <a:pt x="21053" y="183121"/>
                    <a:pt x="21120" y="18307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D1250E9-170C-4C3F-A579-A6AB2BB683A0}"/>
                </a:ext>
              </a:extLst>
            </p:cNvPr>
            <p:cNvSpPr/>
            <p:nvPr/>
          </p:nvSpPr>
          <p:spPr>
            <a:xfrm>
              <a:off x="3567973" y="5439659"/>
              <a:ext cx="46180" cy="56628"/>
            </a:xfrm>
            <a:custGeom>
              <a:avLst/>
              <a:gdLst>
                <a:gd name="connsiteX0" fmla="*/ 23677 w 46180"/>
                <a:gd name="connsiteY0" fmla="*/ 50277 h 56628"/>
                <a:gd name="connsiteX1" fmla="*/ 43049 w 46180"/>
                <a:gd name="connsiteY1" fmla="*/ 20310 h 56628"/>
                <a:gd name="connsiteX2" fmla="*/ 38677 w 46180"/>
                <a:gd name="connsiteY2" fmla="*/ 1812 h 56628"/>
                <a:gd name="connsiteX3" fmla="*/ 20146 w 46180"/>
                <a:gd name="connsiteY3" fmla="*/ 5949 h 56628"/>
                <a:gd name="connsiteX4" fmla="*/ 1109 w 46180"/>
                <a:gd name="connsiteY4" fmla="*/ 35411 h 56628"/>
                <a:gd name="connsiteX5" fmla="*/ 4944 w 46180"/>
                <a:gd name="connsiteY5" fmla="*/ 54127 h 56628"/>
                <a:gd name="connsiteX6" fmla="*/ 23677 w 46180"/>
                <a:gd name="connsiteY6" fmla="*/ 50277 h 56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180" h="56628">
                  <a:moveTo>
                    <a:pt x="23677" y="50277"/>
                  </a:moveTo>
                  <a:cubicBezTo>
                    <a:pt x="30235" y="40355"/>
                    <a:pt x="36827" y="30433"/>
                    <a:pt x="43049" y="20310"/>
                  </a:cubicBezTo>
                  <a:cubicBezTo>
                    <a:pt x="46951" y="13994"/>
                    <a:pt x="45000" y="5717"/>
                    <a:pt x="38677" y="1812"/>
                  </a:cubicBezTo>
                  <a:cubicBezTo>
                    <a:pt x="32421" y="-2146"/>
                    <a:pt x="24114" y="-297"/>
                    <a:pt x="20146" y="5949"/>
                  </a:cubicBezTo>
                  <a:cubicBezTo>
                    <a:pt x="14058" y="16039"/>
                    <a:pt x="7567" y="25658"/>
                    <a:pt x="1109" y="35411"/>
                  </a:cubicBezTo>
                  <a:cubicBezTo>
                    <a:pt x="-2994" y="41643"/>
                    <a:pt x="-1278" y="50021"/>
                    <a:pt x="4944" y="54127"/>
                  </a:cubicBezTo>
                  <a:cubicBezTo>
                    <a:pt x="11199" y="58234"/>
                    <a:pt x="19574" y="56509"/>
                    <a:pt x="23677" y="5027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D41FA00E-97D1-4AD5-9387-F647F736F4D7}"/>
                </a:ext>
              </a:extLst>
            </p:cNvPr>
            <p:cNvSpPr/>
            <p:nvPr/>
          </p:nvSpPr>
          <p:spPr>
            <a:xfrm>
              <a:off x="3409789" y="5398149"/>
              <a:ext cx="295194" cy="381493"/>
            </a:xfrm>
            <a:custGeom>
              <a:avLst/>
              <a:gdLst>
                <a:gd name="connsiteX0" fmla="*/ 22140 w 295194"/>
                <a:gd name="connsiteY0" fmla="*/ 376990 h 381493"/>
                <a:gd name="connsiteX1" fmla="*/ 292175 w 295194"/>
                <a:gd name="connsiteY1" fmla="*/ 19981 h 381493"/>
                <a:gd name="connsiteX2" fmla="*/ 287500 w 295194"/>
                <a:gd name="connsiteY2" fmla="*/ 1541 h 381493"/>
                <a:gd name="connsiteX3" fmla="*/ 287164 w 295194"/>
                <a:gd name="connsiteY3" fmla="*/ 1349 h 381493"/>
                <a:gd name="connsiteX4" fmla="*/ 268599 w 295194"/>
                <a:gd name="connsiteY4" fmla="*/ 6831 h 381493"/>
                <a:gd name="connsiteX5" fmla="*/ 2902 w 295194"/>
                <a:gd name="connsiteY5" fmla="*/ 358055 h 381493"/>
                <a:gd name="connsiteX6" fmla="*/ 2701 w 295194"/>
                <a:gd name="connsiteY6" fmla="*/ 377293 h 381493"/>
                <a:gd name="connsiteX7" fmla="*/ 2701 w 295194"/>
                <a:gd name="connsiteY7" fmla="*/ 377293 h 381493"/>
                <a:gd name="connsiteX8" fmla="*/ 21972 w 295194"/>
                <a:gd name="connsiteY8" fmla="*/ 377171 h 381493"/>
                <a:gd name="connsiteX9" fmla="*/ 22140 w 295194"/>
                <a:gd name="connsiteY9" fmla="*/ 376990 h 381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194" h="381493">
                  <a:moveTo>
                    <a:pt x="22140" y="376990"/>
                  </a:moveTo>
                  <a:cubicBezTo>
                    <a:pt x="127914" y="270765"/>
                    <a:pt x="218755" y="150664"/>
                    <a:pt x="292175" y="19981"/>
                  </a:cubicBezTo>
                  <a:cubicBezTo>
                    <a:pt x="295975" y="13598"/>
                    <a:pt x="293890" y="5341"/>
                    <a:pt x="287500" y="1541"/>
                  </a:cubicBezTo>
                  <a:cubicBezTo>
                    <a:pt x="287399" y="1473"/>
                    <a:pt x="287265" y="1413"/>
                    <a:pt x="287164" y="1349"/>
                  </a:cubicBezTo>
                  <a:cubicBezTo>
                    <a:pt x="280505" y="-2186"/>
                    <a:pt x="272265" y="253"/>
                    <a:pt x="268599" y="6831"/>
                  </a:cubicBezTo>
                  <a:cubicBezTo>
                    <a:pt x="196322" y="135381"/>
                    <a:pt x="106927" y="253535"/>
                    <a:pt x="2902" y="358055"/>
                  </a:cubicBezTo>
                  <a:cubicBezTo>
                    <a:pt x="-2378" y="363345"/>
                    <a:pt x="-2479" y="371891"/>
                    <a:pt x="2701" y="377293"/>
                  </a:cubicBezTo>
                  <a:lnTo>
                    <a:pt x="2701" y="377293"/>
                  </a:lnTo>
                  <a:cubicBezTo>
                    <a:pt x="8048" y="382580"/>
                    <a:pt x="16692" y="382526"/>
                    <a:pt x="21972" y="377171"/>
                  </a:cubicBezTo>
                  <a:cubicBezTo>
                    <a:pt x="22039" y="377111"/>
                    <a:pt x="22073" y="377050"/>
                    <a:pt x="22140" y="37699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677F7510-EDD1-44AC-B9DD-C1772E5F5AB8}"/>
                </a:ext>
              </a:extLst>
            </p:cNvPr>
            <p:cNvSpPr/>
            <p:nvPr/>
          </p:nvSpPr>
          <p:spPr>
            <a:xfrm>
              <a:off x="3699844" y="5252073"/>
              <a:ext cx="139782" cy="248275"/>
            </a:xfrm>
            <a:custGeom>
              <a:avLst/>
              <a:gdLst>
                <a:gd name="connsiteX0" fmla="*/ 23813 w 139782"/>
                <a:gd name="connsiteY0" fmla="*/ 241596 h 248275"/>
                <a:gd name="connsiteX1" fmla="*/ 84755 w 139782"/>
                <a:gd name="connsiteY1" fmla="*/ 132089 h 248275"/>
                <a:gd name="connsiteX2" fmla="*/ 137625 w 139782"/>
                <a:gd name="connsiteY2" fmla="*/ 18445 h 248275"/>
                <a:gd name="connsiteX3" fmla="*/ 130327 w 139782"/>
                <a:gd name="connsiteY3" fmla="*/ 771 h 248275"/>
                <a:gd name="connsiteX4" fmla="*/ 112670 w 139782"/>
                <a:gd name="connsiteY4" fmla="*/ 8052 h 248275"/>
                <a:gd name="connsiteX5" fmla="*/ 60775 w 139782"/>
                <a:gd name="connsiteY5" fmla="*/ 119914 h 248275"/>
                <a:gd name="connsiteX6" fmla="*/ 808 w 139782"/>
                <a:gd name="connsiteY6" fmla="*/ 227538 h 248275"/>
                <a:gd name="connsiteX7" fmla="*/ 5416 w 139782"/>
                <a:gd name="connsiteY7" fmla="*/ 246069 h 248275"/>
                <a:gd name="connsiteX8" fmla="*/ 23948 w 139782"/>
                <a:gd name="connsiteY8" fmla="*/ 241462 h 24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9782" h="248275">
                  <a:moveTo>
                    <a:pt x="23813" y="241596"/>
                  </a:moveTo>
                  <a:cubicBezTo>
                    <a:pt x="45506" y="205879"/>
                    <a:pt x="65652" y="169253"/>
                    <a:pt x="84755" y="132089"/>
                  </a:cubicBezTo>
                  <a:cubicBezTo>
                    <a:pt x="103858" y="94925"/>
                    <a:pt x="121145" y="56988"/>
                    <a:pt x="137625" y="18445"/>
                  </a:cubicBezTo>
                  <a:cubicBezTo>
                    <a:pt x="140484" y="11554"/>
                    <a:pt x="137222" y="3640"/>
                    <a:pt x="130327" y="771"/>
                  </a:cubicBezTo>
                  <a:cubicBezTo>
                    <a:pt x="123466" y="-2098"/>
                    <a:pt x="115529" y="1161"/>
                    <a:pt x="112670" y="8052"/>
                  </a:cubicBezTo>
                  <a:cubicBezTo>
                    <a:pt x="96594" y="45889"/>
                    <a:pt x="79508" y="83322"/>
                    <a:pt x="60775" y="119914"/>
                  </a:cubicBezTo>
                  <a:cubicBezTo>
                    <a:pt x="42042" y="156506"/>
                    <a:pt x="22132" y="192526"/>
                    <a:pt x="808" y="227538"/>
                  </a:cubicBezTo>
                  <a:cubicBezTo>
                    <a:pt x="-3025" y="233928"/>
                    <a:pt x="-974" y="242225"/>
                    <a:pt x="5416" y="246069"/>
                  </a:cubicBezTo>
                  <a:cubicBezTo>
                    <a:pt x="11806" y="249913"/>
                    <a:pt x="20114" y="247852"/>
                    <a:pt x="23948" y="24146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C2C3CA1B-4AD5-4AFE-84B9-0C9AACF9A9B5}"/>
                </a:ext>
              </a:extLst>
            </p:cNvPr>
            <p:cNvSpPr/>
            <p:nvPr/>
          </p:nvSpPr>
          <p:spPr>
            <a:xfrm>
              <a:off x="3542223" y="5539751"/>
              <a:ext cx="142245" cy="179292"/>
            </a:xfrm>
            <a:custGeom>
              <a:avLst/>
              <a:gdLst>
                <a:gd name="connsiteX0" fmla="*/ 22823 w 142245"/>
                <a:gd name="connsiteY0" fmla="*/ 174210 h 179292"/>
                <a:gd name="connsiteX1" fmla="*/ 138855 w 142245"/>
                <a:gd name="connsiteY1" fmla="*/ 20712 h 179292"/>
                <a:gd name="connsiteX2" fmla="*/ 135122 w 142245"/>
                <a:gd name="connsiteY2" fmla="*/ 1995 h 179292"/>
                <a:gd name="connsiteX3" fmla="*/ 116389 w 142245"/>
                <a:gd name="connsiteY3" fmla="*/ 5745 h 179292"/>
                <a:gd name="connsiteX4" fmla="*/ 2038 w 142245"/>
                <a:gd name="connsiteY4" fmla="*/ 156856 h 179292"/>
                <a:gd name="connsiteX5" fmla="*/ 3687 w 142245"/>
                <a:gd name="connsiteY5" fmla="*/ 175858 h 179292"/>
                <a:gd name="connsiteX6" fmla="*/ 22689 w 142245"/>
                <a:gd name="connsiteY6" fmla="*/ 174210 h 17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245" h="179292">
                  <a:moveTo>
                    <a:pt x="22823" y="174210"/>
                  </a:moveTo>
                  <a:cubicBezTo>
                    <a:pt x="64393" y="125295"/>
                    <a:pt x="103138" y="74046"/>
                    <a:pt x="138855" y="20712"/>
                  </a:cubicBezTo>
                  <a:cubicBezTo>
                    <a:pt x="142992" y="14507"/>
                    <a:pt x="141311" y="6129"/>
                    <a:pt x="135122" y="1995"/>
                  </a:cubicBezTo>
                  <a:cubicBezTo>
                    <a:pt x="128900" y="-2138"/>
                    <a:pt x="120526" y="-460"/>
                    <a:pt x="116389" y="5745"/>
                  </a:cubicBezTo>
                  <a:cubicBezTo>
                    <a:pt x="81142" y="58236"/>
                    <a:pt x="42969" y="108688"/>
                    <a:pt x="2038" y="156856"/>
                  </a:cubicBezTo>
                  <a:cubicBezTo>
                    <a:pt x="-2737" y="162557"/>
                    <a:pt x="-2031" y="171066"/>
                    <a:pt x="3687" y="175858"/>
                  </a:cubicBezTo>
                  <a:cubicBezTo>
                    <a:pt x="9404" y="180651"/>
                    <a:pt x="17913" y="179914"/>
                    <a:pt x="22689" y="17421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4B5C609F-B6AF-4266-B479-FD98F212946B}"/>
                </a:ext>
              </a:extLst>
            </p:cNvPr>
            <p:cNvSpPr/>
            <p:nvPr/>
          </p:nvSpPr>
          <p:spPr>
            <a:xfrm>
              <a:off x="3518665" y="5542250"/>
              <a:ext cx="232040" cy="287980"/>
            </a:xfrm>
            <a:custGeom>
              <a:avLst/>
              <a:gdLst>
                <a:gd name="connsiteX0" fmla="*/ 22200 w 232040"/>
                <a:gd name="connsiteY0" fmla="*/ 283539 h 287980"/>
                <a:gd name="connsiteX1" fmla="*/ 228804 w 232040"/>
                <a:gd name="connsiteY1" fmla="*/ 20500 h 287980"/>
                <a:gd name="connsiteX2" fmla="*/ 224701 w 232040"/>
                <a:gd name="connsiteY2" fmla="*/ 1851 h 287980"/>
                <a:gd name="connsiteX3" fmla="*/ 206035 w 232040"/>
                <a:gd name="connsiteY3" fmla="*/ 5971 h 287980"/>
                <a:gd name="connsiteX4" fmla="*/ 2558 w 232040"/>
                <a:gd name="connsiteY4" fmla="*/ 264941 h 287980"/>
                <a:gd name="connsiteX5" fmla="*/ 3130 w 232040"/>
                <a:gd name="connsiteY5" fmla="*/ 284027 h 287980"/>
                <a:gd name="connsiteX6" fmla="*/ 22200 w 232040"/>
                <a:gd name="connsiteY6" fmla="*/ 283472 h 287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2040" h="287980">
                  <a:moveTo>
                    <a:pt x="22200" y="283539"/>
                  </a:moveTo>
                  <a:cubicBezTo>
                    <a:pt x="99184" y="202559"/>
                    <a:pt x="168366" y="114489"/>
                    <a:pt x="228804" y="20500"/>
                  </a:cubicBezTo>
                  <a:cubicBezTo>
                    <a:pt x="232806" y="14211"/>
                    <a:pt x="230956" y="5863"/>
                    <a:pt x="224701" y="1851"/>
                  </a:cubicBezTo>
                  <a:cubicBezTo>
                    <a:pt x="218412" y="-2162"/>
                    <a:pt x="210037" y="-315"/>
                    <a:pt x="206035" y="5971"/>
                  </a:cubicBezTo>
                  <a:cubicBezTo>
                    <a:pt x="146505" y="98500"/>
                    <a:pt x="78366" y="185208"/>
                    <a:pt x="2558" y="264941"/>
                  </a:cubicBezTo>
                  <a:cubicBezTo>
                    <a:pt x="-2554" y="270366"/>
                    <a:pt x="-2318" y="278908"/>
                    <a:pt x="3130" y="284027"/>
                  </a:cubicBezTo>
                  <a:cubicBezTo>
                    <a:pt x="8545" y="289146"/>
                    <a:pt x="17088" y="288897"/>
                    <a:pt x="22200" y="28347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C3EEC023-445C-478D-9C38-5E02EC1BBECA}"/>
                </a:ext>
              </a:extLst>
            </p:cNvPr>
            <p:cNvSpPr/>
            <p:nvPr/>
          </p:nvSpPr>
          <p:spPr>
            <a:xfrm>
              <a:off x="3763121" y="5365549"/>
              <a:ext cx="87092" cy="139232"/>
            </a:xfrm>
            <a:custGeom>
              <a:avLst/>
              <a:gdLst>
                <a:gd name="connsiteX0" fmla="*/ 24506 w 87092"/>
                <a:gd name="connsiteY0" fmla="*/ 131483 h 139232"/>
                <a:gd name="connsiteX1" fmla="*/ 40144 w 87092"/>
                <a:gd name="connsiteY1" fmla="*/ 104005 h 139232"/>
                <a:gd name="connsiteX2" fmla="*/ 55346 w 87092"/>
                <a:gd name="connsiteY2" fmla="*/ 76292 h 139232"/>
                <a:gd name="connsiteX3" fmla="*/ 70077 w 87092"/>
                <a:gd name="connsiteY3" fmla="*/ 48310 h 139232"/>
                <a:gd name="connsiteX4" fmla="*/ 84203 w 87092"/>
                <a:gd name="connsiteY4" fmla="*/ 19992 h 139232"/>
                <a:gd name="connsiteX5" fmla="*/ 78755 w 87092"/>
                <a:gd name="connsiteY5" fmla="*/ 925 h 139232"/>
                <a:gd name="connsiteX6" fmla="*/ 78553 w 87092"/>
                <a:gd name="connsiteY6" fmla="*/ 821 h 139232"/>
                <a:gd name="connsiteX7" fmla="*/ 59920 w 87092"/>
                <a:gd name="connsiteY7" fmla="*/ 8186 h 139232"/>
                <a:gd name="connsiteX8" fmla="*/ 45996 w 87092"/>
                <a:gd name="connsiteY8" fmla="*/ 36068 h 139232"/>
                <a:gd name="connsiteX9" fmla="*/ 31467 w 87092"/>
                <a:gd name="connsiteY9" fmla="*/ 63613 h 139232"/>
                <a:gd name="connsiteX10" fmla="*/ 16501 w 87092"/>
                <a:gd name="connsiteY10" fmla="*/ 90922 h 139232"/>
                <a:gd name="connsiteX11" fmla="*/ 1131 w 87092"/>
                <a:gd name="connsiteY11" fmla="*/ 117828 h 139232"/>
                <a:gd name="connsiteX12" fmla="*/ 5267 w 87092"/>
                <a:gd name="connsiteY12" fmla="*/ 137335 h 139232"/>
                <a:gd name="connsiteX13" fmla="*/ 24506 w 87092"/>
                <a:gd name="connsiteY13" fmla="*/ 131483 h 139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7092" h="139232">
                  <a:moveTo>
                    <a:pt x="24506" y="131483"/>
                  </a:moveTo>
                  <a:cubicBezTo>
                    <a:pt x="29954" y="122470"/>
                    <a:pt x="34932" y="113153"/>
                    <a:pt x="40144" y="104005"/>
                  </a:cubicBezTo>
                  <a:cubicBezTo>
                    <a:pt x="45358" y="94857"/>
                    <a:pt x="50470" y="85642"/>
                    <a:pt x="55346" y="76292"/>
                  </a:cubicBezTo>
                  <a:lnTo>
                    <a:pt x="70077" y="48310"/>
                  </a:lnTo>
                  <a:lnTo>
                    <a:pt x="84203" y="19992"/>
                  </a:lnTo>
                  <a:cubicBezTo>
                    <a:pt x="87970" y="13218"/>
                    <a:pt x="85514" y="4682"/>
                    <a:pt x="78755" y="925"/>
                  </a:cubicBezTo>
                  <a:cubicBezTo>
                    <a:pt x="78687" y="888"/>
                    <a:pt x="78620" y="855"/>
                    <a:pt x="78553" y="821"/>
                  </a:cubicBezTo>
                  <a:cubicBezTo>
                    <a:pt x="71355" y="-2139"/>
                    <a:pt x="63149" y="1117"/>
                    <a:pt x="59920" y="8186"/>
                  </a:cubicBezTo>
                  <a:lnTo>
                    <a:pt x="45996" y="36068"/>
                  </a:lnTo>
                  <a:lnTo>
                    <a:pt x="31467" y="63613"/>
                  </a:lnTo>
                  <a:cubicBezTo>
                    <a:pt x="26691" y="72828"/>
                    <a:pt x="21613" y="81875"/>
                    <a:pt x="16501" y="90922"/>
                  </a:cubicBezTo>
                  <a:cubicBezTo>
                    <a:pt x="11389" y="99970"/>
                    <a:pt x="6411" y="109084"/>
                    <a:pt x="1131" y="117828"/>
                  </a:cubicBezTo>
                  <a:cubicBezTo>
                    <a:pt x="-3073" y="124363"/>
                    <a:pt x="-1223" y="133071"/>
                    <a:pt x="5267" y="137335"/>
                  </a:cubicBezTo>
                  <a:cubicBezTo>
                    <a:pt x="12196" y="140947"/>
                    <a:pt x="20772" y="138348"/>
                    <a:pt x="24506" y="13148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8A468BCC-5877-430A-948D-9875FD71274D}"/>
                </a:ext>
              </a:extLst>
            </p:cNvPr>
            <p:cNvSpPr/>
            <p:nvPr/>
          </p:nvSpPr>
          <p:spPr>
            <a:xfrm>
              <a:off x="3357688" y="5869193"/>
              <a:ext cx="121994" cy="110541"/>
            </a:xfrm>
            <a:custGeom>
              <a:avLst/>
              <a:gdLst>
                <a:gd name="connsiteX0" fmla="*/ 21774 w 121994"/>
                <a:gd name="connsiteY0" fmla="*/ 106698 h 110541"/>
                <a:gd name="connsiteX1" fmla="*/ 116685 w 121994"/>
                <a:gd name="connsiteY1" fmla="*/ 22987 h 110541"/>
                <a:gd name="connsiteX2" fmla="*/ 117156 w 121994"/>
                <a:gd name="connsiteY2" fmla="*/ 3918 h 110541"/>
                <a:gd name="connsiteX3" fmla="*/ 98087 w 121994"/>
                <a:gd name="connsiteY3" fmla="*/ 3447 h 110541"/>
                <a:gd name="connsiteX4" fmla="*/ 4588 w 121994"/>
                <a:gd name="connsiteY4" fmla="*/ 85880 h 110541"/>
                <a:gd name="connsiteX5" fmla="*/ 1629 w 121994"/>
                <a:gd name="connsiteY5" fmla="*/ 105555 h 110541"/>
                <a:gd name="connsiteX6" fmla="*/ 1629 w 121994"/>
                <a:gd name="connsiteY6" fmla="*/ 105555 h 110541"/>
                <a:gd name="connsiteX7" fmla="*/ 21774 w 121994"/>
                <a:gd name="connsiteY7" fmla="*/ 106698 h 110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94" h="110541">
                  <a:moveTo>
                    <a:pt x="21774" y="106698"/>
                  </a:moveTo>
                  <a:cubicBezTo>
                    <a:pt x="54297" y="79792"/>
                    <a:pt x="85945" y="51888"/>
                    <a:pt x="116685" y="22987"/>
                  </a:cubicBezTo>
                  <a:cubicBezTo>
                    <a:pt x="122067" y="17851"/>
                    <a:pt x="122302" y="9312"/>
                    <a:pt x="117156" y="3918"/>
                  </a:cubicBezTo>
                  <a:cubicBezTo>
                    <a:pt x="112011" y="-1477"/>
                    <a:pt x="103468" y="-1689"/>
                    <a:pt x="98087" y="3447"/>
                  </a:cubicBezTo>
                  <a:cubicBezTo>
                    <a:pt x="67851" y="31967"/>
                    <a:pt x="36707" y="59445"/>
                    <a:pt x="4588" y="85880"/>
                  </a:cubicBezTo>
                  <a:cubicBezTo>
                    <a:pt x="-1667" y="90504"/>
                    <a:pt x="-2979" y="99302"/>
                    <a:pt x="1629" y="105555"/>
                  </a:cubicBezTo>
                  <a:lnTo>
                    <a:pt x="1629" y="105555"/>
                  </a:lnTo>
                  <a:cubicBezTo>
                    <a:pt x="6909" y="111366"/>
                    <a:pt x="15855" y="111874"/>
                    <a:pt x="21774" y="10669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7F673703-2A53-4DCB-9B83-741AB3DA047B}"/>
                </a:ext>
              </a:extLst>
            </p:cNvPr>
            <p:cNvSpPr/>
            <p:nvPr/>
          </p:nvSpPr>
          <p:spPr>
            <a:xfrm>
              <a:off x="2855362" y="6192897"/>
              <a:ext cx="144270" cy="75392"/>
            </a:xfrm>
            <a:custGeom>
              <a:avLst/>
              <a:gdLst>
                <a:gd name="connsiteX0" fmla="*/ 18101 w 144270"/>
                <a:gd name="connsiteY0" fmla="*/ 73949 h 75392"/>
                <a:gd name="connsiteX1" fmla="*/ 135310 w 144270"/>
                <a:gd name="connsiteY1" fmla="*/ 25450 h 75392"/>
                <a:gd name="connsiteX2" fmla="*/ 141902 w 144270"/>
                <a:gd name="connsiteY2" fmla="*/ 7575 h 75392"/>
                <a:gd name="connsiteX3" fmla="*/ 124043 w 144270"/>
                <a:gd name="connsiteY3" fmla="*/ 966 h 75392"/>
                <a:gd name="connsiteX4" fmla="*/ 8650 w 144270"/>
                <a:gd name="connsiteY4" fmla="*/ 48724 h 75392"/>
                <a:gd name="connsiteX5" fmla="*/ -498 w 144270"/>
                <a:gd name="connsiteY5" fmla="*/ 66516 h 75392"/>
                <a:gd name="connsiteX6" fmla="*/ 17966 w 144270"/>
                <a:gd name="connsiteY6" fmla="*/ 74006 h 75392"/>
                <a:gd name="connsiteX7" fmla="*/ 18101 w 144270"/>
                <a:gd name="connsiteY7" fmla="*/ 73949 h 75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270" h="75392">
                  <a:moveTo>
                    <a:pt x="18101" y="73949"/>
                  </a:moveTo>
                  <a:cubicBezTo>
                    <a:pt x="57821" y="59419"/>
                    <a:pt x="96767" y="42838"/>
                    <a:pt x="135310" y="25450"/>
                  </a:cubicBezTo>
                  <a:cubicBezTo>
                    <a:pt x="142070" y="22339"/>
                    <a:pt x="145029" y="14335"/>
                    <a:pt x="141902" y="7575"/>
                  </a:cubicBezTo>
                  <a:cubicBezTo>
                    <a:pt x="138808" y="815"/>
                    <a:pt x="130803" y="-2145"/>
                    <a:pt x="124043" y="966"/>
                  </a:cubicBezTo>
                  <a:cubicBezTo>
                    <a:pt x="86105" y="18085"/>
                    <a:pt x="47764" y="34397"/>
                    <a:pt x="8650" y="48724"/>
                  </a:cubicBezTo>
                  <a:cubicBezTo>
                    <a:pt x="1284" y="51206"/>
                    <a:pt x="-2751" y="59086"/>
                    <a:pt x="-498" y="66516"/>
                  </a:cubicBezTo>
                  <a:cubicBezTo>
                    <a:pt x="2529" y="73683"/>
                    <a:pt x="10802" y="77036"/>
                    <a:pt x="17966" y="74006"/>
                  </a:cubicBezTo>
                  <a:cubicBezTo>
                    <a:pt x="18000" y="73985"/>
                    <a:pt x="18067" y="73969"/>
                    <a:pt x="18101" y="73949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7E8389A-CFAC-48A9-96CE-1D66912819B4}"/>
                </a:ext>
              </a:extLst>
            </p:cNvPr>
            <p:cNvSpPr/>
            <p:nvPr/>
          </p:nvSpPr>
          <p:spPr>
            <a:xfrm>
              <a:off x="2874344" y="5751821"/>
              <a:ext cx="308219" cy="201620"/>
            </a:xfrm>
            <a:custGeom>
              <a:avLst/>
              <a:gdLst>
                <a:gd name="connsiteX0" fmla="*/ 17548 w 308219"/>
                <a:gd name="connsiteY0" fmla="*/ 200293 h 201620"/>
                <a:gd name="connsiteX1" fmla="*/ 164724 w 308219"/>
                <a:gd name="connsiteY1" fmla="*/ 119978 h 201620"/>
                <a:gd name="connsiteX2" fmla="*/ 302012 w 308219"/>
                <a:gd name="connsiteY2" fmla="*/ 23789 h 201620"/>
                <a:gd name="connsiteX3" fmla="*/ 304164 w 308219"/>
                <a:gd name="connsiteY3" fmla="*/ 4821 h 201620"/>
                <a:gd name="connsiteX4" fmla="*/ 285196 w 308219"/>
                <a:gd name="connsiteY4" fmla="*/ 2668 h 201620"/>
                <a:gd name="connsiteX5" fmla="*/ 150397 w 308219"/>
                <a:gd name="connsiteY5" fmla="*/ 97142 h 201620"/>
                <a:gd name="connsiteX6" fmla="*/ 5777 w 308219"/>
                <a:gd name="connsiteY6" fmla="*/ 175976 h 201620"/>
                <a:gd name="connsiteX7" fmla="*/ 329 w 308219"/>
                <a:gd name="connsiteY7" fmla="*/ 193364 h 201620"/>
                <a:gd name="connsiteX8" fmla="*/ 17548 w 308219"/>
                <a:gd name="connsiteY8" fmla="*/ 200299 h 201620"/>
                <a:gd name="connsiteX9" fmla="*/ 17548 w 308219"/>
                <a:gd name="connsiteY9" fmla="*/ 200293 h 201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219" h="201620">
                  <a:moveTo>
                    <a:pt x="17548" y="200293"/>
                  </a:moveTo>
                  <a:cubicBezTo>
                    <a:pt x="68098" y="176363"/>
                    <a:pt x="117235" y="149548"/>
                    <a:pt x="164724" y="119978"/>
                  </a:cubicBezTo>
                  <a:cubicBezTo>
                    <a:pt x="212280" y="90543"/>
                    <a:pt x="258121" y="58427"/>
                    <a:pt x="302012" y="23789"/>
                  </a:cubicBezTo>
                  <a:cubicBezTo>
                    <a:pt x="307830" y="19145"/>
                    <a:pt x="308805" y="10653"/>
                    <a:pt x="304164" y="4821"/>
                  </a:cubicBezTo>
                  <a:cubicBezTo>
                    <a:pt x="299523" y="-1011"/>
                    <a:pt x="291014" y="-1976"/>
                    <a:pt x="285196" y="2668"/>
                  </a:cubicBezTo>
                  <a:cubicBezTo>
                    <a:pt x="242079" y="36674"/>
                    <a:pt x="197079" y="68218"/>
                    <a:pt x="150397" y="97142"/>
                  </a:cubicBezTo>
                  <a:cubicBezTo>
                    <a:pt x="103748" y="126156"/>
                    <a:pt x="55452" y="152477"/>
                    <a:pt x="5777" y="175976"/>
                  </a:cubicBezTo>
                  <a:cubicBezTo>
                    <a:pt x="-512" y="179299"/>
                    <a:pt x="-2934" y="187055"/>
                    <a:pt x="329" y="193364"/>
                  </a:cubicBezTo>
                  <a:cubicBezTo>
                    <a:pt x="3154" y="200030"/>
                    <a:pt x="10856" y="203134"/>
                    <a:pt x="17548" y="200299"/>
                  </a:cubicBezTo>
                  <a:cubicBezTo>
                    <a:pt x="17548" y="200296"/>
                    <a:pt x="17548" y="200296"/>
                    <a:pt x="17548" y="20029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6E3F2D01-6534-471A-B61E-BD5CB6E52311}"/>
                </a:ext>
              </a:extLst>
            </p:cNvPr>
            <p:cNvSpPr/>
            <p:nvPr/>
          </p:nvSpPr>
          <p:spPr>
            <a:xfrm>
              <a:off x="3063373" y="5784574"/>
              <a:ext cx="169078" cy="128945"/>
            </a:xfrm>
            <a:custGeom>
              <a:avLst/>
              <a:gdLst>
                <a:gd name="connsiteX0" fmla="*/ 19283 w 169078"/>
                <a:gd name="connsiteY0" fmla="*/ 126844 h 128945"/>
                <a:gd name="connsiteX1" fmla="*/ 163264 w 169078"/>
                <a:gd name="connsiteY1" fmla="*/ 23323 h 128945"/>
                <a:gd name="connsiteX2" fmla="*/ 164946 w 169078"/>
                <a:gd name="connsiteY2" fmla="*/ 4994 h 128945"/>
                <a:gd name="connsiteX3" fmla="*/ 164777 w 169078"/>
                <a:gd name="connsiteY3" fmla="*/ 4792 h 128945"/>
                <a:gd name="connsiteX4" fmla="*/ 146212 w 169078"/>
                <a:gd name="connsiteY4" fmla="*/ 2404 h 128945"/>
                <a:gd name="connsiteX5" fmla="*/ 4754 w 169078"/>
                <a:gd name="connsiteY5" fmla="*/ 104109 h 128945"/>
                <a:gd name="connsiteX6" fmla="*/ 1055 w 169078"/>
                <a:gd name="connsiteY6" fmla="*/ 122270 h 128945"/>
                <a:gd name="connsiteX7" fmla="*/ 19283 w 169078"/>
                <a:gd name="connsiteY7" fmla="*/ 126844 h 128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078" h="128945">
                  <a:moveTo>
                    <a:pt x="19283" y="126844"/>
                  </a:moveTo>
                  <a:cubicBezTo>
                    <a:pt x="69194" y="95102"/>
                    <a:pt x="117288" y="60538"/>
                    <a:pt x="163264" y="23323"/>
                  </a:cubicBezTo>
                  <a:cubicBezTo>
                    <a:pt x="168780" y="18726"/>
                    <a:pt x="169553" y="10520"/>
                    <a:pt x="164946" y="4994"/>
                  </a:cubicBezTo>
                  <a:cubicBezTo>
                    <a:pt x="164878" y="4926"/>
                    <a:pt x="164845" y="4859"/>
                    <a:pt x="164777" y="4792"/>
                  </a:cubicBezTo>
                  <a:cubicBezTo>
                    <a:pt x="160237" y="-885"/>
                    <a:pt x="152031" y="-1941"/>
                    <a:pt x="146212" y="2404"/>
                  </a:cubicBezTo>
                  <a:cubicBezTo>
                    <a:pt x="101044" y="38969"/>
                    <a:pt x="53790" y="72925"/>
                    <a:pt x="4754" y="104109"/>
                  </a:cubicBezTo>
                  <a:cubicBezTo>
                    <a:pt x="-1266" y="108104"/>
                    <a:pt x="-2948" y="116233"/>
                    <a:pt x="1055" y="122270"/>
                  </a:cubicBezTo>
                  <a:cubicBezTo>
                    <a:pt x="4889" y="128489"/>
                    <a:pt x="12960" y="130520"/>
                    <a:pt x="19283" y="12684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093275C3-FD99-432A-A3C7-0F873B8026E0}"/>
                </a:ext>
              </a:extLst>
            </p:cNvPr>
            <p:cNvSpPr/>
            <p:nvPr/>
          </p:nvSpPr>
          <p:spPr>
            <a:xfrm>
              <a:off x="2821020" y="5911667"/>
              <a:ext cx="228497" cy="127160"/>
            </a:xfrm>
            <a:custGeom>
              <a:avLst/>
              <a:gdLst>
                <a:gd name="connsiteX0" fmla="*/ 16859 w 228497"/>
                <a:gd name="connsiteY0" fmla="*/ 126040 h 127160"/>
                <a:gd name="connsiteX1" fmla="*/ 69359 w 228497"/>
                <a:gd name="connsiteY1" fmla="*/ 103574 h 127160"/>
                <a:gd name="connsiteX2" fmla="*/ 120884 w 228497"/>
                <a:gd name="connsiteY2" fmla="*/ 79056 h 127160"/>
                <a:gd name="connsiteX3" fmla="*/ 221143 w 228497"/>
                <a:gd name="connsiteY3" fmla="*/ 24504 h 127160"/>
                <a:gd name="connsiteX4" fmla="*/ 225448 w 228497"/>
                <a:gd name="connsiteY4" fmla="*/ 6561 h 127160"/>
                <a:gd name="connsiteX5" fmla="*/ 225347 w 228497"/>
                <a:gd name="connsiteY5" fmla="*/ 6376 h 127160"/>
                <a:gd name="connsiteX6" fmla="*/ 207320 w 228497"/>
                <a:gd name="connsiteY6" fmla="*/ 1365 h 127160"/>
                <a:gd name="connsiteX7" fmla="*/ 108810 w 228497"/>
                <a:gd name="connsiteY7" fmla="*/ 54941 h 127160"/>
                <a:gd name="connsiteX8" fmla="*/ 58193 w 228497"/>
                <a:gd name="connsiteY8" fmla="*/ 79056 h 127160"/>
                <a:gd name="connsiteX9" fmla="*/ 6635 w 228497"/>
                <a:gd name="connsiteY9" fmla="*/ 101085 h 127160"/>
                <a:gd name="connsiteX10" fmla="*/ -92 w 228497"/>
                <a:gd name="connsiteY10" fmla="*/ 118439 h 127160"/>
                <a:gd name="connsiteX11" fmla="*/ -92 w 228497"/>
                <a:gd name="connsiteY11" fmla="*/ 118439 h 127160"/>
                <a:gd name="connsiteX12" fmla="*/ 16859 w 228497"/>
                <a:gd name="connsiteY12" fmla="*/ 126040 h 127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8497" h="127160">
                  <a:moveTo>
                    <a:pt x="16859" y="126040"/>
                  </a:moveTo>
                  <a:cubicBezTo>
                    <a:pt x="34583" y="119045"/>
                    <a:pt x="51904" y="111175"/>
                    <a:pt x="69359" y="103574"/>
                  </a:cubicBezTo>
                  <a:cubicBezTo>
                    <a:pt x="86814" y="95973"/>
                    <a:pt x="103934" y="87666"/>
                    <a:pt x="120884" y="79056"/>
                  </a:cubicBezTo>
                  <a:cubicBezTo>
                    <a:pt x="154954" y="62239"/>
                    <a:pt x="188485" y="44044"/>
                    <a:pt x="221143" y="24504"/>
                  </a:cubicBezTo>
                  <a:cubicBezTo>
                    <a:pt x="227297" y="20744"/>
                    <a:pt x="229214" y="12709"/>
                    <a:pt x="225448" y="6561"/>
                  </a:cubicBezTo>
                  <a:cubicBezTo>
                    <a:pt x="225414" y="6500"/>
                    <a:pt x="225380" y="6437"/>
                    <a:pt x="225347" y="6376"/>
                  </a:cubicBezTo>
                  <a:cubicBezTo>
                    <a:pt x="221680" y="117"/>
                    <a:pt x="213710" y="-2103"/>
                    <a:pt x="207320" y="1365"/>
                  </a:cubicBezTo>
                  <a:cubicBezTo>
                    <a:pt x="175234" y="20569"/>
                    <a:pt x="142308" y="38361"/>
                    <a:pt x="108810" y="54941"/>
                  </a:cubicBezTo>
                  <a:cubicBezTo>
                    <a:pt x="91994" y="63417"/>
                    <a:pt x="75178" y="71152"/>
                    <a:pt x="58193" y="79056"/>
                  </a:cubicBezTo>
                  <a:cubicBezTo>
                    <a:pt x="41209" y="86959"/>
                    <a:pt x="24023" y="94258"/>
                    <a:pt x="6635" y="101085"/>
                  </a:cubicBezTo>
                  <a:cubicBezTo>
                    <a:pt x="110" y="104136"/>
                    <a:pt x="-2849" y="111787"/>
                    <a:pt x="-92" y="118439"/>
                  </a:cubicBezTo>
                  <a:lnTo>
                    <a:pt x="-92" y="118439"/>
                  </a:lnTo>
                  <a:cubicBezTo>
                    <a:pt x="2498" y="125200"/>
                    <a:pt x="10065" y="128593"/>
                    <a:pt x="16859" y="12604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A6E443FC-4EE3-44A5-A0EB-847604871980}"/>
                </a:ext>
              </a:extLst>
            </p:cNvPr>
            <p:cNvSpPr/>
            <p:nvPr/>
          </p:nvSpPr>
          <p:spPr>
            <a:xfrm>
              <a:off x="3179902" y="5854469"/>
              <a:ext cx="55270" cy="48079"/>
            </a:xfrm>
            <a:custGeom>
              <a:avLst/>
              <a:gdLst>
                <a:gd name="connsiteX0" fmla="*/ 20367 w 55270"/>
                <a:gd name="connsiteY0" fmla="*/ 45177 h 48079"/>
                <a:gd name="connsiteX1" fmla="*/ 48989 w 55270"/>
                <a:gd name="connsiteY1" fmla="*/ 23754 h 48079"/>
                <a:gd name="connsiteX2" fmla="*/ 51376 w 55270"/>
                <a:gd name="connsiteY2" fmla="*/ 4987 h 48079"/>
                <a:gd name="connsiteX3" fmla="*/ 51376 w 55270"/>
                <a:gd name="connsiteY3" fmla="*/ 4987 h 48079"/>
                <a:gd name="connsiteX4" fmla="*/ 32475 w 55270"/>
                <a:gd name="connsiteY4" fmla="*/ 2397 h 48079"/>
                <a:gd name="connsiteX5" fmla="*/ 4358 w 55270"/>
                <a:gd name="connsiteY5" fmla="*/ 23451 h 48079"/>
                <a:gd name="connsiteX6" fmla="*/ 1500 w 55270"/>
                <a:gd name="connsiteY6" fmla="*/ 42319 h 48079"/>
                <a:gd name="connsiteX7" fmla="*/ 20367 w 55270"/>
                <a:gd name="connsiteY7" fmla="*/ 45177 h 48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5270" h="48079">
                  <a:moveTo>
                    <a:pt x="20367" y="45177"/>
                  </a:moveTo>
                  <a:cubicBezTo>
                    <a:pt x="30087" y="38283"/>
                    <a:pt x="39504" y="31018"/>
                    <a:pt x="48989" y="23754"/>
                  </a:cubicBezTo>
                  <a:cubicBezTo>
                    <a:pt x="54807" y="19210"/>
                    <a:pt x="55849" y="10839"/>
                    <a:pt x="51376" y="4987"/>
                  </a:cubicBezTo>
                  <a:lnTo>
                    <a:pt x="51376" y="4987"/>
                  </a:lnTo>
                  <a:cubicBezTo>
                    <a:pt x="46802" y="-849"/>
                    <a:pt x="38428" y="-1996"/>
                    <a:pt x="32475" y="2397"/>
                  </a:cubicBezTo>
                  <a:cubicBezTo>
                    <a:pt x="23192" y="9527"/>
                    <a:pt x="13910" y="16691"/>
                    <a:pt x="4358" y="23451"/>
                  </a:cubicBezTo>
                  <a:cubicBezTo>
                    <a:pt x="-1628" y="27870"/>
                    <a:pt x="-2907" y="36319"/>
                    <a:pt x="1500" y="42319"/>
                  </a:cubicBezTo>
                  <a:cubicBezTo>
                    <a:pt x="5905" y="48319"/>
                    <a:pt x="14381" y="49597"/>
                    <a:pt x="20367" y="4517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866955F4-F595-4B1D-8133-7706B48EB16D}"/>
                </a:ext>
              </a:extLst>
            </p:cNvPr>
            <p:cNvSpPr/>
            <p:nvPr/>
          </p:nvSpPr>
          <p:spPr>
            <a:xfrm>
              <a:off x="2936202" y="5844804"/>
              <a:ext cx="401278" cy="267129"/>
            </a:xfrm>
            <a:custGeom>
              <a:avLst/>
              <a:gdLst>
                <a:gd name="connsiteX0" fmla="*/ 17978 w 401278"/>
                <a:gd name="connsiteY0" fmla="*/ 265650 h 267129"/>
                <a:gd name="connsiteX1" fmla="*/ 395200 w 401278"/>
                <a:gd name="connsiteY1" fmla="*/ 23497 h 267129"/>
                <a:gd name="connsiteX2" fmla="*/ 397150 w 401278"/>
                <a:gd name="connsiteY2" fmla="*/ 4572 h 267129"/>
                <a:gd name="connsiteX3" fmla="*/ 396915 w 401278"/>
                <a:gd name="connsiteY3" fmla="*/ 4293 h 267129"/>
                <a:gd name="connsiteX4" fmla="*/ 377610 w 401278"/>
                <a:gd name="connsiteY4" fmla="*/ 3048 h 267129"/>
                <a:gd name="connsiteX5" fmla="*/ 6644 w 401278"/>
                <a:gd name="connsiteY5" fmla="*/ 241166 h 267129"/>
                <a:gd name="connsiteX6" fmla="*/ 153 w 401278"/>
                <a:gd name="connsiteY6" fmla="*/ 259092 h 267129"/>
                <a:gd name="connsiteX7" fmla="*/ 18079 w 401278"/>
                <a:gd name="connsiteY7" fmla="*/ 265583 h 267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1278" h="267129">
                  <a:moveTo>
                    <a:pt x="17978" y="265650"/>
                  </a:moveTo>
                  <a:cubicBezTo>
                    <a:pt x="154089" y="202388"/>
                    <a:pt x="281017" y="120927"/>
                    <a:pt x="395200" y="23497"/>
                  </a:cubicBezTo>
                  <a:cubicBezTo>
                    <a:pt x="400951" y="18808"/>
                    <a:pt x="401825" y="10336"/>
                    <a:pt x="397150" y="4572"/>
                  </a:cubicBezTo>
                  <a:cubicBezTo>
                    <a:pt x="397083" y="4477"/>
                    <a:pt x="396982" y="4383"/>
                    <a:pt x="396915" y="4293"/>
                  </a:cubicBezTo>
                  <a:cubicBezTo>
                    <a:pt x="391870" y="-1270"/>
                    <a:pt x="383327" y="-1822"/>
                    <a:pt x="377610" y="3048"/>
                  </a:cubicBezTo>
                  <a:cubicBezTo>
                    <a:pt x="265311" y="98843"/>
                    <a:pt x="140501" y="178946"/>
                    <a:pt x="6644" y="241166"/>
                  </a:cubicBezTo>
                  <a:cubicBezTo>
                    <a:pt x="-83" y="244324"/>
                    <a:pt x="-3009" y="252349"/>
                    <a:pt x="153" y="259092"/>
                  </a:cubicBezTo>
                  <a:cubicBezTo>
                    <a:pt x="3314" y="265835"/>
                    <a:pt x="11353" y="268741"/>
                    <a:pt x="18079" y="26558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D18310B0-8EAB-4C05-BD99-A1B1D82240C4}"/>
                </a:ext>
              </a:extLst>
            </p:cNvPr>
            <p:cNvSpPr/>
            <p:nvPr/>
          </p:nvSpPr>
          <p:spPr>
            <a:xfrm>
              <a:off x="3077749" y="5968487"/>
              <a:ext cx="194224" cy="134325"/>
            </a:xfrm>
            <a:custGeom>
              <a:avLst/>
              <a:gdLst>
                <a:gd name="connsiteX0" fmla="*/ 19470 w 194224"/>
                <a:gd name="connsiteY0" fmla="*/ 132113 h 134325"/>
                <a:gd name="connsiteX1" fmla="*/ 187061 w 194224"/>
                <a:gd name="connsiteY1" fmla="*/ 24321 h 134325"/>
                <a:gd name="connsiteX2" fmla="*/ 190727 w 194224"/>
                <a:gd name="connsiteY2" fmla="*/ 5171 h 134325"/>
                <a:gd name="connsiteX3" fmla="*/ 190660 w 194224"/>
                <a:gd name="connsiteY3" fmla="*/ 5050 h 134325"/>
                <a:gd name="connsiteX4" fmla="*/ 171085 w 194224"/>
                <a:gd name="connsiteY4" fmla="*/ 2595 h 134325"/>
                <a:gd name="connsiteX5" fmla="*/ 6286 w 194224"/>
                <a:gd name="connsiteY5" fmla="*/ 108672 h 134325"/>
                <a:gd name="connsiteX6" fmla="*/ 434 w 194224"/>
                <a:gd name="connsiteY6" fmla="*/ 127371 h 134325"/>
                <a:gd name="connsiteX7" fmla="*/ 434 w 194224"/>
                <a:gd name="connsiteY7" fmla="*/ 127371 h 134325"/>
                <a:gd name="connsiteX8" fmla="*/ 19470 w 194224"/>
                <a:gd name="connsiteY8" fmla="*/ 132113 h 13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4224" h="134325">
                  <a:moveTo>
                    <a:pt x="19470" y="132113"/>
                  </a:moveTo>
                  <a:cubicBezTo>
                    <a:pt x="77419" y="99517"/>
                    <a:pt x="133384" y="63523"/>
                    <a:pt x="187061" y="24321"/>
                  </a:cubicBezTo>
                  <a:cubicBezTo>
                    <a:pt x="193350" y="20050"/>
                    <a:pt x="194998" y="11477"/>
                    <a:pt x="190727" y="5171"/>
                  </a:cubicBezTo>
                  <a:cubicBezTo>
                    <a:pt x="190727" y="5131"/>
                    <a:pt x="190693" y="5090"/>
                    <a:pt x="190660" y="5050"/>
                  </a:cubicBezTo>
                  <a:cubicBezTo>
                    <a:pt x="185884" y="-943"/>
                    <a:pt x="177207" y="-2033"/>
                    <a:pt x="171085" y="2595"/>
                  </a:cubicBezTo>
                  <a:cubicBezTo>
                    <a:pt x="118283" y="41158"/>
                    <a:pt x="63260" y="76580"/>
                    <a:pt x="6286" y="108672"/>
                  </a:cubicBezTo>
                  <a:cubicBezTo>
                    <a:pt x="-474" y="112247"/>
                    <a:pt x="-3064" y="120587"/>
                    <a:pt x="434" y="127371"/>
                  </a:cubicBezTo>
                  <a:lnTo>
                    <a:pt x="434" y="127371"/>
                  </a:lnTo>
                  <a:cubicBezTo>
                    <a:pt x="4437" y="133882"/>
                    <a:pt x="12878" y="135991"/>
                    <a:pt x="19470" y="13211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EE84574F-15F2-4698-BE7F-A147598CA469}"/>
                </a:ext>
              </a:extLst>
            </p:cNvPr>
            <p:cNvSpPr/>
            <p:nvPr/>
          </p:nvSpPr>
          <p:spPr>
            <a:xfrm>
              <a:off x="3023762" y="5992863"/>
              <a:ext cx="310334" cy="202633"/>
            </a:xfrm>
            <a:custGeom>
              <a:avLst/>
              <a:gdLst>
                <a:gd name="connsiteX0" fmla="*/ 18400 w 310334"/>
                <a:gd name="connsiteY0" fmla="*/ 200933 h 202633"/>
                <a:gd name="connsiteX1" fmla="*/ 303099 w 310334"/>
                <a:gd name="connsiteY1" fmla="*/ 24396 h 202633"/>
                <a:gd name="connsiteX2" fmla="*/ 306731 w 310334"/>
                <a:gd name="connsiteY2" fmla="*/ 4798 h 202633"/>
                <a:gd name="connsiteX3" fmla="*/ 306664 w 310334"/>
                <a:gd name="connsiteY3" fmla="*/ 4721 h 202633"/>
                <a:gd name="connsiteX4" fmla="*/ 286720 w 310334"/>
                <a:gd name="connsiteY4" fmla="*/ 2972 h 202633"/>
                <a:gd name="connsiteX5" fmla="*/ 6326 w 310334"/>
                <a:gd name="connsiteY5" fmla="*/ 176818 h 202633"/>
                <a:gd name="connsiteX6" fmla="*/ 306 w 310334"/>
                <a:gd name="connsiteY6" fmla="*/ 194913 h 202633"/>
                <a:gd name="connsiteX7" fmla="*/ 18400 w 310334"/>
                <a:gd name="connsiteY7" fmla="*/ 200933 h 202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0334" h="202633">
                  <a:moveTo>
                    <a:pt x="18400" y="200933"/>
                  </a:moveTo>
                  <a:cubicBezTo>
                    <a:pt x="118659" y="151187"/>
                    <a:pt x="213973" y="92081"/>
                    <a:pt x="303099" y="24396"/>
                  </a:cubicBezTo>
                  <a:cubicBezTo>
                    <a:pt x="309523" y="19983"/>
                    <a:pt x="311137" y="11209"/>
                    <a:pt x="306731" y="4798"/>
                  </a:cubicBezTo>
                  <a:cubicBezTo>
                    <a:pt x="306698" y="4771"/>
                    <a:pt x="306698" y="4748"/>
                    <a:pt x="306664" y="4721"/>
                  </a:cubicBezTo>
                  <a:cubicBezTo>
                    <a:pt x="301585" y="-1181"/>
                    <a:pt x="292740" y="-1958"/>
                    <a:pt x="286720" y="2972"/>
                  </a:cubicBezTo>
                  <a:cubicBezTo>
                    <a:pt x="198939" y="69615"/>
                    <a:pt x="105038" y="127823"/>
                    <a:pt x="6326" y="176818"/>
                  </a:cubicBezTo>
                  <a:cubicBezTo>
                    <a:pt x="-333" y="180151"/>
                    <a:pt x="-3023" y="188253"/>
                    <a:pt x="306" y="194913"/>
                  </a:cubicBezTo>
                  <a:cubicBezTo>
                    <a:pt x="3636" y="201572"/>
                    <a:pt x="11741" y="204266"/>
                    <a:pt x="18400" y="20093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B3833E57-917E-474F-8C24-4904B18A6295}"/>
                </a:ext>
              </a:extLst>
            </p:cNvPr>
            <p:cNvSpPr/>
            <p:nvPr/>
          </p:nvSpPr>
          <p:spPr>
            <a:xfrm>
              <a:off x="2417108" y="5982536"/>
              <a:ext cx="349184" cy="103003"/>
            </a:xfrm>
            <a:custGeom>
              <a:avLst/>
              <a:gdLst>
                <a:gd name="connsiteX0" fmla="*/ 13987 w 349184"/>
                <a:gd name="connsiteY0" fmla="*/ 102425 h 103003"/>
                <a:gd name="connsiteX1" fmla="*/ 339986 w 349184"/>
                <a:gd name="connsiteY1" fmla="*/ 25541 h 103003"/>
                <a:gd name="connsiteX2" fmla="*/ 347150 w 349184"/>
                <a:gd name="connsiteY2" fmla="*/ 8897 h 103003"/>
                <a:gd name="connsiteX3" fmla="*/ 347083 w 349184"/>
                <a:gd name="connsiteY3" fmla="*/ 8725 h 103003"/>
                <a:gd name="connsiteX4" fmla="*/ 347083 w 349184"/>
                <a:gd name="connsiteY4" fmla="*/ 8725 h 103003"/>
                <a:gd name="connsiteX5" fmla="*/ 330838 w 349184"/>
                <a:gd name="connsiteY5" fmla="*/ 283 h 103003"/>
                <a:gd name="connsiteX6" fmla="*/ 10758 w 349184"/>
                <a:gd name="connsiteY6" fmla="*/ 75721 h 103003"/>
                <a:gd name="connsiteX7" fmla="*/ -1013 w 349184"/>
                <a:gd name="connsiteY7" fmla="*/ 90856 h 103003"/>
                <a:gd name="connsiteX8" fmla="*/ 14122 w 349184"/>
                <a:gd name="connsiteY8" fmla="*/ 102627 h 103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9184" h="103003">
                  <a:moveTo>
                    <a:pt x="13987" y="102425"/>
                  </a:moveTo>
                  <a:cubicBezTo>
                    <a:pt x="125210" y="89157"/>
                    <a:pt x="234549" y="63364"/>
                    <a:pt x="339986" y="25541"/>
                  </a:cubicBezTo>
                  <a:cubicBezTo>
                    <a:pt x="346545" y="22925"/>
                    <a:pt x="349774" y="15472"/>
                    <a:pt x="347150" y="8897"/>
                  </a:cubicBezTo>
                  <a:cubicBezTo>
                    <a:pt x="347116" y="8840"/>
                    <a:pt x="347116" y="8782"/>
                    <a:pt x="347083" y="8725"/>
                  </a:cubicBezTo>
                  <a:lnTo>
                    <a:pt x="347083" y="8725"/>
                  </a:lnTo>
                  <a:cubicBezTo>
                    <a:pt x="344829" y="1985"/>
                    <a:pt x="337632" y="-1752"/>
                    <a:pt x="330838" y="283"/>
                  </a:cubicBezTo>
                  <a:cubicBezTo>
                    <a:pt x="227318" y="37410"/>
                    <a:pt x="119963" y="62715"/>
                    <a:pt x="10758" y="75721"/>
                  </a:cubicBezTo>
                  <a:cubicBezTo>
                    <a:pt x="3326" y="76649"/>
                    <a:pt x="-1955" y="83426"/>
                    <a:pt x="-1013" y="90856"/>
                  </a:cubicBezTo>
                  <a:cubicBezTo>
                    <a:pt x="-71" y="98285"/>
                    <a:pt x="6689" y="103555"/>
                    <a:pt x="14122" y="10262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F8C0D29-DF8A-4AC3-99A0-ADEACC209C87}"/>
                </a:ext>
              </a:extLst>
            </p:cNvPr>
            <p:cNvSpPr/>
            <p:nvPr/>
          </p:nvSpPr>
          <p:spPr>
            <a:xfrm>
              <a:off x="2309125" y="6063196"/>
              <a:ext cx="87475" cy="31184"/>
            </a:xfrm>
            <a:custGeom>
              <a:avLst/>
              <a:gdLst>
                <a:gd name="connsiteX0" fmla="*/ 11521 w 87475"/>
                <a:gd name="connsiteY0" fmla="*/ 30914 h 31184"/>
                <a:gd name="connsiteX1" fmla="*/ 43471 w 87475"/>
                <a:gd name="connsiteY1" fmla="*/ 29064 h 31184"/>
                <a:gd name="connsiteX2" fmla="*/ 75389 w 87475"/>
                <a:gd name="connsiteY2" fmla="*/ 26575 h 31184"/>
                <a:gd name="connsiteX3" fmla="*/ 86252 w 87475"/>
                <a:gd name="connsiteY3" fmla="*/ 12554 h 31184"/>
                <a:gd name="connsiteX4" fmla="*/ 86252 w 87475"/>
                <a:gd name="connsiteY4" fmla="*/ 12517 h 31184"/>
                <a:gd name="connsiteX5" fmla="*/ 86252 w 87475"/>
                <a:gd name="connsiteY5" fmla="*/ 11676 h 31184"/>
                <a:gd name="connsiteX6" fmla="*/ 73102 w 87475"/>
                <a:gd name="connsiteY6" fmla="*/ -264 h 31184"/>
                <a:gd name="connsiteX7" fmla="*/ 41756 w 87475"/>
                <a:gd name="connsiteY7" fmla="*/ 2192 h 31184"/>
                <a:gd name="connsiteX8" fmla="*/ 10377 w 87475"/>
                <a:gd name="connsiteY8" fmla="*/ 3974 h 31184"/>
                <a:gd name="connsiteX9" fmla="*/ -1092 w 87475"/>
                <a:gd name="connsiteY9" fmla="*/ 17427 h 31184"/>
                <a:gd name="connsiteX10" fmla="*/ -1092 w 87475"/>
                <a:gd name="connsiteY10" fmla="*/ 18234 h 31184"/>
                <a:gd name="connsiteX11" fmla="*/ 11521 w 87475"/>
                <a:gd name="connsiteY11" fmla="*/ 30914 h 3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7475" h="31184">
                  <a:moveTo>
                    <a:pt x="11521" y="30914"/>
                  </a:moveTo>
                  <a:cubicBezTo>
                    <a:pt x="22182" y="30611"/>
                    <a:pt x="32810" y="29636"/>
                    <a:pt x="43471" y="29064"/>
                  </a:cubicBezTo>
                  <a:cubicBezTo>
                    <a:pt x="54133" y="28492"/>
                    <a:pt x="64761" y="27550"/>
                    <a:pt x="75389" y="26575"/>
                  </a:cubicBezTo>
                  <a:cubicBezTo>
                    <a:pt x="82250" y="25704"/>
                    <a:pt x="87126" y="19425"/>
                    <a:pt x="86252" y="12554"/>
                  </a:cubicBezTo>
                  <a:cubicBezTo>
                    <a:pt x="86252" y="12540"/>
                    <a:pt x="86252" y="12530"/>
                    <a:pt x="86252" y="12517"/>
                  </a:cubicBezTo>
                  <a:lnTo>
                    <a:pt x="86252" y="11676"/>
                  </a:lnTo>
                  <a:cubicBezTo>
                    <a:pt x="85815" y="4795"/>
                    <a:pt x="79996" y="-496"/>
                    <a:pt x="73102" y="-264"/>
                  </a:cubicBezTo>
                  <a:cubicBezTo>
                    <a:pt x="62642" y="678"/>
                    <a:pt x="52216" y="1653"/>
                    <a:pt x="41756" y="2192"/>
                  </a:cubicBezTo>
                  <a:cubicBezTo>
                    <a:pt x="31296" y="2730"/>
                    <a:pt x="20837" y="3705"/>
                    <a:pt x="10377" y="3974"/>
                  </a:cubicBezTo>
                  <a:cubicBezTo>
                    <a:pt x="3516" y="4580"/>
                    <a:pt x="-1562" y="10566"/>
                    <a:pt x="-1092" y="17427"/>
                  </a:cubicBezTo>
                  <a:lnTo>
                    <a:pt x="-1092" y="18234"/>
                  </a:lnTo>
                  <a:cubicBezTo>
                    <a:pt x="-1092" y="25210"/>
                    <a:pt x="4559" y="30877"/>
                    <a:pt x="11521" y="3091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0C073DBC-9CD7-4BB1-A31B-CDA93A4B0393}"/>
                </a:ext>
              </a:extLst>
            </p:cNvPr>
            <p:cNvSpPr/>
            <p:nvPr/>
          </p:nvSpPr>
          <p:spPr>
            <a:xfrm>
              <a:off x="2609400" y="6028839"/>
              <a:ext cx="194918" cy="78788"/>
            </a:xfrm>
            <a:custGeom>
              <a:avLst/>
              <a:gdLst>
                <a:gd name="connsiteX0" fmla="*/ 15518 w 194918"/>
                <a:gd name="connsiteY0" fmla="*/ 78152 h 78788"/>
                <a:gd name="connsiteX1" fmla="*/ 58467 w 194918"/>
                <a:gd name="connsiteY1" fmla="*/ 66952 h 78788"/>
                <a:gd name="connsiteX2" fmla="*/ 101079 w 194918"/>
                <a:gd name="connsiteY2" fmla="*/ 54508 h 78788"/>
                <a:gd name="connsiteX3" fmla="*/ 143288 w 194918"/>
                <a:gd name="connsiteY3" fmla="*/ 40786 h 78788"/>
                <a:gd name="connsiteX4" fmla="*/ 164208 w 194918"/>
                <a:gd name="connsiteY4" fmla="*/ 33420 h 78788"/>
                <a:gd name="connsiteX5" fmla="*/ 174667 w 194918"/>
                <a:gd name="connsiteY5" fmla="*/ 29754 h 78788"/>
                <a:gd name="connsiteX6" fmla="*/ 185060 w 194918"/>
                <a:gd name="connsiteY6" fmla="*/ 25819 h 78788"/>
                <a:gd name="connsiteX7" fmla="*/ 192929 w 194918"/>
                <a:gd name="connsiteY7" fmla="*/ 8465 h 78788"/>
                <a:gd name="connsiteX8" fmla="*/ 175575 w 194918"/>
                <a:gd name="connsiteY8" fmla="*/ 595 h 78788"/>
                <a:gd name="connsiteX9" fmla="*/ 165486 w 194918"/>
                <a:gd name="connsiteY9" fmla="*/ 4463 h 78788"/>
                <a:gd name="connsiteX10" fmla="*/ 155194 w 194918"/>
                <a:gd name="connsiteY10" fmla="*/ 8061 h 78788"/>
                <a:gd name="connsiteX11" fmla="*/ 134611 w 194918"/>
                <a:gd name="connsiteY11" fmla="*/ 15293 h 78788"/>
                <a:gd name="connsiteX12" fmla="*/ 93176 w 194918"/>
                <a:gd name="connsiteY12" fmla="*/ 28745 h 78788"/>
                <a:gd name="connsiteX13" fmla="*/ 51303 w 194918"/>
                <a:gd name="connsiteY13" fmla="*/ 40954 h 78788"/>
                <a:gd name="connsiteX14" fmla="*/ 9128 w 194918"/>
                <a:gd name="connsiteY14" fmla="*/ 51952 h 78788"/>
                <a:gd name="connsiteX15" fmla="*/ -726 w 194918"/>
                <a:gd name="connsiteY15" fmla="*/ 68280 h 78788"/>
                <a:gd name="connsiteX16" fmla="*/ 15619 w 194918"/>
                <a:gd name="connsiteY16" fmla="*/ 78118 h 7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4918" h="78788">
                  <a:moveTo>
                    <a:pt x="15518" y="78152"/>
                  </a:moveTo>
                  <a:cubicBezTo>
                    <a:pt x="29947" y="74788"/>
                    <a:pt x="44173" y="70719"/>
                    <a:pt x="58467" y="66952"/>
                  </a:cubicBezTo>
                  <a:cubicBezTo>
                    <a:pt x="72761" y="63185"/>
                    <a:pt x="86853" y="58611"/>
                    <a:pt x="101079" y="54508"/>
                  </a:cubicBezTo>
                  <a:cubicBezTo>
                    <a:pt x="115306" y="50405"/>
                    <a:pt x="129263" y="45562"/>
                    <a:pt x="143288" y="40786"/>
                  </a:cubicBezTo>
                  <a:lnTo>
                    <a:pt x="164208" y="33420"/>
                  </a:lnTo>
                  <a:lnTo>
                    <a:pt x="174667" y="29754"/>
                  </a:lnTo>
                  <a:lnTo>
                    <a:pt x="185060" y="25819"/>
                  </a:lnTo>
                  <a:cubicBezTo>
                    <a:pt x="192021" y="23200"/>
                    <a:pt x="195553" y="15430"/>
                    <a:pt x="192929" y="8465"/>
                  </a:cubicBezTo>
                  <a:cubicBezTo>
                    <a:pt x="190306" y="1500"/>
                    <a:pt x="182537" y="-2025"/>
                    <a:pt x="175575" y="595"/>
                  </a:cubicBezTo>
                  <a:lnTo>
                    <a:pt x="165486" y="4463"/>
                  </a:lnTo>
                  <a:lnTo>
                    <a:pt x="155194" y="8061"/>
                  </a:lnTo>
                  <a:lnTo>
                    <a:pt x="134611" y="15293"/>
                  </a:lnTo>
                  <a:cubicBezTo>
                    <a:pt x="120889" y="20001"/>
                    <a:pt x="106999" y="24306"/>
                    <a:pt x="93176" y="28745"/>
                  </a:cubicBezTo>
                  <a:cubicBezTo>
                    <a:pt x="79353" y="33185"/>
                    <a:pt x="65362" y="37187"/>
                    <a:pt x="51303" y="40954"/>
                  </a:cubicBezTo>
                  <a:cubicBezTo>
                    <a:pt x="37245" y="44721"/>
                    <a:pt x="23288" y="48723"/>
                    <a:pt x="9128" y="51952"/>
                  </a:cubicBezTo>
                  <a:cubicBezTo>
                    <a:pt x="1897" y="53744"/>
                    <a:pt x="-2509" y="61056"/>
                    <a:pt x="-726" y="68280"/>
                  </a:cubicBezTo>
                  <a:cubicBezTo>
                    <a:pt x="1090" y="75505"/>
                    <a:pt x="8388" y="79911"/>
                    <a:pt x="15619" y="7811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E2DAA0A2-4376-4FDB-8184-316DDB949FAD}"/>
                </a:ext>
              </a:extLst>
            </p:cNvPr>
            <p:cNvSpPr/>
            <p:nvPr/>
          </p:nvSpPr>
          <p:spPr>
            <a:xfrm>
              <a:off x="2101216" y="6119614"/>
              <a:ext cx="198197" cy="32911"/>
            </a:xfrm>
            <a:custGeom>
              <a:avLst/>
              <a:gdLst>
                <a:gd name="connsiteX0" fmla="*/ 10505 w 198197"/>
                <a:gd name="connsiteY0" fmla="*/ 26592 h 32911"/>
                <a:gd name="connsiteX1" fmla="*/ 184586 w 198197"/>
                <a:gd name="connsiteY1" fmla="*/ 32275 h 32911"/>
                <a:gd name="connsiteX2" fmla="*/ 197064 w 198197"/>
                <a:gd name="connsiteY2" fmla="*/ 18749 h 32911"/>
                <a:gd name="connsiteX3" fmla="*/ 197064 w 198197"/>
                <a:gd name="connsiteY3" fmla="*/ 18587 h 32911"/>
                <a:gd name="connsiteX4" fmla="*/ 197064 w 198197"/>
                <a:gd name="connsiteY4" fmla="*/ 18352 h 32911"/>
                <a:gd name="connsiteX5" fmla="*/ 183981 w 198197"/>
                <a:gd name="connsiteY5" fmla="*/ 5369 h 32911"/>
                <a:gd name="connsiteX6" fmla="*/ 12893 w 198197"/>
                <a:gd name="connsiteY6" fmla="*/ -247 h 32911"/>
                <a:gd name="connsiteX7" fmla="*/ -1031 w 198197"/>
                <a:gd name="connsiteY7" fmla="*/ 11827 h 32911"/>
                <a:gd name="connsiteX8" fmla="*/ -1031 w 198197"/>
                <a:gd name="connsiteY8" fmla="*/ 12096 h 32911"/>
                <a:gd name="connsiteX9" fmla="*/ 10404 w 198197"/>
                <a:gd name="connsiteY9" fmla="*/ 26582 h 32911"/>
                <a:gd name="connsiteX10" fmla="*/ 10505 w 198197"/>
                <a:gd name="connsiteY10" fmla="*/ 26592 h 32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8197" h="32911">
                  <a:moveTo>
                    <a:pt x="10505" y="26592"/>
                  </a:moveTo>
                  <a:cubicBezTo>
                    <a:pt x="68386" y="31613"/>
                    <a:pt x="126503" y="33510"/>
                    <a:pt x="184586" y="32275"/>
                  </a:cubicBezTo>
                  <a:cubicBezTo>
                    <a:pt x="191784" y="31990"/>
                    <a:pt x="197366" y="25932"/>
                    <a:pt x="197064" y="18749"/>
                  </a:cubicBezTo>
                  <a:cubicBezTo>
                    <a:pt x="197064" y="18695"/>
                    <a:pt x="197064" y="18641"/>
                    <a:pt x="197064" y="18587"/>
                  </a:cubicBezTo>
                  <a:lnTo>
                    <a:pt x="197064" y="18352"/>
                  </a:lnTo>
                  <a:cubicBezTo>
                    <a:pt x="196963" y="11188"/>
                    <a:pt x="191145" y="5423"/>
                    <a:pt x="183981" y="5369"/>
                  </a:cubicBezTo>
                  <a:cubicBezTo>
                    <a:pt x="126907" y="6577"/>
                    <a:pt x="69765" y="4704"/>
                    <a:pt x="12893" y="-247"/>
                  </a:cubicBezTo>
                  <a:cubicBezTo>
                    <a:pt x="5729" y="-674"/>
                    <a:pt x="-426" y="4687"/>
                    <a:pt x="-1031" y="11827"/>
                  </a:cubicBezTo>
                  <a:lnTo>
                    <a:pt x="-1031" y="12096"/>
                  </a:lnTo>
                  <a:cubicBezTo>
                    <a:pt x="-1872" y="19253"/>
                    <a:pt x="3240" y="25737"/>
                    <a:pt x="10404" y="26582"/>
                  </a:cubicBezTo>
                  <a:cubicBezTo>
                    <a:pt x="10437" y="26585"/>
                    <a:pt x="10471" y="26588"/>
                    <a:pt x="10505" y="2659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83DF06A5-431F-4299-A9CC-20DC39F41F0C}"/>
                </a:ext>
              </a:extLst>
            </p:cNvPr>
            <p:cNvSpPr/>
            <p:nvPr/>
          </p:nvSpPr>
          <p:spPr>
            <a:xfrm>
              <a:off x="2339766" y="6091386"/>
              <a:ext cx="250162" cy="57859"/>
            </a:xfrm>
            <a:custGeom>
              <a:avLst/>
              <a:gdLst>
                <a:gd name="connsiteX0" fmla="*/ 12696 w 250162"/>
                <a:gd name="connsiteY0" fmla="*/ 57578 h 57859"/>
                <a:gd name="connsiteX1" fmla="*/ 69670 w 250162"/>
                <a:gd name="connsiteY1" fmla="*/ 52970 h 57859"/>
                <a:gd name="connsiteX2" fmla="*/ 126374 w 250162"/>
                <a:gd name="connsiteY2" fmla="*/ 46042 h 57859"/>
                <a:gd name="connsiteX3" fmla="*/ 182843 w 250162"/>
                <a:gd name="connsiteY3" fmla="*/ 37298 h 57859"/>
                <a:gd name="connsiteX4" fmla="*/ 210893 w 250162"/>
                <a:gd name="connsiteY4" fmla="*/ 31984 h 57859"/>
                <a:gd name="connsiteX5" fmla="*/ 224918 w 250162"/>
                <a:gd name="connsiteY5" fmla="*/ 29293 h 57859"/>
                <a:gd name="connsiteX6" fmla="*/ 238875 w 250162"/>
                <a:gd name="connsiteY6" fmla="*/ 26266 h 57859"/>
                <a:gd name="connsiteX7" fmla="*/ 248695 w 250162"/>
                <a:gd name="connsiteY7" fmla="*/ 10469 h 57859"/>
                <a:gd name="connsiteX8" fmla="*/ 248662 w 250162"/>
                <a:gd name="connsiteY8" fmla="*/ 10358 h 57859"/>
                <a:gd name="connsiteX9" fmla="*/ 233191 w 250162"/>
                <a:gd name="connsiteY9" fmla="*/ -68 h 57859"/>
                <a:gd name="connsiteX10" fmla="*/ 219502 w 250162"/>
                <a:gd name="connsiteY10" fmla="*/ 2891 h 57859"/>
                <a:gd name="connsiteX11" fmla="*/ 205713 w 250162"/>
                <a:gd name="connsiteY11" fmla="*/ 5549 h 57859"/>
                <a:gd name="connsiteX12" fmla="*/ 178135 w 250162"/>
                <a:gd name="connsiteY12" fmla="*/ 10762 h 57859"/>
                <a:gd name="connsiteX13" fmla="*/ 122675 w 250162"/>
                <a:gd name="connsiteY13" fmla="*/ 19371 h 57859"/>
                <a:gd name="connsiteX14" fmla="*/ 66946 w 250162"/>
                <a:gd name="connsiteY14" fmla="*/ 26098 h 57859"/>
                <a:gd name="connsiteX15" fmla="*/ 10947 w 250162"/>
                <a:gd name="connsiteY15" fmla="*/ 30605 h 57859"/>
                <a:gd name="connsiteX16" fmla="*/ -1093 w 250162"/>
                <a:gd name="connsiteY16" fmla="*/ 44865 h 57859"/>
                <a:gd name="connsiteX17" fmla="*/ -1093 w 250162"/>
                <a:gd name="connsiteY17" fmla="*/ 44865 h 57859"/>
                <a:gd name="connsiteX18" fmla="*/ 12663 w 250162"/>
                <a:gd name="connsiteY18" fmla="*/ 57578 h 57859"/>
                <a:gd name="connsiteX19" fmla="*/ 12696 w 250162"/>
                <a:gd name="connsiteY19" fmla="*/ 57578 h 57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50162" h="57859">
                  <a:moveTo>
                    <a:pt x="12696" y="57578"/>
                  </a:moveTo>
                  <a:cubicBezTo>
                    <a:pt x="31732" y="56603"/>
                    <a:pt x="50668" y="54551"/>
                    <a:pt x="69670" y="52970"/>
                  </a:cubicBezTo>
                  <a:cubicBezTo>
                    <a:pt x="88571" y="50751"/>
                    <a:pt x="107540" y="48901"/>
                    <a:pt x="126374" y="46042"/>
                  </a:cubicBezTo>
                  <a:cubicBezTo>
                    <a:pt x="145208" y="43183"/>
                    <a:pt x="164042" y="40358"/>
                    <a:pt x="182843" y="37298"/>
                  </a:cubicBezTo>
                  <a:cubicBezTo>
                    <a:pt x="192226" y="35616"/>
                    <a:pt x="201543" y="33733"/>
                    <a:pt x="210893" y="31984"/>
                  </a:cubicBezTo>
                  <a:cubicBezTo>
                    <a:pt x="215568" y="31075"/>
                    <a:pt x="220276" y="30268"/>
                    <a:pt x="224918" y="29293"/>
                  </a:cubicBezTo>
                  <a:lnTo>
                    <a:pt x="238875" y="26266"/>
                  </a:lnTo>
                  <a:cubicBezTo>
                    <a:pt x="245938" y="24615"/>
                    <a:pt x="250343" y="17542"/>
                    <a:pt x="248695" y="10469"/>
                  </a:cubicBezTo>
                  <a:cubicBezTo>
                    <a:pt x="248695" y="10432"/>
                    <a:pt x="248662" y="10395"/>
                    <a:pt x="248662" y="10358"/>
                  </a:cubicBezTo>
                  <a:cubicBezTo>
                    <a:pt x="247149" y="3292"/>
                    <a:pt x="240321" y="-1313"/>
                    <a:pt x="233191" y="-68"/>
                  </a:cubicBezTo>
                  <a:lnTo>
                    <a:pt x="219502" y="2891"/>
                  </a:lnTo>
                  <a:cubicBezTo>
                    <a:pt x="214895" y="3867"/>
                    <a:pt x="210287" y="4674"/>
                    <a:pt x="205713" y="5549"/>
                  </a:cubicBezTo>
                  <a:cubicBezTo>
                    <a:pt x="196532" y="7298"/>
                    <a:pt x="187350" y="9114"/>
                    <a:pt x="178135" y="10762"/>
                  </a:cubicBezTo>
                  <a:cubicBezTo>
                    <a:pt x="159670" y="13789"/>
                    <a:pt x="141139" y="17017"/>
                    <a:pt x="122675" y="19371"/>
                  </a:cubicBezTo>
                  <a:cubicBezTo>
                    <a:pt x="104211" y="21726"/>
                    <a:pt x="85511" y="23979"/>
                    <a:pt x="66946" y="26098"/>
                  </a:cubicBezTo>
                  <a:cubicBezTo>
                    <a:pt x="48280" y="27645"/>
                    <a:pt x="29647" y="29663"/>
                    <a:pt x="10947" y="30605"/>
                  </a:cubicBezTo>
                  <a:cubicBezTo>
                    <a:pt x="3750" y="31348"/>
                    <a:pt x="-1564" y="37647"/>
                    <a:pt x="-1093" y="44865"/>
                  </a:cubicBezTo>
                  <a:lnTo>
                    <a:pt x="-1093" y="44865"/>
                  </a:lnTo>
                  <a:cubicBezTo>
                    <a:pt x="-790" y="52177"/>
                    <a:pt x="5365" y="57871"/>
                    <a:pt x="12663" y="57578"/>
                  </a:cubicBezTo>
                  <a:cubicBezTo>
                    <a:pt x="12696" y="57578"/>
                    <a:pt x="12696" y="57578"/>
                    <a:pt x="12696" y="5757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60A65A9A-6467-4E5C-95A0-EF98A1C95CAE}"/>
                </a:ext>
              </a:extLst>
            </p:cNvPr>
            <p:cNvSpPr/>
            <p:nvPr/>
          </p:nvSpPr>
          <p:spPr>
            <a:xfrm>
              <a:off x="2723475" y="6096130"/>
              <a:ext cx="60703" cy="38121"/>
            </a:xfrm>
            <a:custGeom>
              <a:avLst/>
              <a:gdLst>
                <a:gd name="connsiteX0" fmla="*/ 16668 w 60703"/>
                <a:gd name="connsiteY0" fmla="*/ 37128 h 38121"/>
                <a:gd name="connsiteX1" fmla="*/ 33687 w 60703"/>
                <a:gd name="connsiteY1" fmla="*/ 31646 h 38121"/>
                <a:gd name="connsiteX2" fmla="*/ 50503 w 60703"/>
                <a:gd name="connsiteY2" fmla="*/ 25928 h 38121"/>
                <a:gd name="connsiteX3" fmla="*/ 58844 w 60703"/>
                <a:gd name="connsiteY3" fmla="*/ 8809 h 38121"/>
                <a:gd name="connsiteX4" fmla="*/ 41725 w 60703"/>
                <a:gd name="connsiteY4" fmla="*/ 468 h 38121"/>
                <a:gd name="connsiteX5" fmla="*/ 24909 w 60703"/>
                <a:gd name="connsiteY5" fmla="*/ 6085 h 38121"/>
                <a:gd name="connsiteX6" fmla="*/ 8092 w 60703"/>
                <a:gd name="connsiteY6" fmla="*/ 11466 h 38121"/>
                <a:gd name="connsiteX7" fmla="*/ -551 w 60703"/>
                <a:gd name="connsiteY7" fmla="*/ 28282 h 38121"/>
                <a:gd name="connsiteX8" fmla="*/ 16231 w 60703"/>
                <a:gd name="connsiteY8" fmla="*/ 37272 h 38121"/>
                <a:gd name="connsiteX9" fmla="*/ 16668 w 60703"/>
                <a:gd name="connsiteY9" fmla="*/ 37128 h 38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0703" h="38121">
                  <a:moveTo>
                    <a:pt x="16668" y="37128"/>
                  </a:moveTo>
                  <a:lnTo>
                    <a:pt x="33687" y="31646"/>
                  </a:lnTo>
                  <a:cubicBezTo>
                    <a:pt x="39404" y="29873"/>
                    <a:pt x="45021" y="27970"/>
                    <a:pt x="50503" y="25928"/>
                  </a:cubicBezTo>
                  <a:cubicBezTo>
                    <a:pt x="57532" y="23503"/>
                    <a:pt x="61265" y="15838"/>
                    <a:pt x="58844" y="8809"/>
                  </a:cubicBezTo>
                  <a:cubicBezTo>
                    <a:pt x="56422" y="1780"/>
                    <a:pt x="48754" y="-1956"/>
                    <a:pt x="41725" y="468"/>
                  </a:cubicBezTo>
                  <a:cubicBezTo>
                    <a:pt x="36209" y="2453"/>
                    <a:pt x="30660" y="4302"/>
                    <a:pt x="24909" y="6085"/>
                  </a:cubicBezTo>
                  <a:lnTo>
                    <a:pt x="8092" y="11466"/>
                  </a:lnTo>
                  <a:cubicBezTo>
                    <a:pt x="1164" y="13861"/>
                    <a:pt x="-2637" y="21267"/>
                    <a:pt x="-551" y="28282"/>
                  </a:cubicBezTo>
                  <a:cubicBezTo>
                    <a:pt x="1601" y="35396"/>
                    <a:pt x="9101" y="39421"/>
                    <a:pt x="16231" y="37272"/>
                  </a:cubicBezTo>
                  <a:cubicBezTo>
                    <a:pt x="16366" y="37229"/>
                    <a:pt x="16534" y="37178"/>
                    <a:pt x="16668" y="3712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00D5A860-904A-4CA8-B2B9-CBD5B39153F8}"/>
                </a:ext>
              </a:extLst>
            </p:cNvPr>
            <p:cNvSpPr/>
            <p:nvPr/>
          </p:nvSpPr>
          <p:spPr>
            <a:xfrm>
              <a:off x="2196818" y="6181720"/>
              <a:ext cx="62460" cy="27414"/>
            </a:xfrm>
            <a:custGeom>
              <a:avLst/>
              <a:gdLst>
                <a:gd name="connsiteX0" fmla="*/ 12101 w 62460"/>
                <a:gd name="connsiteY0" fmla="*/ 26639 h 27414"/>
                <a:gd name="connsiteX1" fmla="*/ 47886 w 62460"/>
                <a:gd name="connsiteY1" fmla="*/ 27144 h 27414"/>
                <a:gd name="connsiteX2" fmla="*/ 61339 w 62460"/>
                <a:gd name="connsiteY2" fmla="*/ 13691 h 27414"/>
                <a:gd name="connsiteX3" fmla="*/ 47886 w 62460"/>
                <a:gd name="connsiteY3" fmla="*/ 238 h 27414"/>
                <a:gd name="connsiteX4" fmla="*/ 12672 w 62460"/>
                <a:gd name="connsiteY4" fmla="*/ -267 h 27414"/>
                <a:gd name="connsiteX5" fmla="*/ -1117 w 62460"/>
                <a:gd name="connsiteY5" fmla="*/ 12850 h 27414"/>
                <a:gd name="connsiteX6" fmla="*/ 12000 w 62460"/>
                <a:gd name="connsiteY6" fmla="*/ 26639 h 27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0" h="27414">
                  <a:moveTo>
                    <a:pt x="12101" y="26639"/>
                  </a:moveTo>
                  <a:cubicBezTo>
                    <a:pt x="24007" y="26976"/>
                    <a:pt x="35946" y="26976"/>
                    <a:pt x="47886" y="27144"/>
                  </a:cubicBezTo>
                  <a:cubicBezTo>
                    <a:pt x="55319" y="27144"/>
                    <a:pt x="61339" y="21120"/>
                    <a:pt x="61339" y="13691"/>
                  </a:cubicBezTo>
                  <a:cubicBezTo>
                    <a:pt x="61339" y="6261"/>
                    <a:pt x="55319" y="238"/>
                    <a:pt x="47886" y="238"/>
                  </a:cubicBezTo>
                  <a:cubicBezTo>
                    <a:pt x="36148" y="238"/>
                    <a:pt x="24343" y="238"/>
                    <a:pt x="12672" y="-267"/>
                  </a:cubicBezTo>
                  <a:cubicBezTo>
                    <a:pt x="5240" y="-452"/>
                    <a:pt x="-915" y="5421"/>
                    <a:pt x="-1117" y="12850"/>
                  </a:cubicBezTo>
                  <a:cubicBezTo>
                    <a:pt x="-1318" y="20279"/>
                    <a:pt x="4567" y="26454"/>
                    <a:pt x="12000" y="26639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4D5E762D-9508-4C27-AF28-AE0E2B90392A}"/>
                </a:ext>
              </a:extLst>
            </p:cNvPr>
            <p:cNvSpPr/>
            <p:nvPr/>
          </p:nvSpPr>
          <p:spPr>
            <a:xfrm>
              <a:off x="2286280" y="6121966"/>
              <a:ext cx="415469" cy="86467"/>
            </a:xfrm>
            <a:custGeom>
              <a:avLst/>
              <a:gdLst>
                <a:gd name="connsiteX0" fmla="*/ 12673 w 415469"/>
                <a:gd name="connsiteY0" fmla="*/ 86191 h 86467"/>
                <a:gd name="connsiteX1" fmla="*/ 404625 w 415469"/>
                <a:gd name="connsiteY1" fmla="*/ 26191 h 86467"/>
                <a:gd name="connsiteX2" fmla="*/ 413807 w 415469"/>
                <a:gd name="connsiteY2" fmla="*/ 9536 h 86467"/>
                <a:gd name="connsiteX3" fmla="*/ 413774 w 415469"/>
                <a:gd name="connsiteY3" fmla="*/ 9375 h 86467"/>
                <a:gd name="connsiteX4" fmla="*/ 397260 w 415469"/>
                <a:gd name="connsiteY4" fmla="*/ 227 h 86467"/>
                <a:gd name="connsiteX5" fmla="*/ 11866 w 415469"/>
                <a:gd name="connsiteY5" fmla="*/ 59184 h 86467"/>
                <a:gd name="connsiteX6" fmla="*/ -1117 w 415469"/>
                <a:gd name="connsiteY6" fmla="*/ 72974 h 86467"/>
                <a:gd name="connsiteX7" fmla="*/ 12572 w 415469"/>
                <a:gd name="connsiteY7" fmla="*/ 86195 h 86467"/>
                <a:gd name="connsiteX8" fmla="*/ 12673 w 415469"/>
                <a:gd name="connsiteY8" fmla="*/ 86191 h 86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5469" h="86467">
                  <a:moveTo>
                    <a:pt x="12673" y="86191"/>
                  </a:moveTo>
                  <a:cubicBezTo>
                    <a:pt x="145285" y="82418"/>
                    <a:pt x="276957" y="62265"/>
                    <a:pt x="404625" y="26191"/>
                  </a:cubicBezTo>
                  <a:cubicBezTo>
                    <a:pt x="411755" y="24129"/>
                    <a:pt x="415892" y="16673"/>
                    <a:pt x="413807" y="9536"/>
                  </a:cubicBezTo>
                  <a:cubicBezTo>
                    <a:pt x="413807" y="9482"/>
                    <a:pt x="413774" y="9429"/>
                    <a:pt x="413774" y="9375"/>
                  </a:cubicBezTo>
                  <a:cubicBezTo>
                    <a:pt x="411688" y="2325"/>
                    <a:pt x="404323" y="-1748"/>
                    <a:pt x="397260" y="227"/>
                  </a:cubicBezTo>
                  <a:cubicBezTo>
                    <a:pt x="271710" y="35665"/>
                    <a:pt x="142258" y="55468"/>
                    <a:pt x="11866" y="59184"/>
                  </a:cubicBezTo>
                  <a:cubicBezTo>
                    <a:pt x="4500" y="59440"/>
                    <a:pt x="-1318" y="65595"/>
                    <a:pt x="-1117" y="72974"/>
                  </a:cubicBezTo>
                  <a:cubicBezTo>
                    <a:pt x="-982" y="80403"/>
                    <a:pt x="5139" y="86323"/>
                    <a:pt x="12572" y="86195"/>
                  </a:cubicBezTo>
                  <a:cubicBezTo>
                    <a:pt x="12606" y="86195"/>
                    <a:pt x="12639" y="86191"/>
                    <a:pt x="12673" y="86191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98250BA2-AA5E-4BD6-9A32-120245BBDC9C}"/>
                </a:ext>
              </a:extLst>
            </p:cNvPr>
            <p:cNvSpPr/>
            <p:nvPr/>
          </p:nvSpPr>
          <p:spPr>
            <a:xfrm>
              <a:off x="2425204" y="6119281"/>
              <a:ext cx="459150" cy="135944"/>
            </a:xfrm>
            <a:custGeom>
              <a:avLst/>
              <a:gdLst>
                <a:gd name="connsiteX0" fmla="*/ 14232 w 459150"/>
                <a:gd name="connsiteY0" fmla="*/ 135558 h 135944"/>
                <a:gd name="connsiteX1" fmla="*/ 449301 w 459150"/>
                <a:gd name="connsiteY1" fmla="*/ 25748 h 135944"/>
                <a:gd name="connsiteX2" fmla="*/ 457104 w 459150"/>
                <a:gd name="connsiteY2" fmla="*/ 8142 h 135944"/>
                <a:gd name="connsiteX3" fmla="*/ 457070 w 459150"/>
                <a:gd name="connsiteY3" fmla="*/ 8024 h 135944"/>
                <a:gd name="connsiteX4" fmla="*/ 457070 w 459150"/>
                <a:gd name="connsiteY4" fmla="*/ 8024 h 135944"/>
                <a:gd name="connsiteX5" fmla="*/ 439144 w 459150"/>
                <a:gd name="connsiteY5" fmla="*/ 759 h 135944"/>
                <a:gd name="connsiteX6" fmla="*/ 11205 w 459150"/>
                <a:gd name="connsiteY6" fmla="*/ 108787 h 135944"/>
                <a:gd name="connsiteX7" fmla="*/ -1071 w 459150"/>
                <a:gd name="connsiteY7" fmla="*/ 123720 h 135944"/>
                <a:gd name="connsiteX8" fmla="*/ 14165 w 459150"/>
                <a:gd name="connsiteY8" fmla="*/ 135565 h 135944"/>
                <a:gd name="connsiteX9" fmla="*/ 14232 w 459150"/>
                <a:gd name="connsiteY9" fmla="*/ 135558 h 135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9150" h="135944">
                  <a:moveTo>
                    <a:pt x="14232" y="135558"/>
                  </a:moveTo>
                  <a:cubicBezTo>
                    <a:pt x="163560" y="118890"/>
                    <a:pt x="309928" y="81948"/>
                    <a:pt x="449301" y="25748"/>
                  </a:cubicBezTo>
                  <a:cubicBezTo>
                    <a:pt x="456330" y="23044"/>
                    <a:pt x="459828" y="15161"/>
                    <a:pt x="457104" y="8142"/>
                  </a:cubicBezTo>
                  <a:cubicBezTo>
                    <a:pt x="457104" y="8101"/>
                    <a:pt x="457070" y="8064"/>
                    <a:pt x="457070" y="8024"/>
                  </a:cubicBezTo>
                  <a:lnTo>
                    <a:pt x="457070" y="8024"/>
                  </a:lnTo>
                  <a:cubicBezTo>
                    <a:pt x="454043" y="1143"/>
                    <a:pt x="446106" y="-2079"/>
                    <a:pt x="439144" y="759"/>
                  </a:cubicBezTo>
                  <a:cubicBezTo>
                    <a:pt x="302058" y="56048"/>
                    <a:pt x="158111" y="92394"/>
                    <a:pt x="11205" y="108787"/>
                  </a:cubicBezTo>
                  <a:cubicBezTo>
                    <a:pt x="3738" y="109601"/>
                    <a:pt x="-1710" y="116233"/>
                    <a:pt x="-1071" y="123720"/>
                  </a:cubicBezTo>
                  <a:cubicBezTo>
                    <a:pt x="-129" y="131203"/>
                    <a:pt x="6698" y="136507"/>
                    <a:pt x="14165" y="135565"/>
                  </a:cubicBezTo>
                  <a:cubicBezTo>
                    <a:pt x="14198" y="135562"/>
                    <a:pt x="14198" y="135562"/>
                    <a:pt x="14232" y="13555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28D3E2F-11DF-4E40-89AA-74A3CC02A595}"/>
                </a:ext>
              </a:extLst>
            </p:cNvPr>
            <p:cNvSpPr/>
            <p:nvPr/>
          </p:nvSpPr>
          <p:spPr>
            <a:xfrm>
              <a:off x="2563236" y="6216083"/>
              <a:ext cx="219533" cy="75563"/>
            </a:xfrm>
            <a:custGeom>
              <a:avLst/>
              <a:gdLst>
                <a:gd name="connsiteX0" fmla="*/ 14900 w 219533"/>
                <a:gd name="connsiteY0" fmla="*/ 75045 h 75563"/>
                <a:gd name="connsiteX1" fmla="*/ 208286 w 219533"/>
                <a:gd name="connsiteY1" fmla="*/ 26177 h 75563"/>
                <a:gd name="connsiteX2" fmla="*/ 217871 w 219533"/>
                <a:gd name="connsiteY2" fmla="*/ 8924 h 75563"/>
                <a:gd name="connsiteX3" fmla="*/ 217871 w 219533"/>
                <a:gd name="connsiteY3" fmla="*/ 8924 h 75563"/>
                <a:gd name="connsiteX4" fmla="*/ 200113 w 219533"/>
                <a:gd name="connsiteY4" fmla="*/ 515 h 75563"/>
                <a:gd name="connsiteX5" fmla="*/ 9787 w 219533"/>
                <a:gd name="connsiteY5" fmla="*/ 48610 h 75563"/>
                <a:gd name="connsiteX6" fmla="*/ -874 w 219533"/>
                <a:gd name="connsiteY6" fmla="*/ 64383 h 75563"/>
                <a:gd name="connsiteX7" fmla="*/ 14900 w 219533"/>
                <a:gd name="connsiteY7" fmla="*/ 75045 h 75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533" h="75563">
                  <a:moveTo>
                    <a:pt x="14900" y="75045"/>
                  </a:moveTo>
                  <a:cubicBezTo>
                    <a:pt x="80281" y="62601"/>
                    <a:pt x="144855" y="46282"/>
                    <a:pt x="208286" y="26177"/>
                  </a:cubicBezTo>
                  <a:cubicBezTo>
                    <a:pt x="215685" y="24058"/>
                    <a:pt x="219990" y="16336"/>
                    <a:pt x="217871" y="8924"/>
                  </a:cubicBezTo>
                  <a:lnTo>
                    <a:pt x="217871" y="8924"/>
                  </a:lnTo>
                  <a:cubicBezTo>
                    <a:pt x="215248" y="1736"/>
                    <a:pt x="207344" y="-2007"/>
                    <a:pt x="200113" y="515"/>
                  </a:cubicBezTo>
                  <a:cubicBezTo>
                    <a:pt x="137658" y="20281"/>
                    <a:pt x="74126" y="36341"/>
                    <a:pt x="9787" y="48610"/>
                  </a:cubicBezTo>
                  <a:cubicBezTo>
                    <a:pt x="2489" y="50022"/>
                    <a:pt x="-2287" y="57085"/>
                    <a:pt x="-874" y="64383"/>
                  </a:cubicBezTo>
                  <a:cubicBezTo>
                    <a:pt x="538" y="71682"/>
                    <a:pt x="7601" y="76457"/>
                    <a:pt x="14900" y="75045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2C7EDD53-F141-420A-B1F8-62706F5363D3}"/>
                </a:ext>
              </a:extLst>
            </p:cNvPr>
            <p:cNvSpPr/>
            <p:nvPr/>
          </p:nvSpPr>
          <p:spPr>
            <a:xfrm>
              <a:off x="2262171" y="6273702"/>
              <a:ext cx="275899" cy="48349"/>
            </a:xfrm>
            <a:custGeom>
              <a:avLst/>
              <a:gdLst>
                <a:gd name="connsiteX0" fmla="*/ 13374 w 275899"/>
                <a:gd name="connsiteY0" fmla="*/ 48065 h 48349"/>
                <a:gd name="connsiteX1" fmla="*/ 76132 w 275899"/>
                <a:gd name="connsiteY1" fmla="*/ 46182 h 48349"/>
                <a:gd name="connsiteX2" fmla="*/ 107477 w 275899"/>
                <a:gd name="connsiteY2" fmla="*/ 44231 h 48349"/>
                <a:gd name="connsiteX3" fmla="*/ 138755 w 275899"/>
                <a:gd name="connsiteY3" fmla="*/ 41810 h 48349"/>
                <a:gd name="connsiteX4" fmla="*/ 263464 w 275899"/>
                <a:gd name="connsiteY4" fmla="*/ 26507 h 48349"/>
                <a:gd name="connsiteX5" fmla="*/ 274597 w 275899"/>
                <a:gd name="connsiteY5" fmla="*/ 11053 h 48349"/>
                <a:gd name="connsiteX6" fmla="*/ 259160 w 275899"/>
                <a:gd name="connsiteY6" fmla="*/ -96 h 48349"/>
                <a:gd name="connsiteX7" fmla="*/ 136435 w 275899"/>
                <a:gd name="connsiteY7" fmla="*/ 14971 h 48349"/>
                <a:gd name="connsiteX8" fmla="*/ 105628 w 275899"/>
                <a:gd name="connsiteY8" fmla="*/ 17359 h 48349"/>
                <a:gd name="connsiteX9" fmla="*/ 74786 w 275899"/>
                <a:gd name="connsiteY9" fmla="*/ 19276 h 48349"/>
                <a:gd name="connsiteX10" fmla="*/ 13004 w 275899"/>
                <a:gd name="connsiteY10" fmla="*/ 21126 h 48349"/>
                <a:gd name="connsiteX11" fmla="*/ -1122 w 275899"/>
                <a:gd name="connsiteY11" fmla="*/ 34781 h 48349"/>
                <a:gd name="connsiteX12" fmla="*/ 13340 w 275899"/>
                <a:gd name="connsiteY12" fmla="*/ 48065 h 48349"/>
                <a:gd name="connsiteX13" fmla="*/ 13374 w 275899"/>
                <a:gd name="connsiteY13" fmla="*/ 48065 h 48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899" h="48349">
                  <a:moveTo>
                    <a:pt x="13374" y="48065"/>
                  </a:moveTo>
                  <a:cubicBezTo>
                    <a:pt x="34326" y="48065"/>
                    <a:pt x="55213" y="46888"/>
                    <a:pt x="76132" y="46182"/>
                  </a:cubicBezTo>
                  <a:lnTo>
                    <a:pt x="107477" y="44231"/>
                  </a:lnTo>
                  <a:cubicBezTo>
                    <a:pt x="117903" y="43660"/>
                    <a:pt x="128329" y="42752"/>
                    <a:pt x="138755" y="41810"/>
                  </a:cubicBezTo>
                  <a:cubicBezTo>
                    <a:pt x="180493" y="38447"/>
                    <a:pt x="222063" y="33032"/>
                    <a:pt x="263464" y="26507"/>
                  </a:cubicBezTo>
                  <a:cubicBezTo>
                    <a:pt x="270796" y="25320"/>
                    <a:pt x="275808" y="18398"/>
                    <a:pt x="274597" y="11053"/>
                  </a:cubicBezTo>
                  <a:cubicBezTo>
                    <a:pt x="273420" y="3708"/>
                    <a:pt x="266491" y="-1283"/>
                    <a:pt x="259160" y="-96"/>
                  </a:cubicBezTo>
                  <a:cubicBezTo>
                    <a:pt x="218431" y="6361"/>
                    <a:pt x="177534" y="11608"/>
                    <a:pt x="136435" y="14971"/>
                  </a:cubicBezTo>
                  <a:cubicBezTo>
                    <a:pt x="126345" y="15913"/>
                    <a:pt x="115919" y="16821"/>
                    <a:pt x="105628" y="17359"/>
                  </a:cubicBezTo>
                  <a:lnTo>
                    <a:pt x="74786" y="19276"/>
                  </a:lnTo>
                  <a:cubicBezTo>
                    <a:pt x="54170" y="19982"/>
                    <a:pt x="33587" y="21092"/>
                    <a:pt x="13004" y="21126"/>
                  </a:cubicBezTo>
                  <a:cubicBezTo>
                    <a:pt x="5369" y="21069"/>
                    <a:pt x="-920" y="27139"/>
                    <a:pt x="-1122" y="34781"/>
                  </a:cubicBezTo>
                  <a:cubicBezTo>
                    <a:pt x="-786" y="42446"/>
                    <a:pt x="5672" y="48392"/>
                    <a:pt x="13340" y="48065"/>
                  </a:cubicBezTo>
                  <a:cubicBezTo>
                    <a:pt x="13340" y="48065"/>
                    <a:pt x="13374" y="48065"/>
                    <a:pt x="13374" y="48065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ADC9921D-1F81-4FE6-B3AA-AAAE3EE2C1C1}"/>
                </a:ext>
              </a:extLst>
            </p:cNvPr>
            <p:cNvSpPr/>
            <p:nvPr/>
          </p:nvSpPr>
          <p:spPr>
            <a:xfrm>
              <a:off x="2480632" y="6259024"/>
              <a:ext cx="352208" cy="103252"/>
            </a:xfrm>
            <a:custGeom>
              <a:avLst/>
              <a:gdLst>
                <a:gd name="connsiteX0" fmla="*/ 15441 w 352208"/>
                <a:gd name="connsiteY0" fmla="*/ 102732 h 103252"/>
                <a:gd name="connsiteX1" fmla="*/ 341978 w 352208"/>
                <a:gd name="connsiteY1" fmla="*/ 25949 h 103252"/>
                <a:gd name="connsiteX2" fmla="*/ 350352 w 352208"/>
                <a:gd name="connsiteY2" fmla="*/ 8847 h 103252"/>
                <a:gd name="connsiteX3" fmla="*/ 333267 w 352208"/>
                <a:gd name="connsiteY3" fmla="*/ 456 h 103252"/>
                <a:gd name="connsiteX4" fmla="*/ 11741 w 352208"/>
                <a:gd name="connsiteY4" fmla="*/ 76062 h 103252"/>
                <a:gd name="connsiteX5" fmla="*/ -1073 w 352208"/>
                <a:gd name="connsiteY5" fmla="*/ 91432 h 103252"/>
                <a:gd name="connsiteX6" fmla="*/ 15407 w 352208"/>
                <a:gd name="connsiteY6" fmla="*/ 102742 h 103252"/>
                <a:gd name="connsiteX7" fmla="*/ 15441 w 352208"/>
                <a:gd name="connsiteY7" fmla="*/ 102732 h 103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2208" h="103252">
                  <a:moveTo>
                    <a:pt x="15441" y="102732"/>
                  </a:moveTo>
                  <a:cubicBezTo>
                    <a:pt x="126461" y="87497"/>
                    <a:pt x="235800" y="61788"/>
                    <a:pt x="341978" y="25949"/>
                  </a:cubicBezTo>
                  <a:cubicBezTo>
                    <a:pt x="349007" y="23545"/>
                    <a:pt x="352774" y="15886"/>
                    <a:pt x="350352" y="8847"/>
                  </a:cubicBezTo>
                  <a:cubicBezTo>
                    <a:pt x="347965" y="1808"/>
                    <a:pt x="340296" y="-1949"/>
                    <a:pt x="333267" y="456"/>
                  </a:cubicBezTo>
                  <a:cubicBezTo>
                    <a:pt x="228704" y="35740"/>
                    <a:pt x="121047" y="61052"/>
                    <a:pt x="11741" y="76062"/>
                  </a:cubicBezTo>
                  <a:cubicBezTo>
                    <a:pt x="4005" y="76842"/>
                    <a:pt x="-1712" y="83673"/>
                    <a:pt x="-1073" y="91432"/>
                  </a:cubicBezTo>
                  <a:cubicBezTo>
                    <a:pt x="340" y="99103"/>
                    <a:pt x="7739" y="104165"/>
                    <a:pt x="15407" y="102742"/>
                  </a:cubicBezTo>
                  <a:cubicBezTo>
                    <a:pt x="15407" y="102739"/>
                    <a:pt x="15441" y="102736"/>
                    <a:pt x="15441" y="10273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87724E0D-FAA2-4045-A19F-07B1CF6C13C6}"/>
                </a:ext>
              </a:extLst>
            </p:cNvPr>
            <p:cNvSpPr/>
            <p:nvPr/>
          </p:nvSpPr>
          <p:spPr>
            <a:xfrm>
              <a:off x="2292407" y="6342761"/>
              <a:ext cx="155031" cy="35254"/>
            </a:xfrm>
            <a:custGeom>
              <a:avLst/>
              <a:gdLst>
                <a:gd name="connsiteX0" fmla="*/ 14013 w 155031"/>
                <a:gd name="connsiteY0" fmla="*/ 34938 h 35254"/>
                <a:gd name="connsiteX1" fmla="*/ 45661 w 155031"/>
                <a:gd name="connsiteY1" fmla="*/ 33761 h 35254"/>
                <a:gd name="connsiteX2" fmla="*/ 77275 w 155031"/>
                <a:gd name="connsiteY2" fmla="*/ 31877 h 35254"/>
                <a:gd name="connsiteX3" fmla="*/ 93083 w 155031"/>
                <a:gd name="connsiteY3" fmla="*/ 30868 h 35254"/>
                <a:gd name="connsiteX4" fmla="*/ 108890 w 155031"/>
                <a:gd name="connsiteY4" fmla="*/ 29523 h 35254"/>
                <a:gd name="connsiteX5" fmla="*/ 140437 w 155031"/>
                <a:gd name="connsiteY5" fmla="*/ 26698 h 35254"/>
                <a:gd name="connsiteX6" fmla="*/ 153890 w 155031"/>
                <a:gd name="connsiteY6" fmla="*/ 11630 h 35254"/>
                <a:gd name="connsiteX7" fmla="*/ 137780 w 155031"/>
                <a:gd name="connsiteY7" fmla="*/ -107 h 35254"/>
                <a:gd name="connsiteX8" fmla="*/ 106704 w 155031"/>
                <a:gd name="connsiteY8" fmla="*/ 2684 h 35254"/>
                <a:gd name="connsiteX9" fmla="*/ 91132 w 155031"/>
                <a:gd name="connsiteY9" fmla="*/ 3996 h 35254"/>
                <a:gd name="connsiteX10" fmla="*/ 75560 w 155031"/>
                <a:gd name="connsiteY10" fmla="*/ 4971 h 35254"/>
                <a:gd name="connsiteX11" fmla="*/ 44417 w 155031"/>
                <a:gd name="connsiteY11" fmla="*/ 6855 h 35254"/>
                <a:gd name="connsiteX12" fmla="*/ 13239 w 155031"/>
                <a:gd name="connsiteY12" fmla="*/ 8032 h 35254"/>
                <a:gd name="connsiteX13" fmla="*/ -1122 w 155031"/>
                <a:gd name="connsiteY13" fmla="*/ 21922 h 35254"/>
                <a:gd name="connsiteX14" fmla="*/ 13912 w 155031"/>
                <a:gd name="connsiteY14" fmla="*/ 34948 h 35254"/>
                <a:gd name="connsiteX15" fmla="*/ 14013 w 155031"/>
                <a:gd name="connsiteY15" fmla="*/ 34938 h 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5031" h="35254">
                  <a:moveTo>
                    <a:pt x="14013" y="34938"/>
                  </a:moveTo>
                  <a:lnTo>
                    <a:pt x="45661" y="33761"/>
                  </a:lnTo>
                  <a:cubicBezTo>
                    <a:pt x="56221" y="33290"/>
                    <a:pt x="66748" y="32482"/>
                    <a:pt x="77275" y="31877"/>
                  </a:cubicBezTo>
                  <a:lnTo>
                    <a:pt x="93083" y="30868"/>
                  </a:lnTo>
                  <a:lnTo>
                    <a:pt x="108890" y="29523"/>
                  </a:lnTo>
                  <a:lnTo>
                    <a:pt x="140437" y="26698"/>
                  </a:lnTo>
                  <a:cubicBezTo>
                    <a:pt x="148307" y="26210"/>
                    <a:pt x="154294" y="19490"/>
                    <a:pt x="153890" y="11630"/>
                  </a:cubicBezTo>
                  <a:cubicBezTo>
                    <a:pt x="152646" y="3959"/>
                    <a:pt x="145448" y="-1278"/>
                    <a:pt x="137780" y="-107"/>
                  </a:cubicBezTo>
                  <a:lnTo>
                    <a:pt x="106704" y="2684"/>
                  </a:lnTo>
                  <a:lnTo>
                    <a:pt x="91132" y="3996"/>
                  </a:lnTo>
                  <a:lnTo>
                    <a:pt x="75560" y="4971"/>
                  </a:lnTo>
                  <a:cubicBezTo>
                    <a:pt x="65201" y="5610"/>
                    <a:pt x="54809" y="6384"/>
                    <a:pt x="44417" y="6855"/>
                  </a:cubicBezTo>
                  <a:lnTo>
                    <a:pt x="13239" y="8032"/>
                  </a:lnTo>
                  <a:cubicBezTo>
                    <a:pt x="5504" y="8028"/>
                    <a:pt x="-853" y="14176"/>
                    <a:pt x="-1122" y="21922"/>
                  </a:cubicBezTo>
                  <a:cubicBezTo>
                    <a:pt x="-584" y="29667"/>
                    <a:pt x="6143" y="35496"/>
                    <a:pt x="13912" y="34948"/>
                  </a:cubicBezTo>
                  <a:cubicBezTo>
                    <a:pt x="13945" y="34944"/>
                    <a:pt x="13979" y="34941"/>
                    <a:pt x="14013" y="3493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C8AD29CE-E91F-4738-B6BE-57C3F4B02C87}"/>
                </a:ext>
              </a:extLst>
            </p:cNvPr>
            <p:cNvSpPr/>
            <p:nvPr/>
          </p:nvSpPr>
          <p:spPr>
            <a:xfrm>
              <a:off x="1993615" y="6278043"/>
              <a:ext cx="218409" cy="43424"/>
            </a:xfrm>
            <a:custGeom>
              <a:avLst/>
              <a:gdLst>
                <a:gd name="connsiteX0" fmla="*/ 10448 w 218409"/>
                <a:gd name="connsiteY0" fmla="*/ 26539 h 43424"/>
                <a:gd name="connsiteX1" fmla="*/ -987 w 218409"/>
                <a:gd name="connsiteY1" fmla="*/ 11286 h 43424"/>
                <a:gd name="connsiteX2" fmla="*/ 14282 w 218409"/>
                <a:gd name="connsiteY2" fmla="*/ -132 h 43424"/>
                <a:gd name="connsiteX3" fmla="*/ 203398 w 218409"/>
                <a:gd name="connsiteY3" fmla="*/ 16213 h 43424"/>
                <a:gd name="connsiteX4" fmla="*/ 217288 w 218409"/>
                <a:gd name="connsiteY4" fmla="*/ 30171 h 43424"/>
                <a:gd name="connsiteX5" fmla="*/ 202725 w 218409"/>
                <a:gd name="connsiteY5" fmla="*/ 43129 h 43424"/>
                <a:gd name="connsiteX6" fmla="*/ 202557 w 218409"/>
                <a:gd name="connsiteY6" fmla="*/ 43119 h 43424"/>
                <a:gd name="connsiteX7" fmla="*/ 10448 w 218409"/>
                <a:gd name="connsiteY7" fmla="*/ 26539 h 43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8409" h="43424">
                  <a:moveTo>
                    <a:pt x="10448" y="26539"/>
                  </a:moveTo>
                  <a:cubicBezTo>
                    <a:pt x="3083" y="25479"/>
                    <a:pt x="-2029" y="18652"/>
                    <a:pt x="-987" y="11286"/>
                  </a:cubicBezTo>
                  <a:cubicBezTo>
                    <a:pt x="89" y="3921"/>
                    <a:pt x="6917" y="-1191"/>
                    <a:pt x="14282" y="-132"/>
                  </a:cubicBezTo>
                  <a:cubicBezTo>
                    <a:pt x="76973" y="8861"/>
                    <a:pt x="140101" y="14317"/>
                    <a:pt x="203398" y="16213"/>
                  </a:cubicBezTo>
                  <a:cubicBezTo>
                    <a:pt x="211066" y="16321"/>
                    <a:pt x="217220" y="22519"/>
                    <a:pt x="217288" y="30171"/>
                  </a:cubicBezTo>
                  <a:cubicBezTo>
                    <a:pt x="216851" y="37775"/>
                    <a:pt x="210326" y="43577"/>
                    <a:pt x="202725" y="43129"/>
                  </a:cubicBezTo>
                  <a:cubicBezTo>
                    <a:pt x="202658" y="43126"/>
                    <a:pt x="202624" y="43123"/>
                    <a:pt x="202557" y="43119"/>
                  </a:cubicBezTo>
                  <a:cubicBezTo>
                    <a:pt x="138251" y="41192"/>
                    <a:pt x="74115" y="35656"/>
                    <a:pt x="10448" y="26539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07A7B65C-8A4A-4847-BCF9-3FBEE6DEE482}"/>
                </a:ext>
              </a:extLst>
            </p:cNvPr>
            <p:cNvSpPr/>
            <p:nvPr/>
          </p:nvSpPr>
          <p:spPr>
            <a:xfrm>
              <a:off x="1668620" y="6013445"/>
              <a:ext cx="674127" cy="365424"/>
            </a:xfrm>
            <a:custGeom>
              <a:avLst/>
              <a:gdLst>
                <a:gd name="connsiteX0" fmla="*/ 294647 w 674127"/>
                <a:gd name="connsiteY0" fmla="*/ 26954 h 365424"/>
                <a:gd name="connsiteX1" fmla="*/ 294647 w 674127"/>
                <a:gd name="connsiteY1" fmla="*/ 27324 h 365424"/>
                <a:gd name="connsiteX2" fmla="*/ 443841 w 674127"/>
                <a:gd name="connsiteY2" fmla="*/ 48983 h 365424"/>
                <a:gd name="connsiteX3" fmla="*/ 594783 w 674127"/>
                <a:gd name="connsiteY3" fmla="*/ 55205 h 365424"/>
                <a:gd name="connsiteX4" fmla="*/ 607866 w 674127"/>
                <a:gd name="connsiteY4" fmla="*/ 67145 h 365424"/>
                <a:gd name="connsiteX5" fmla="*/ 596801 w 674127"/>
                <a:gd name="connsiteY5" fmla="*/ 82027 h 365424"/>
                <a:gd name="connsiteX6" fmla="*/ 595624 w 674127"/>
                <a:gd name="connsiteY6" fmla="*/ 82144 h 365424"/>
                <a:gd name="connsiteX7" fmla="*/ 244232 w 674127"/>
                <a:gd name="connsiteY7" fmla="*/ 44207 h 365424"/>
                <a:gd name="connsiteX8" fmla="*/ 227181 w 674127"/>
                <a:gd name="connsiteY8" fmla="*/ 56496 h 365424"/>
                <a:gd name="connsiteX9" fmla="*/ 237506 w 674127"/>
                <a:gd name="connsiteY9" fmla="*/ 73097 h 365424"/>
                <a:gd name="connsiteX10" fmla="*/ 389625 w 674127"/>
                <a:gd name="connsiteY10" fmla="*/ 100003 h 365424"/>
                <a:gd name="connsiteX11" fmla="*/ 401464 w 674127"/>
                <a:gd name="connsiteY11" fmla="*/ 113692 h 365424"/>
                <a:gd name="connsiteX12" fmla="*/ 388280 w 674127"/>
                <a:gd name="connsiteY12" fmla="*/ 126882 h 365424"/>
                <a:gd name="connsiteX13" fmla="*/ 386868 w 674127"/>
                <a:gd name="connsiteY13" fmla="*/ 126808 h 365424"/>
                <a:gd name="connsiteX14" fmla="*/ 292293 w 674127"/>
                <a:gd name="connsiteY14" fmla="*/ 112077 h 365424"/>
                <a:gd name="connsiteX15" fmla="*/ 275410 w 674127"/>
                <a:gd name="connsiteY15" fmla="*/ 124525 h 365424"/>
                <a:gd name="connsiteX16" fmla="*/ 286777 w 674127"/>
                <a:gd name="connsiteY16" fmla="*/ 141203 h 365424"/>
                <a:gd name="connsiteX17" fmla="*/ 385152 w 674127"/>
                <a:gd name="connsiteY17" fmla="*/ 156472 h 365424"/>
                <a:gd name="connsiteX18" fmla="*/ 434626 w 674127"/>
                <a:gd name="connsiteY18" fmla="*/ 161887 h 365424"/>
                <a:gd name="connsiteX19" fmla="*/ 459446 w 674127"/>
                <a:gd name="connsiteY19" fmla="*/ 163905 h 365424"/>
                <a:gd name="connsiteX20" fmla="*/ 471857 w 674127"/>
                <a:gd name="connsiteY20" fmla="*/ 164880 h 365424"/>
                <a:gd name="connsiteX21" fmla="*/ 484301 w 674127"/>
                <a:gd name="connsiteY21" fmla="*/ 165587 h 365424"/>
                <a:gd name="connsiteX22" fmla="*/ 497485 w 674127"/>
                <a:gd name="connsiteY22" fmla="*/ 178468 h 365424"/>
                <a:gd name="connsiteX23" fmla="*/ 484671 w 674127"/>
                <a:gd name="connsiteY23" fmla="*/ 192533 h 365424"/>
                <a:gd name="connsiteX24" fmla="*/ 483292 w 674127"/>
                <a:gd name="connsiteY24" fmla="*/ 192526 h 365424"/>
                <a:gd name="connsiteX25" fmla="*/ 366756 w 674127"/>
                <a:gd name="connsiteY25" fmla="*/ 181327 h 365424"/>
                <a:gd name="connsiteX26" fmla="*/ 251329 w 674127"/>
                <a:gd name="connsiteY26" fmla="*/ 161685 h 365424"/>
                <a:gd name="connsiteX27" fmla="*/ 233504 w 674127"/>
                <a:gd name="connsiteY27" fmla="*/ 172757 h 365424"/>
                <a:gd name="connsiteX28" fmla="*/ 244602 w 674127"/>
                <a:gd name="connsiteY28" fmla="*/ 190572 h 365424"/>
                <a:gd name="connsiteX29" fmla="*/ 245241 w 674127"/>
                <a:gd name="connsiteY29" fmla="*/ 190710 h 365424"/>
                <a:gd name="connsiteX30" fmla="*/ 657878 w 674127"/>
                <a:gd name="connsiteY30" fmla="*/ 223434 h 365424"/>
                <a:gd name="connsiteX31" fmla="*/ 672844 w 674127"/>
                <a:gd name="connsiteY31" fmla="*/ 234802 h 365424"/>
                <a:gd name="connsiteX32" fmla="*/ 661611 w 674127"/>
                <a:gd name="connsiteY32" fmla="*/ 250152 h 365424"/>
                <a:gd name="connsiteX33" fmla="*/ 659761 w 674127"/>
                <a:gd name="connsiteY33" fmla="*/ 250307 h 365424"/>
                <a:gd name="connsiteX34" fmla="*/ 144378 w 674127"/>
                <a:gd name="connsiteY34" fmla="*/ 194241 h 365424"/>
                <a:gd name="connsiteX35" fmla="*/ 125510 w 674127"/>
                <a:gd name="connsiteY35" fmla="*/ 204331 h 365424"/>
                <a:gd name="connsiteX36" fmla="*/ 136205 w 674127"/>
                <a:gd name="connsiteY36" fmla="*/ 222600 h 365424"/>
                <a:gd name="connsiteX37" fmla="*/ 136575 w 674127"/>
                <a:gd name="connsiteY37" fmla="*/ 222695 h 365424"/>
                <a:gd name="connsiteX38" fmla="*/ 279815 w 674127"/>
                <a:gd name="connsiteY38" fmla="*/ 254881 h 365424"/>
                <a:gd name="connsiteX39" fmla="*/ 292394 w 674127"/>
                <a:gd name="connsiteY39" fmla="*/ 269309 h 365424"/>
                <a:gd name="connsiteX40" fmla="*/ 277192 w 674127"/>
                <a:gd name="connsiteY40" fmla="*/ 281740 h 365424"/>
                <a:gd name="connsiteX41" fmla="*/ 275578 w 674127"/>
                <a:gd name="connsiteY41" fmla="*/ 281484 h 365424"/>
                <a:gd name="connsiteX42" fmla="*/ 260578 w 674127"/>
                <a:gd name="connsiteY42" fmla="*/ 278760 h 365424"/>
                <a:gd name="connsiteX43" fmla="*/ 242652 w 674127"/>
                <a:gd name="connsiteY43" fmla="*/ 289747 h 365424"/>
                <a:gd name="connsiteX44" fmla="*/ 253650 w 674127"/>
                <a:gd name="connsiteY44" fmla="*/ 307670 h 365424"/>
                <a:gd name="connsiteX45" fmla="*/ 255163 w 674127"/>
                <a:gd name="connsiteY45" fmla="*/ 307953 h 365424"/>
                <a:gd name="connsiteX46" fmla="*/ 560983 w 674127"/>
                <a:gd name="connsiteY46" fmla="*/ 338222 h 365424"/>
                <a:gd name="connsiteX47" fmla="*/ 575613 w 674127"/>
                <a:gd name="connsiteY47" fmla="*/ 351675 h 365424"/>
                <a:gd name="connsiteX48" fmla="*/ 560848 w 674127"/>
                <a:gd name="connsiteY48" fmla="*/ 365138 h 365424"/>
                <a:gd name="connsiteX49" fmla="*/ 560646 w 674127"/>
                <a:gd name="connsiteY49" fmla="*/ 365128 h 365424"/>
                <a:gd name="connsiteX50" fmla="*/ 234008 w 674127"/>
                <a:gd name="connsiteY50" fmla="*/ 331496 h 365424"/>
                <a:gd name="connsiteX51" fmla="*/ 234008 w 674127"/>
                <a:gd name="connsiteY51" fmla="*/ 331496 h 365424"/>
                <a:gd name="connsiteX52" fmla="*/ 117438 w 674127"/>
                <a:gd name="connsiteY52" fmla="*/ 304354 h 365424"/>
                <a:gd name="connsiteX53" fmla="*/ 15969 w 674127"/>
                <a:gd name="connsiteY53" fmla="*/ 225822 h 365424"/>
                <a:gd name="connsiteX54" fmla="*/ -847 w 674127"/>
                <a:gd name="connsiteY54" fmla="*/ 167504 h 365424"/>
                <a:gd name="connsiteX55" fmla="*/ 8536 w 674127"/>
                <a:gd name="connsiteY55" fmla="*/ 106629 h 365424"/>
                <a:gd name="connsiteX56" fmla="*/ 8536 w 674127"/>
                <a:gd name="connsiteY56" fmla="*/ 106629 h 365424"/>
                <a:gd name="connsiteX57" fmla="*/ 41092 w 674127"/>
                <a:gd name="connsiteY57" fmla="*/ 54196 h 365424"/>
                <a:gd name="connsiteX58" fmla="*/ 63122 w 674127"/>
                <a:gd name="connsiteY58" fmla="*/ 34016 h 365424"/>
                <a:gd name="connsiteX59" fmla="*/ 87740 w 674127"/>
                <a:gd name="connsiteY59" fmla="*/ 18310 h 365424"/>
                <a:gd name="connsiteX60" fmla="*/ 198425 w 674127"/>
                <a:gd name="connsiteY60" fmla="*/ 4689 h 365424"/>
                <a:gd name="connsiteX61" fmla="*/ 294647 w 674127"/>
                <a:gd name="connsiteY61" fmla="*/ 26954 h 365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674127" h="365424">
                  <a:moveTo>
                    <a:pt x="294647" y="26954"/>
                  </a:moveTo>
                  <a:lnTo>
                    <a:pt x="294647" y="27324"/>
                  </a:lnTo>
                  <a:cubicBezTo>
                    <a:pt x="343986" y="37047"/>
                    <a:pt x="393762" y="44278"/>
                    <a:pt x="443841" y="48983"/>
                  </a:cubicBezTo>
                  <a:cubicBezTo>
                    <a:pt x="494021" y="53648"/>
                    <a:pt x="544402" y="55723"/>
                    <a:pt x="594783" y="55205"/>
                  </a:cubicBezTo>
                  <a:cubicBezTo>
                    <a:pt x="601510" y="55346"/>
                    <a:pt x="607127" y="60451"/>
                    <a:pt x="607866" y="67145"/>
                  </a:cubicBezTo>
                  <a:cubicBezTo>
                    <a:pt x="608909" y="74312"/>
                    <a:pt x="603965" y="80974"/>
                    <a:pt x="596801" y="82027"/>
                  </a:cubicBezTo>
                  <a:cubicBezTo>
                    <a:pt x="596398" y="82084"/>
                    <a:pt x="596028" y="82121"/>
                    <a:pt x="595624" y="82144"/>
                  </a:cubicBezTo>
                  <a:cubicBezTo>
                    <a:pt x="477406" y="83298"/>
                    <a:pt x="359491" y="70565"/>
                    <a:pt x="244232" y="44207"/>
                  </a:cubicBezTo>
                  <a:cubicBezTo>
                    <a:pt x="236127" y="42889"/>
                    <a:pt x="228492" y="48391"/>
                    <a:pt x="227181" y="56496"/>
                  </a:cubicBezTo>
                  <a:cubicBezTo>
                    <a:pt x="225970" y="63835"/>
                    <a:pt x="230409" y="70925"/>
                    <a:pt x="237506" y="73097"/>
                  </a:cubicBezTo>
                  <a:cubicBezTo>
                    <a:pt x="287719" y="84600"/>
                    <a:pt x="338504" y="93580"/>
                    <a:pt x="389625" y="100003"/>
                  </a:cubicBezTo>
                  <a:cubicBezTo>
                    <a:pt x="396486" y="100905"/>
                    <a:pt x="401565" y="106787"/>
                    <a:pt x="401464" y="113692"/>
                  </a:cubicBezTo>
                  <a:cubicBezTo>
                    <a:pt x="401464" y="120973"/>
                    <a:pt x="395578" y="126879"/>
                    <a:pt x="388280" y="126882"/>
                  </a:cubicBezTo>
                  <a:cubicBezTo>
                    <a:pt x="387809" y="126886"/>
                    <a:pt x="387339" y="126859"/>
                    <a:pt x="386868" y="126808"/>
                  </a:cubicBezTo>
                  <a:cubicBezTo>
                    <a:pt x="355186" y="123008"/>
                    <a:pt x="323672" y="117862"/>
                    <a:pt x="292293" y="112077"/>
                  </a:cubicBezTo>
                  <a:cubicBezTo>
                    <a:pt x="284188" y="110853"/>
                    <a:pt x="276620" y="116426"/>
                    <a:pt x="275410" y="124525"/>
                  </a:cubicBezTo>
                  <a:cubicBezTo>
                    <a:pt x="274266" y="132203"/>
                    <a:pt x="279210" y="139474"/>
                    <a:pt x="286777" y="141203"/>
                  </a:cubicBezTo>
                  <a:cubicBezTo>
                    <a:pt x="319401" y="147223"/>
                    <a:pt x="352192" y="152571"/>
                    <a:pt x="385152" y="156472"/>
                  </a:cubicBezTo>
                  <a:cubicBezTo>
                    <a:pt x="401599" y="158726"/>
                    <a:pt x="418146" y="160138"/>
                    <a:pt x="434626" y="161887"/>
                  </a:cubicBezTo>
                  <a:lnTo>
                    <a:pt x="459446" y="163905"/>
                  </a:lnTo>
                  <a:lnTo>
                    <a:pt x="471857" y="164880"/>
                  </a:lnTo>
                  <a:lnTo>
                    <a:pt x="484301" y="165587"/>
                  </a:lnTo>
                  <a:cubicBezTo>
                    <a:pt x="491330" y="165926"/>
                    <a:pt x="496980" y="171455"/>
                    <a:pt x="497485" y="178468"/>
                  </a:cubicBezTo>
                  <a:cubicBezTo>
                    <a:pt x="497821" y="185890"/>
                    <a:pt x="492103" y="192186"/>
                    <a:pt x="484671" y="192533"/>
                  </a:cubicBezTo>
                  <a:cubicBezTo>
                    <a:pt x="484200" y="192553"/>
                    <a:pt x="483763" y="192553"/>
                    <a:pt x="483292" y="192526"/>
                  </a:cubicBezTo>
                  <a:cubicBezTo>
                    <a:pt x="444345" y="190071"/>
                    <a:pt x="405433" y="186607"/>
                    <a:pt x="366756" y="181327"/>
                  </a:cubicBezTo>
                  <a:cubicBezTo>
                    <a:pt x="328078" y="176046"/>
                    <a:pt x="289401" y="169555"/>
                    <a:pt x="251329" y="161685"/>
                  </a:cubicBezTo>
                  <a:cubicBezTo>
                    <a:pt x="243358" y="159825"/>
                    <a:pt x="235387" y="164783"/>
                    <a:pt x="233504" y="172757"/>
                  </a:cubicBezTo>
                  <a:cubicBezTo>
                    <a:pt x="231654" y="180735"/>
                    <a:pt x="236598" y="188712"/>
                    <a:pt x="244602" y="190572"/>
                  </a:cubicBezTo>
                  <a:cubicBezTo>
                    <a:pt x="244804" y="190623"/>
                    <a:pt x="245006" y="190670"/>
                    <a:pt x="245241" y="190710"/>
                  </a:cubicBezTo>
                  <a:cubicBezTo>
                    <a:pt x="380881" y="218746"/>
                    <a:pt x="519514" y="229737"/>
                    <a:pt x="657878" y="223434"/>
                  </a:cubicBezTo>
                  <a:cubicBezTo>
                    <a:pt x="665008" y="222964"/>
                    <a:pt x="671398" y="227813"/>
                    <a:pt x="672844" y="234802"/>
                  </a:cubicBezTo>
                  <a:cubicBezTo>
                    <a:pt x="673988" y="242144"/>
                    <a:pt x="668943" y="249015"/>
                    <a:pt x="661611" y="250152"/>
                  </a:cubicBezTo>
                  <a:cubicBezTo>
                    <a:pt x="661006" y="250246"/>
                    <a:pt x="660367" y="250297"/>
                    <a:pt x="659761" y="250307"/>
                  </a:cubicBezTo>
                  <a:cubicBezTo>
                    <a:pt x="486083" y="258412"/>
                    <a:pt x="312237" y="239501"/>
                    <a:pt x="144378" y="194241"/>
                  </a:cubicBezTo>
                  <a:cubicBezTo>
                    <a:pt x="136406" y="191938"/>
                    <a:pt x="128032" y="196411"/>
                    <a:pt x="125510" y="204331"/>
                  </a:cubicBezTo>
                  <a:cubicBezTo>
                    <a:pt x="123424" y="212329"/>
                    <a:pt x="128200" y="220508"/>
                    <a:pt x="136205" y="222600"/>
                  </a:cubicBezTo>
                  <a:cubicBezTo>
                    <a:pt x="136306" y="222634"/>
                    <a:pt x="136440" y="222664"/>
                    <a:pt x="136575" y="222695"/>
                  </a:cubicBezTo>
                  <a:cubicBezTo>
                    <a:pt x="183829" y="235475"/>
                    <a:pt x="231553" y="246204"/>
                    <a:pt x="279815" y="254881"/>
                  </a:cubicBezTo>
                  <a:cubicBezTo>
                    <a:pt x="287046" y="255829"/>
                    <a:pt x="292427" y="262014"/>
                    <a:pt x="292394" y="269309"/>
                  </a:cubicBezTo>
                  <a:cubicBezTo>
                    <a:pt x="291620" y="276940"/>
                    <a:pt x="284826" y="282507"/>
                    <a:pt x="277192" y="281740"/>
                  </a:cubicBezTo>
                  <a:cubicBezTo>
                    <a:pt x="276654" y="281686"/>
                    <a:pt x="276116" y="281602"/>
                    <a:pt x="275578" y="281484"/>
                  </a:cubicBezTo>
                  <a:cubicBezTo>
                    <a:pt x="270566" y="280677"/>
                    <a:pt x="265488" y="279735"/>
                    <a:pt x="260578" y="278760"/>
                  </a:cubicBezTo>
                  <a:cubicBezTo>
                    <a:pt x="252607" y="276846"/>
                    <a:pt x="244569" y="281763"/>
                    <a:pt x="242652" y="289747"/>
                  </a:cubicBezTo>
                  <a:cubicBezTo>
                    <a:pt x="240734" y="297732"/>
                    <a:pt x="245645" y="305757"/>
                    <a:pt x="253650" y="307670"/>
                  </a:cubicBezTo>
                  <a:cubicBezTo>
                    <a:pt x="254154" y="307791"/>
                    <a:pt x="254658" y="307885"/>
                    <a:pt x="255163" y="307953"/>
                  </a:cubicBezTo>
                  <a:cubicBezTo>
                    <a:pt x="356027" y="326895"/>
                    <a:pt x="458370" y="337021"/>
                    <a:pt x="560983" y="338222"/>
                  </a:cubicBezTo>
                  <a:cubicBezTo>
                    <a:pt x="568685" y="338027"/>
                    <a:pt x="575176" y="343980"/>
                    <a:pt x="575613" y="351675"/>
                  </a:cubicBezTo>
                  <a:cubicBezTo>
                    <a:pt x="575243" y="359468"/>
                    <a:pt x="568651" y="365495"/>
                    <a:pt x="560848" y="365138"/>
                  </a:cubicBezTo>
                  <a:cubicBezTo>
                    <a:pt x="560781" y="365135"/>
                    <a:pt x="560714" y="365131"/>
                    <a:pt x="560646" y="365128"/>
                  </a:cubicBezTo>
                  <a:cubicBezTo>
                    <a:pt x="450971" y="363934"/>
                    <a:pt x="341632" y="352677"/>
                    <a:pt x="234008" y="331496"/>
                  </a:cubicBezTo>
                  <a:lnTo>
                    <a:pt x="234008" y="331496"/>
                  </a:lnTo>
                  <a:cubicBezTo>
                    <a:pt x="194860" y="323726"/>
                    <a:pt x="155947" y="314679"/>
                    <a:pt x="117438" y="304354"/>
                  </a:cubicBezTo>
                  <a:cubicBezTo>
                    <a:pt x="71462" y="291910"/>
                    <a:pt x="35341" y="262347"/>
                    <a:pt x="15969" y="225822"/>
                  </a:cubicBezTo>
                  <a:cubicBezTo>
                    <a:pt x="6215" y="207826"/>
                    <a:pt x="464" y="187929"/>
                    <a:pt x="-847" y="167504"/>
                  </a:cubicBezTo>
                  <a:cubicBezTo>
                    <a:pt x="-2125" y="146773"/>
                    <a:pt x="1069" y="126011"/>
                    <a:pt x="8536" y="106629"/>
                  </a:cubicBezTo>
                  <a:lnTo>
                    <a:pt x="8536" y="106629"/>
                  </a:lnTo>
                  <a:cubicBezTo>
                    <a:pt x="15969" y="87240"/>
                    <a:pt x="27000" y="69445"/>
                    <a:pt x="41092" y="54196"/>
                  </a:cubicBezTo>
                  <a:cubicBezTo>
                    <a:pt x="47819" y="46840"/>
                    <a:pt x="55218" y="40091"/>
                    <a:pt x="63122" y="34016"/>
                  </a:cubicBezTo>
                  <a:cubicBezTo>
                    <a:pt x="70890" y="28148"/>
                    <a:pt x="79131" y="22898"/>
                    <a:pt x="87740" y="18310"/>
                  </a:cubicBezTo>
                  <a:cubicBezTo>
                    <a:pt x="121978" y="552"/>
                    <a:pt x="160757" y="-5535"/>
                    <a:pt x="198425" y="4689"/>
                  </a:cubicBezTo>
                  <a:cubicBezTo>
                    <a:pt x="230342" y="13265"/>
                    <a:pt x="262428" y="20563"/>
                    <a:pt x="294647" y="2695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C9C1714A-DEE9-4614-A149-90581D8E4FA7}"/>
                </a:ext>
              </a:extLst>
            </p:cNvPr>
            <p:cNvSpPr/>
            <p:nvPr/>
          </p:nvSpPr>
          <p:spPr>
            <a:xfrm>
              <a:off x="3711366" y="4269807"/>
              <a:ext cx="316777" cy="634371"/>
            </a:xfrm>
            <a:custGeom>
              <a:avLst/>
              <a:gdLst>
                <a:gd name="connsiteX0" fmla="*/ 93379 w 316777"/>
                <a:gd name="connsiteY0" fmla="*/ 617906 h 634371"/>
                <a:gd name="connsiteX1" fmla="*/ 112550 w 316777"/>
                <a:gd name="connsiteY1" fmla="*/ 469923 h 634371"/>
                <a:gd name="connsiteX2" fmla="*/ 116888 w 316777"/>
                <a:gd name="connsiteY2" fmla="*/ 395360 h 634371"/>
                <a:gd name="connsiteX3" fmla="*/ 117729 w 316777"/>
                <a:gd name="connsiteY3" fmla="*/ 357994 h 634371"/>
                <a:gd name="connsiteX4" fmla="*/ 117964 w 316777"/>
                <a:gd name="connsiteY4" fmla="*/ 339328 h 634371"/>
                <a:gd name="connsiteX5" fmla="*/ 117964 w 316777"/>
                <a:gd name="connsiteY5" fmla="*/ 320158 h 634371"/>
                <a:gd name="connsiteX6" fmla="*/ 104511 w 316777"/>
                <a:gd name="connsiteY6" fmla="*/ 304619 h 634371"/>
                <a:gd name="connsiteX7" fmla="*/ 88233 w 316777"/>
                <a:gd name="connsiteY7" fmla="*/ 318072 h 634371"/>
                <a:gd name="connsiteX8" fmla="*/ 88166 w 316777"/>
                <a:gd name="connsiteY8" fmla="*/ 319485 h 634371"/>
                <a:gd name="connsiteX9" fmla="*/ 87661 w 316777"/>
                <a:gd name="connsiteY9" fmla="*/ 380023 h 634371"/>
                <a:gd name="connsiteX10" fmla="*/ 84836 w 316777"/>
                <a:gd name="connsiteY10" fmla="*/ 439687 h 634371"/>
                <a:gd name="connsiteX11" fmla="*/ 79994 w 316777"/>
                <a:gd name="connsiteY11" fmla="*/ 499183 h 634371"/>
                <a:gd name="connsiteX12" fmla="*/ 72628 w 316777"/>
                <a:gd name="connsiteY12" fmla="*/ 558410 h 634371"/>
                <a:gd name="connsiteX13" fmla="*/ 57594 w 316777"/>
                <a:gd name="connsiteY13" fmla="*/ 570282 h 634371"/>
                <a:gd name="connsiteX14" fmla="*/ 45722 w 316777"/>
                <a:gd name="connsiteY14" fmla="*/ 555249 h 634371"/>
                <a:gd name="connsiteX15" fmla="*/ 60722 w 316777"/>
                <a:gd name="connsiteY15" fmla="*/ 366234 h 634371"/>
                <a:gd name="connsiteX16" fmla="*/ 46159 w 316777"/>
                <a:gd name="connsiteY16" fmla="*/ 352071 h 634371"/>
                <a:gd name="connsiteX17" fmla="*/ 46024 w 316777"/>
                <a:gd name="connsiteY17" fmla="*/ 352075 h 634371"/>
                <a:gd name="connsiteX18" fmla="*/ 46024 w 316777"/>
                <a:gd name="connsiteY18" fmla="*/ 352075 h 634371"/>
                <a:gd name="connsiteX19" fmla="*/ 30957 w 316777"/>
                <a:gd name="connsiteY19" fmla="*/ 365730 h 634371"/>
                <a:gd name="connsiteX20" fmla="*/ 30957 w 316777"/>
                <a:gd name="connsiteY20" fmla="*/ 378611 h 634371"/>
                <a:gd name="connsiteX21" fmla="*/ 30453 w 316777"/>
                <a:gd name="connsiteY21" fmla="*/ 391492 h 634371"/>
                <a:gd name="connsiteX22" fmla="*/ 29478 w 316777"/>
                <a:gd name="connsiteY22" fmla="*/ 417288 h 634371"/>
                <a:gd name="connsiteX23" fmla="*/ 27830 w 316777"/>
                <a:gd name="connsiteY23" fmla="*/ 443017 h 634371"/>
                <a:gd name="connsiteX24" fmla="*/ 26989 w 316777"/>
                <a:gd name="connsiteY24" fmla="*/ 455865 h 634371"/>
                <a:gd name="connsiteX25" fmla="*/ 25812 w 316777"/>
                <a:gd name="connsiteY25" fmla="*/ 468712 h 634371"/>
                <a:gd name="connsiteX26" fmla="*/ 11484 w 316777"/>
                <a:gd name="connsiteY26" fmla="*/ 481291 h 634371"/>
                <a:gd name="connsiteX27" fmla="*/ -1094 w 316777"/>
                <a:gd name="connsiteY27" fmla="*/ 466963 h 634371"/>
                <a:gd name="connsiteX28" fmla="*/ 318 w 316777"/>
                <a:gd name="connsiteY28" fmla="*/ 450551 h 634371"/>
                <a:gd name="connsiteX29" fmla="*/ 1327 w 316777"/>
                <a:gd name="connsiteY29" fmla="*/ 434071 h 634371"/>
                <a:gd name="connsiteX30" fmla="*/ 2336 w 316777"/>
                <a:gd name="connsiteY30" fmla="*/ 417591 h 634371"/>
                <a:gd name="connsiteX31" fmla="*/ 3009 w 316777"/>
                <a:gd name="connsiteY31" fmla="*/ 401111 h 634371"/>
                <a:gd name="connsiteX32" fmla="*/ 3984 w 316777"/>
                <a:gd name="connsiteY32" fmla="*/ 368084 h 634371"/>
                <a:gd name="connsiteX33" fmla="*/ 4320 w 316777"/>
                <a:gd name="connsiteY33" fmla="*/ 334451 h 634371"/>
                <a:gd name="connsiteX34" fmla="*/ 4119 w 316777"/>
                <a:gd name="connsiteY34" fmla="*/ 188588 h 634371"/>
                <a:gd name="connsiteX35" fmla="*/ 4488 w 316777"/>
                <a:gd name="connsiteY35" fmla="*/ 188588 h 634371"/>
                <a:gd name="connsiteX36" fmla="*/ 4488 w 316777"/>
                <a:gd name="connsiteY36" fmla="*/ 83856 h 634371"/>
                <a:gd name="connsiteX37" fmla="*/ 16630 w 316777"/>
                <a:gd name="connsiteY37" fmla="*/ 69730 h 634371"/>
                <a:gd name="connsiteX38" fmla="*/ 31462 w 316777"/>
                <a:gd name="connsiteY38" fmla="*/ 81660 h 634371"/>
                <a:gd name="connsiteX39" fmla="*/ 31529 w 316777"/>
                <a:gd name="connsiteY39" fmla="*/ 83183 h 634371"/>
                <a:gd name="connsiteX40" fmla="*/ 31529 w 316777"/>
                <a:gd name="connsiteY40" fmla="*/ 154215 h 634371"/>
                <a:gd name="connsiteX41" fmla="*/ 44982 w 316777"/>
                <a:gd name="connsiteY41" fmla="*/ 169720 h 634371"/>
                <a:gd name="connsiteX42" fmla="*/ 61260 w 316777"/>
                <a:gd name="connsiteY42" fmla="*/ 156337 h 634371"/>
                <a:gd name="connsiteX43" fmla="*/ 61327 w 316777"/>
                <a:gd name="connsiteY43" fmla="*/ 154854 h 634371"/>
                <a:gd name="connsiteX44" fmla="*/ 61327 w 316777"/>
                <a:gd name="connsiteY44" fmla="*/ 63912 h 634371"/>
                <a:gd name="connsiteX45" fmla="*/ 73469 w 316777"/>
                <a:gd name="connsiteY45" fmla="*/ 49786 h 634371"/>
                <a:gd name="connsiteX46" fmla="*/ 88301 w 316777"/>
                <a:gd name="connsiteY46" fmla="*/ 61716 h 634371"/>
                <a:gd name="connsiteX47" fmla="*/ 88368 w 316777"/>
                <a:gd name="connsiteY47" fmla="*/ 63239 h 634371"/>
                <a:gd name="connsiteX48" fmla="*/ 88368 w 316777"/>
                <a:gd name="connsiteY48" fmla="*/ 197769 h 634371"/>
                <a:gd name="connsiteX49" fmla="*/ 101821 w 316777"/>
                <a:gd name="connsiteY49" fmla="*/ 213274 h 634371"/>
                <a:gd name="connsiteX50" fmla="*/ 118099 w 316777"/>
                <a:gd name="connsiteY50" fmla="*/ 199891 h 634371"/>
                <a:gd name="connsiteX51" fmla="*/ 118166 w 316777"/>
                <a:gd name="connsiteY51" fmla="*/ 198408 h 634371"/>
                <a:gd name="connsiteX52" fmla="*/ 118166 w 316777"/>
                <a:gd name="connsiteY52" fmla="*/ 98856 h 634371"/>
                <a:gd name="connsiteX53" fmla="*/ 130308 w 316777"/>
                <a:gd name="connsiteY53" fmla="*/ 84697 h 634371"/>
                <a:gd name="connsiteX54" fmla="*/ 145140 w 316777"/>
                <a:gd name="connsiteY54" fmla="*/ 96626 h 634371"/>
                <a:gd name="connsiteX55" fmla="*/ 145207 w 316777"/>
                <a:gd name="connsiteY55" fmla="*/ 98150 h 634371"/>
                <a:gd name="connsiteX56" fmla="*/ 145207 w 316777"/>
                <a:gd name="connsiteY56" fmla="*/ 184585 h 634371"/>
                <a:gd name="connsiteX57" fmla="*/ 158660 w 316777"/>
                <a:gd name="connsiteY57" fmla="*/ 200090 h 634371"/>
                <a:gd name="connsiteX58" fmla="*/ 174938 w 316777"/>
                <a:gd name="connsiteY58" fmla="*/ 186707 h 634371"/>
                <a:gd name="connsiteX59" fmla="*/ 175005 w 316777"/>
                <a:gd name="connsiteY59" fmla="*/ 185224 h 634371"/>
                <a:gd name="connsiteX60" fmla="*/ 175005 w 316777"/>
                <a:gd name="connsiteY60" fmla="*/ 13934 h 634371"/>
                <a:gd name="connsiteX61" fmla="*/ 187146 w 316777"/>
                <a:gd name="connsiteY61" fmla="*/ -191 h 634371"/>
                <a:gd name="connsiteX62" fmla="*/ 201979 w 316777"/>
                <a:gd name="connsiteY62" fmla="*/ 11738 h 634371"/>
                <a:gd name="connsiteX63" fmla="*/ 202045 w 316777"/>
                <a:gd name="connsiteY63" fmla="*/ 13261 h 634371"/>
                <a:gd name="connsiteX64" fmla="*/ 202045 w 316777"/>
                <a:gd name="connsiteY64" fmla="*/ 164809 h 634371"/>
                <a:gd name="connsiteX65" fmla="*/ 216205 w 316777"/>
                <a:gd name="connsiteY65" fmla="*/ 180398 h 634371"/>
                <a:gd name="connsiteX66" fmla="*/ 231810 w 316777"/>
                <a:gd name="connsiteY66" fmla="*/ 166225 h 634371"/>
                <a:gd name="connsiteX67" fmla="*/ 231810 w 316777"/>
                <a:gd name="connsiteY67" fmla="*/ 164809 h 634371"/>
                <a:gd name="connsiteX68" fmla="*/ 231810 w 316777"/>
                <a:gd name="connsiteY68" fmla="*/ 141872 h 634371"/>
                <a:gd name="connsiteX69" fmla="*/ 243918 w 316777"/>
                <a:gd name="connsiteY69" fmla="*/ 127746 h 634371"/>
                <a:gd name="connsiteX70" fmla="*/ 258783 w 316777"/>
                <a:gd name="connsiteY70" fmla="*/ 139639 h 634371"/>
                <a:gd name="connsiteX71" fmla="*/ 258851 w 316777"/>
                <a:gd name="connsiteY71" fmla="*/ 141199 h 634371"/>
                <a:gd name="connsiteX72" fmla="*/ 258851 w 316777"/>
                <a:gd name="connsiteY72" fmla="*/ 205101 h 634371"/>
                <a:gd name="connsiteX73" fmla="*/ 272304 w 316777"/>
                <a:gd name="connsiteY73" fmla="*/ 220606 h 634371"/>
                <a:gd name="connsiteX74" fmla="*/ 288548 w 316777"/>
                <a:gd name="connsiteY74" fmla="*/ 207186 h 634371"/>
                <a:gd name="connsiteX75" fmla="*/ 288615 w 316777"/>
                <a:gd name="connsiteY75" fmla="*/ 205740 h 634371"/>
                <a:gd name="connsiteX76" fmla="*/ 288615 w 316777"/>
                <a:gd name="connsiteY76" fmla="*/ 75112 h 634371"/>
                <a:gd name="connsiteX77" fmla="*/ 300757 w 316777"/>
                <a:gd name="connsiteY77" fmla="*/ 60952 h 634371"/>
                <a:gd name="connsiteX78" fmla="*/ 315589 w 316777"/>
                <a:gd name="connsiteY78" fmla="*/ 72882 h 634371"/>
                <a:gd name="connsiteX79" fmla="*/ 315656 w 316777"/>
                <a:gd name="connsiteY79" fmla="*/ 74405 h 634371"/>
                <a:gd name="connsiteX80" fmla="*/ 315656 w 316777"/>
                <a:gd name="connsiteY80" fmla="*/ 188756 h 634371"/>
                <a:gd name="connsiteX81" fmla="*/ 315656 w 316777"/>
                <a:gd name="connsiteY81" fmla="*/ 188756 h 634371"/>
                <a:gd name="connsiteX82" fmla="*/ 315656 w 316777"/>
                <a:gd name="connsiteY82" fmla="*/ 338958 h 634371"/>
                <a:gd name="connsiteX83" fmla="*/ 315656 w 316777"/>
                <a:gd name="connsiteY83" fmla="*/ 338958 h 634371"/>
                <a:gd name="connsiteX84" fmla="*/ 315320 w 316777"/>
                <a:gd name="connsiteY84" fmla="*/ 369631 h 634371"/>
                <a:gd name="connsiteX85" fmla="*/ 315084 w 316777"/>
                <a:gd name="connsiteY85" fmla="*/ 385001 h 634371"/>
                <a:gd name="connsiteX86" fmla="*/ 314445 w 316777"/>
                <a:gd name="connsiteY86" fmla="*/ 400237 h 634371"/>
                <a:gd name="connsiteX87" fmla="*/ 313235 w 316777"/>
                <a:gd name="connsiteY87" fmla="*/ 430943 h 634371"/>
                <a:gd name="connsiteX88" fmla="*/ 311284 w 316777"/>
                <a:gd name="connsiteY88" fmla="*/ 461649 h 634371"/>
                <a:gd name="connsiteX89" fmla="*/ 298167 w 316777"/>
                <a:gd name="connsiteY89" fmla="*/ 476179 h 634371"/>
                <a:gd name="connsiteX90" fmla="*/ 284210 w 316777"/>
                <a:gd name="connsiteY90" fmla="*/ 461693 h 634371"/>
                <a:gd name="connsiteX91" fmla="*/ 284277 w 316777"/>
                <a:gd name="connsiteY91" fmla="*/ 460506 h 634371"/>
                <a:gd name="connsiteX92" fmla="*/ 286463 w 316777"/>
                <a:gd name="connsiteY92" fmla="*/ 423510 h 634371"/>
                <a:gd name="connsiteX93" fmla="*/ 287876 w 316777"/>
                <a:gd name="connsiteY93" fmla="*/ 386515 h 634371"/>
                <a:gd name="connsiteX94" fmla="*/ 288414 w 316777"/>
                <a:gd name="connsiteY94" fmla="*/ 349519 h 634371"/>
                <a:gd name="connsiteX95" fmla="*/ 288414 w 316777"/>
                <a:gd name="connsiteY95" fmla="*/ 340236 h 634371"/>
                <a:gd name="connsiteX96" fmla="*/ 288414 w 316777"/>
                <a:gd name="connsiteY96" fmla="*/ 314407 h 634371"/>
                <a:gd name="connsiteX97" fmla="*/ 274961 w 316777"/>
                <a:gd name="connsiteY97" fmla="*/ 298902 h 634371"/>
                <a:gd name="connsiteX98" fmla="*/ 258683 w 316777"/>
                <a:gd name="connsiteY98" fmla="*/ 312284 h 634371"/>
                <a:gd name="connsiteX99" fmla="*/ 258615 w 316777"/>
                <a:gd name="connsiteY99" fmla="*/ 313768 h 634371"/>
                <a:gd name="connsiteX100" fmla="*/ 258615 w 316777"/>
                <a:gd name="connsiteY100" fmla="*/ 339698 h 634371"/>
                <a:gd name="connsiteX101" fmla="*/ 258246 w 316777"/>
                <a:gd name="connsiteY101" fmla="*/ 367344 h 634371"/>
                <a:gd name="connsiteX102" fmla="*/ 245936 w 316777"/>
                <a:gd name="connsiteY102" fmla="*/ 382041 h 634371"/>
                <a:gd name="connsiteX103" fmla="*/ 231205 w 316777"/>
                <a:gd name="connsiteY103" fmla="*/ 368817 h 634371"/>
                <a:gd name="connsiteX104" fmla="*/ 231205 w 316777"/>
                <a:gd name="connsiteY104" fmla="*/ 367613 h 634371"/>
                <a:gd name="connsiteX105" fmla="*/ 231575 w 316777"/>
                <a:gd name="connsiteY105" fmla="*/ 334788 h 634371"/>
                <a:gd name="connsiteX106" fmla="*/ 218122 w 316777"/>
                <a:gd name="connsiteY106" fmla="*/ 319283 h 634371"/>
                <a:gd name="connsiteX107" fmla="*/ 201844 w 316777"/>
                <a:gd name="connsiteY107" fmla="*/ 332666 h 634371"/>
                <a:gd name="connsiteX108" fmla="*/ 201777 w 316777"/>
                <a:gd name="connsiteY108" fmla="*/ 334149 h 634371"/>
                <a:gd name="connsiteX109" fmla="*/ 194444 w 316777"/>
                <a:gd name="connsiteY109" fmla="*/ 495147 h 634371"/>
                <a:gd name="connsiteX110" fmla="*/ 180991 w 316777"/>
                <a:gd name="connsiteY110" fmla="*/ 508365 h 634371"/>
                <a:gd name="connsiteX111" fmla="*/ 167472 w 316777"/>
                <a:gd name="connsiteY111" fmla="*/ 494233 h 634371"/>
                <a:gd name="connsiteX112" fmla="*/ 167538 w 316777"/>
                <a:gd name="connsiteY112" fmla="*/ 493298 h 634371"/>
                <a:gd name="connsiteX113" fmla="*/ 174265 w 316777"/>
                <a:gd name="connsiteY113" fmla="*/ 373667 h 634371"/>
                <a:gd name="connsiteX114" fmla="*/ 161048 w 316777"/>
                <a:gd name="connsiteY114" fmla="*/ 357860 h 634371"/>
                <a:gd name="connsiteX115" fmla="*/ 144635 w 316777"/>
                <a:gd name="connsiteY115" fmla="*/ 370983 h 634371"/>
                <a:gd name="connsiteX116" fmla="*/ 144534 w 316777"/>
                <a:gd name="connsiteY116" fmla="*/ 372423 h 634371"/>
                <a:gd name="connsiteX117" fmla="*/ 137101 w 316777"/>
                <a:gd name="connsiteY117" fmla="*/ 498342 h 634371"/>
                <a:gd name="connsiteX118" fmla="*/ 119814 w 316777"/>
                <a:gd name="connsiteY118" fmla="*/ 623253 h 634371"/>
                <a:gd name="connsiteX119" fmla="*/ 103906 w 316777"/>
                <a:gd name="connsiteY119" fmla="*/ 633831 h 634371"/>
                <a:gd name="connsiteX120" fmla="*/ 93312 w 316777"/>
                <a:gd name="connsiteY120" fmla="*/ 617906 h 634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316777" h="634371">
                  <a:moveTo>
                    <a:pt x="93379" y="617906"/>
                  </a:moveTo>
                  <a:cubicBezTo>
                    <a:pt x="102124" y="568903"/>
                    <a:pt x="108514" y="519430"/>
                    <a:pt x="112550" y="469923"/>
                  </a:cubicBezTo>
                  <a:cubicBezTo>
                    <a:pt x="114534" y="445102"/>
                    <a:pt x="116115" y="420248"/>
                    <a:pt x="116888" y="395360"/>
                  </a:cubicBezTo>
                  <a:cubicBezTo>
                    <a:pt x="117493" y="382916"/>
                    <a:pt x="117594" y="370472"/>
                    <a:pt x="117729" y="357994"/>
                  </a:cubicBezTo>
                  <a:lnTo>
                    <a:pt x="117964" y="339328"/>
                  </a:lnTo>
                  <a:lnTo>
                    <a:pt x="117964" y="320158"/>
                  </a:lnTo>
                  <a:cubicBezTo>
                    <a:pt x="118099" y="312301"/>
                    <a:pt x="112314" y="305598"/>
                    <a:pt x="104511" y="304619"/>
                  </a:cubicBezTo>
                  <a:cubicBezTo>
                    <a:pt x="96305" y="303839"/>
                    <a:pt x="89007" y="309863"/>
                    <a:pt x="88233" y="318072"/>
                  </a:cubicBezTo>
                  <a:cubicBezTo>
                    <a:pt x="88200" y="318543"/>
                    <a:pt x="88166" y="319014"/>
                    <a:pt x="88166" y="319485"/>
                  </a:cubicBezTo>
                  <a:cubicBezTo>
                    <a:pt x="88166" y="340707"/>
                    <a:pt x="87863" y="360079"/>
                    <a:pt x="87661" y="380023"/>
                  </a:cubicBezTo>
                  <a:cubicBezTo>
                    <a:pt x="86821" y="399900"/>
                    <a:pt x="86350" y="419811"/>
                    <a:pt x="84836" y="439687"/>
                  </a:cubicBezTo>
                  <a:cubicBezTo>
                    <a:pt x="83323" y="459564"/>
                    <a:pt x="81742" y="479374"/>
                    <a:pt x="79994" y="499183"/>
                  </a:cubicBezTo>
                  <a:cubicBezTo>
                    <a:pt x="77706" y="518959"/>
                    <a:pt x="75621" y="538735"/>
                    <a:pt x="72628" y="558410"/>
                  </a:cubicBezTo>
                  <a:cubicBezTo>
                    <a:pt x="71753" y="565839"/>
                    <a:pt x="65027" y="571157"/>
                    <a:pt x="57594" y="570282"/>
                  </a:cubicBezTo>
                  <a:cubicBezTo>
                    <a:pt x="50162" y="569408"/>
                    <a:pt x="44847" y="562678"/>
                    <a:pt x="45722" y="555249"/>
                  </a:cubicBezTo>
                  <a:cubicBezTo>
                    <a:pt x="54702" y="492625"/>
                    <a:pt x="59713" y="429493"/>
                    <a:pt x="60722" y="366234"/>
                  </a:cubicBezTo>
                  <a:cubicBezTo>
                    <a:pt x="60621" y="358304"/>
                    <a:pt x="54096" y="351964"/>
                    <a:pt x="46159" y="352071"/>
                  </a:cubicBezTo>
                  <a:cubicBezTo>
                    <a:pt x="46125" y="352071"/>
                    <a:pt x="46058" y="352075"/>
                    <a:pt x="46024" y="352075"/>
                  </a:cubicBezTo>
                  <a:lnTo>
                    <a:pt x="46024" y="352075"/>
                  </a:lnTo>
                  <a:cubicBezTo>
                    <a:pt x="38121" y="351732"/>
                    <a:pt x="31394" y="357819"/>
                    <a:pt x="30957" y="365730"/>
                  </a:cubicBezTo>
                  <a:lnTo>
                    <a:pt x="30957" y="378611"/>
                  </a:lnTo>
                  <a:lnTo>
                    <a:pt x="30453" y="391492"/>
                  </a:lnTo>
                  <a:lnTo>
                    <a:pt x="29478" y="417288"/>
                  </a:lnTo>
                  <a:lnTo>
                    <a:pt x="27830" y="443017"/>
                  </a:lnTo>
                  <a:cubicBezTo>
                    <a:pt x="27527" y="447288"/>
                    <a:pt x="27325" y="451593"/>
                    <a:pt x="26989" y="455865"/>
                  </a:cubicBezTo>
                  <a:lnTo>
                    <a:pt x="25812" y="468712"/>
                  </a:lnTo>
                  <a:cubicBezTo>
                    <a:pt x="25341" y="476142"/>
                    <a:pt x="18917" y="481775"/>
                    <a:pt x="11484" y="481291"/>
                  </a:cubicBezTo>
                  <a:cubicBezTo>
                    <a:pt x="4051" y="480806"/>
                    <a:pt x="-1565" y="474393"/>
                    <a:pt x="-1094" y="466963"/>
                  </a:cubicBezTo>
                  <a:lnTo>
                    <a:pt x="318" y="450551"/>
                  </a:lnTo>
                  <a:lnTo>
                    <a:pt x="1327" y="434071"/>
                  </a:lnTo>
                  <a:lnTo>
                    <a:pt x="2336" y="417591"/>
                  </a:lnTo>
                  <a:cubicBezTo>
                    <a:pt x="2706" y="412109"/>
                    <a:pt x="2773" y="406593"/>
                    <a:pt x="3009" y="401111"/>
                  </a:cubicBezTo>
                  <a:cubicBezTo>
                    <a:pt x="3345" y="390113"/>
                    <a:pt x="4018" y="379115"/>
                    <a:pt x="3984" y="368084"/>
                  </a:cubicBezTo>
                  <a:lnTo>
                    <a:pt x="4320" y="334451"/>
                  </a:lnTo>
                  <a:lnTo>
                    <a:pt x="4119" y="188588"/>
                  </a:lnTo>
                  <a:lnTo>
                    <a:pt x="4488" y="188588"/>
                  </a:lnTo>
                  <a:lnTo>
                    <a:pt x="4488" y="83856"/>
                  </a:lnTo>
                  <a:cubicBezTo>
                    <a:pt x="4354" y="76746"/>
                    <a:pt x="9567" y="70669"/>
                    <a:pt x="16630" y="69730"/>
                  </a:cubicBezTo>
                  <a:cubicBezTo>
                    <a:pt x="24029" y="68930"/>
                    <a:pt x="30655" y="74271"/>
                    <a:pt x="31462" y="81660"/>
                  </a:cubicBezTo>
                  <a:cubicBezTo>
                    <a:pt x="31495" y="82164"/>
                    <a:pt x="31529" y="82676"/>
                    <a:pt x="31529" y="83183"/>
                  </a:cubicBezTo>
                  <a:lnTo>
                    <a:pt x="31529" y="154215"/>
                  </a:lnTo>
                  <a:cubicBezTo>
                    <a:pt x="31394" y="162065"/>
                    <a:pt x="37179" y="168758"/>
                    <a:pt x="44982" y="169720"/>
                  </a:cubicBezTo>
                  <a:cubicBezTo>
                    <a:pt x="53188" y="170517"/>
                    <a:pt x="60453" y="164527"/>
                    <a:pt x="61260" y="156337"/>
                  </a:cubicBezTo>
                  <a:cubicBezTo>
                    <a:pt x="61294" y="155843"/>
                    <a:pt x="61327" y="155349"/>
                    <a:pt x="61327" y="154854"/>
                  </a:cubicBezTo>
                  <a:lnTo>
                    <a:pt x="61327" y="63912"/>
                  </a:lnTo>
                  <a:cubicBezTo>
                    <a:pt x="61193" y="56802"/>
                    <a:pt x="66406" y="50725"/>
                    <a:pt x="73469" y="49786"/>
                  </a:cubicBezTo>
                  <a:cubicBezTo>
                    <a:pt x="80868" y="48986"/>
                    <a:pt x="87493" y="54327"/>
                    <a:pt x="88301" y="61716"/>
                  </a:cubicBezTo>
                  <a:cubicBezTo>
                    <a:pt x="88334" y="62220"/>
                    <a:pt x="88368" y="62731"/>
                    <a:pt x="88368" y="63239"/>
                  </a:cubicBezTo>
                  <a:lnTo>
                    <a:pt x="88368" y="197769"/>
                  </a:lnTo>
                  <a:cubicBezTo>
                    <a:pt x="88233" y="205619"/>
                    <a:pt x="94018" y="212312"/>
                    <a:pt x="101821" y="213274"/>
                  </a:cubicBezTo>
                  <a:cubicBezTo>
                    <a:pt x="110027" y="214071"/>
                    <a:pt x="117292" y="208081"/>
                    <a:pt x="118099" y="199891"/>
                  </a:cubicBezTo>
                  <a:cubicBezTo>
                    <a:pt x="118133" y="199397"/>
                    <a:pt x="118166" y="198903"/>
                    <a:pt x="118166" y="198408"/>
                  </a:cubicBezTo>
                  <a:lnTo>
                    <a:pt x="118166" y="98856"/>
                  </a:lnTo>
                  <a:cubicBezTo>
                    <a:pt x="118032" y="91733"/>
                    <a:pt x="123245" y="85638"/>
                    <a:pt x="130308" y="84697"/>
                  </a:cubicBezTo>
                  <a:cubicBezTo>
                    <a:pt x="137707" y="83900"/>
                    <a:pt x="144332" y="89237"/>
                    <a:pt x="145140" y="96626"/>
                  </a:cubicBezTo>
                  <a:cubicBezTo>
                    <a:pt x="145173" y="97131"/>
                    <a:pt x="145207" y="97642"/>
                    <a:pt x="145207" y="98150"/>
                  </a:cubicBezTo>
                  <a:lnTo>
                    <a:pt x="145207" y="184585"/>
                  </a:lnTo>
                  <a:cubicBezTo>
                    <a:pt x="145072" y="192435"/>
                    <a:pt x="150857" y="199128"/>
                    <a:pt x="158660" y="200090"/>
                  </a:cubicBezTo>
                  <a:cubicBezTo>
                    <a:pt x="166866" y="200887"/>
                    <a:pt x="174131" y="194897"/>
                    <a:pt x="174938" y="186707"/>
                  </a:cubicBezTo>
                  <a:cubicBezTo>
                    <a:pt x="174972" y="186213"/>
                    <a:pt x="175005" y="185719"/>
                    <a:pt x="175005" y="185224"/>
                  </a:cubicBezTo>
                  <a:lnTo>
                    <a:pt x="175005" y="13934"/>
                  </a:lnTo>
                  <a:cubicBezTo>
                    <a:pt x="174871" y="6824"/>
                    <a:pt x="180084" y="747"/>
                    <a:pt x="187146" y="-191"/>
                  </a:cubicBezTo>
                  <a:cubicBezTo>
                    <a:pt x="194545" y="-992"/>
                    <a:pt x="201171" y="4349"/>
                    <a:pt x="201979" y="11738"/>
                  </a:cubicBezTo>
                  <a:cubicBezTo>
                    <a:pt x="202012" y="12242"/>
                    <a:pt x="202045" y="12754"/>
                    <a:pt x="202045" y="13261"/>
                  </a:cubicBezTo>
                  <a:lnTo>
                    <a:pt x="202045" y="164809"/>
                  </a:lnTo>
                  <a:cubicBezTo>
                    <a:pt x="201642" y="173029"/>
                    <a:pt x="207998" y="180008"/>
                    <a:pt x="216205" y="180398"/>
                  </a:cubicBezTo>
                  <a:cubicBezTo>
                    <a:pt x="224445" y="180792"/>
                    <a:pt x="231407" y="174445"/>
                    <a:pt x="231810" y="166225"/>
                  </a:cubicBezTo>
                  <a:cubicBezTo>
                    <a:pt x="231844" y="165754"/>
                    <a:pt x="231844" y="165280"/>
                    <a:pt x="231810" y="164809"/>
                  </a:cubicBezTo>
                  <a:lnTo>
                    <a:pt x="231810" y="141872"/>
                  </a:lnTo>
                  <a:cubicBezTo>
                    <a:pt x="231676" y="134772"/>
                    <a:pt x="236889" y="128702"/>
                    <a:pt x="243918" y="127746"/>
                  </a:cubicBezTo>
                  <a:cubicBezTo>
                    <a:pt x="251317" y="126929"/>
                    <a:pt x="257943" y="132253"/>
                    <a:pt x="258783" y="139639"/>
                  </a:cubicBezTo>
                  <a:cubicBezTo>
                    <a:pt x="258817" y="140157"/>
                    <a:pt x="258851" y="140678"/>
                    <a:pt x="258851" y="141199"/>
                  </a:cubicBezTo>
                  <a:lnTo>
                    <a:pt x="258851" y="205101"/>
                  </a:lnTo>
                  <a:cubicBezTo>
                    <a:pt x="258716" y="212951"/>
                    <a:pt x="264501" y="219644"/>
                    <a:pt x="272304" y="220606"/>
                  </a:cubicBezTo>
                  <a:cubicBezTo>
                    <a:pt x="280510" y="221386"/>
                    <a:pt x="287775" y="215379"/>
                    <a:pt x="288548" y="207186"/>
                  </a:cubicBezTo>
                  <a:cubicBezTo>
                    <a:pt x="288582" y="206705"/>
                    <a:pt x="288615" y="206224"/>
                    <a:pt x="288615" y="205740"/>
                  </a:cubicBezTo>
                  <a:lnTo>
                    <a:pt x="288615" y="75112"/>
                  </a:lnTo>
                  <a:cubicBezTo>
                    <a:pt x="288481" y="67995"/>
                    <a:pt x="293694" y="61907"/>
                    <a:pt x="300757" y="60952"/>
                  </a:cubicBezTo>
                  <a:cubicBezTo>
                    <a:pt x="308156" y="60152"/>
                    <a:pt x="314781" y="65493"/>
                    <a:pt x="315589" y="72882"/>
                  </a:cubicBezTo>
                  <a:cubicBezTo>
                    <a:pt x="315622" y="73386"/>
                    <a:pt x="315656" y="73897"/>
                    <a:pt x="315656" y="74405"/>
                  </a:cubicBezTo>
                  <a:lnTo>
                    <a:pt x="315656" y="188756"/>
                  </a:lnTo>
                  <a:lnTo>
                    <a:pt x="315656" y="188756"/>
                  </a:lnTo>
                  <a:lnTo>
                    <a:pt x="315656" y="338958"/>
                  </a:lnTo>
                  <a:lnTo>
                    <a:pt x="315656" y="338958"/>
                  </a:lnTo>
                  <a:lnTo>
                    <a:pt x="315320" y="369631"/>
                  </a:lnTo>
                  <a:lnTo>
                    <a:pt x="315084" y="385001"/>
                  </a:lnTo>
                  <a:lnTo>
                    <a:pt x="314445" y="400237"/>
                  </a:lnTo>
                  <a:lnTo>
                    <a:pt x="313235" y="430943"/>
                  </a:lnTo>
                  <a:lnTo>
                    <a:pt x="311284" y="461649"/>
                  </a:lnTo>
                  <a:cubicBezTo>
                    <a:pt x="310779" y="469385"/>
                    <a:pt x="305297" y="475977"/>
                    <a:pt x="298167" y="476179"/>
                  </a:cubicBezTo>
                  <a:cubicBezTo>
                    <a:pt x="290297" y="476034"/>
                    <a:pt x="284075" y="469546"/>
                    <a:pt x="284210" y="461693"/>
                  </a:cubicBezTo>
                  <a:cubicBezTo>
                    <a:pt x="284210" y="461296"/>
                    <a:pt x="284243" y="460899"/>
                    <a:pt x="284277" y="460506"/>
                  </a:cubicBezTo>
                  <a:cubicBezTo>
                    <a:pt x="285017" y="448163"/>
                    <a:pt x="285959" y="435820"/>
                    <a:pt x="286463" y="423510"/>
                  </a:cubicBezTo>
                  <a:lnTo>
                    <a:pt x="287876" y="386515"/>
                  </a:lnTo>
                  <a:lnTo>
                    <a:pt x="288414" y="349519"/>
                  </a:lnTo>
                  <a:lnTo>
                    <a:pt x="288414" y="340236"/>
                  </a:lnTo>
                  <a:lnTo>
                    <a:pt x="288414" y="314407"/>
                  </a:lnTo>
                  <a:cubicBezTo>
                    <a:pt x="288548" y="306557"/>
                    <a:pt x="282763" y="299864"/>
                    <a:pt x="274961" y="298902"/>
                  </a:cubicBezTo>
                  <a:cubicBezTo>
                    <a:pt x="266754" y="298105"/>
                    <a:pt x="259490" y="304095"/>
                    <a:pt x="258683" y="312284"/>
                  </a:cubicBezTo>
                  <a:cubicBezTo>
                    <a:pt x="258649" y="312779"/>
                    <a:pt x="258615" y="313273"/>
                    <a:pt x="258615" y="313768"/>
                  </a:cubicBezTo>
                  <a:lnTo>
                    <a:pt x="258615" y="339698"/>
                  </a:lnTo>
                  <a:lnTo>
                    <a:pt x="258246" y="367344"/>
                  </a:lnTo>
                  <a:cubicBezTo>
                    <a:pt x="258514" y="374672"/>
                    <a:pt x="253201" y="381012"/>
                    <a:pt x="245936" y="382041"/>
                  </a:cubicBezTo>
                  <a:cubicBezTo>
                    <a:pt x="238234" y="382455"/>
                    <a:pt x="231642" y="376532"/>
                    <a:pt x="231205" y="368817"/>
                  </a:cubicBezTo>
                  <a:cubicBezTo>
                    <a:pt x="231205" y="368417"/>
                    <a:pt x="231205" y="368013"/>
                    <a:pt x="231205" y="367613"/>
                  </a:cubicBezTo>
                  <a:lnTo>
                    <a:pt x="231575" y="334788"/>
                  </a:lnTo>
                  <a:cubicBezTo>
                    <a:pt x="231709" y="326938"/>
                    <a:pt x="225925" y="320245"/>
                    <a:pt x="218122" y="319283"/>
                  </a:cubicBezTo>
                  <a:cubicBezTo>
                    <a:pt x="209916" y="318486"/>
                    <a:pt x="202651" y="324476"/>
                    <a:pt x="201844" y="332666"/>
                  </a:cubicBezTo>
                  <a:cubicBezTo>
                    <a:pt x="201810" y="333160"/>
                    <a:pt x="201777" y="333654"/>
                    <a:pt x="201777" y="334149"/>
                  </a:cubicBezTo>
                  <a:cubicBezTo>
                    <a:pt x="201777" y="387658"/>
                    <a:pt x="199489" y="441773"/>
                    <a:pt x="194444" y="495147"/>
                  </a:cubicBezTo>
                  <a:cubicBezTo>
                    <a:pt x="194007" y="502355"/>
                    <a:pt x="188189" y="508066"/>
                    <a:pt x="180991" y="508365"/>
                  </a:cubicBezTo>
                  <a:cubicBezTo>
                    <a:pt x="173357" y="508193"/>
                    <a:pt x="167303" y="501864"/>
                    <a:pt x="167472" y="494233"/>
                  </a:cubicBezTo>
                  <a:cubicBezTo>
                    <a:pt x="167505" y="493920"/>
                    <a:pt x="167505" y="493607"/>
                    <a:pt x="167538" y="493298"/>
                  </a:cubicBezTo>
                  <a:cubicBezTo>
                    <a:pt x="171541" y="453544"/>
                    <a:pt x="173357" y="413589"/>
                    <a:pt x="174265" y="373667"/>
                  </a:cubicBezTo>
                  <a:cubicBezTo>
                    <a:pt x="174568" y="365787"/>
                    <a:pt x="168850" y="358959"/>
                    <a:pt x="161048" y="357860"/>
                  </a:cubicBezTo>
                  <a:cubicBezTo>
                    <a:pt x="152875" y="356948"/>
                    <a:pt x="145543" y="362824"/>
                    <a:pt x="144635" y="370983"/>
                  </a:cubicBezTo>
                  <a:cubicBezTo>
                    <a:pt x="144568" y="371461"/>
                    <a:pt x="144534" y="371942"/>
                    <a:pt x="144534" y="372423"/>
                  </a:cubicBezTo>
                  <a:cubicBezTo>
                    <a:pt x="143525" y="414463"/>
                    <a:pt x="141171" y="456504"/>
                    <a:pt x="137101" y="498342"/>
                  </a:cubicBezTo>
                  <a:cubicBezTo>
                    <a:pt x="133032" y="540181"/>
                    <a:pt x="127012" y="581852"/>
                    <a:pt x="119814" y="623253"/>
                  </a:cubicBezTo>
                  <a:cubicBezTo>
                    <a:pt x="118334" y="630572"/>
                    <a:pt x="111204" y="635307"/>
                    <a:pt x="103906" y="633831"/>
                  </a:cubicBezTo>
                  <a:cubicBezTo>
                    <a:pt x="96574" y="632354"/>
                    <a:pt x="91832" y="625224"/>
                    <a:pt x="93312" y="617906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18ACD01A-6386-48E9-B5A3-87843C5DCBBB}"/>
                </a:ext>
              </a:extLst>
            </p:cNvPr>
            <p:cNvSpPr/>
            <p:nvPr/>
          </p:nvSpPr>
          <p:spPr>
            <a:xfrm>
              <a:off x="3697833" y="4772279"/>
              <a:ext cx="35653" cy="86677"/>
            </a:xfrm>
            <a:custGeom>
              <a:avLst/>
              <a:gdLst>
                <a:gd name="connsiteX0" fmla="*/ 25656 w 35653"/>
                <a:gd name="connsiteY0" fmla="*/ 76421 h 86677"/>
                <a:gd name="connsiteX1" fmla="*/ 30399 w 35653"/>
                <a:gd name="connsiteY1" fmla="*/ 44907 h 86677"/>
                <a:gd name="connsiteX2" fmla="*/ 32619 w 35653"/>
                <a:gd name="connsiteY2" fmla="*/ 29134 h 86677"/>
                <a:gd name="connsiteX3" fmla="*/ 34502 w 35653"/>
                <a:gd name="connsiteY3" fmla="*/ 13326 h 86677"/>
                <a:gd name="connsiteX4" fmla="*/ 22831 w 35653"/>
                <a:gd name="connsiteY4" fmla="*/ -127 h 86677"/>
                <a:gd name="connsiteX5" fmla="*/ 22024 w 35653"/>
                <a:gd name="connsiteY5" fmla="*/ -127 h 86677"/>
                <a:gd name="connsiteX6" fmla="*/ 7629 w 35653"/>
                <a:gd name="connsiteY6" fmla="*/ 10266 h 86677"/>
                <a:gd name="connsiteX7" fmla="*/ 5779 w 35653"/>
                <a:gd name="connsiteY7" fmla="*/ 25804 h 86677"/>
                <a:gd name="connsiteX8" fmla="*/ 3627 w 35653"/>
                <a:gd name="connsiteY8" fmla="*/ 41309 h 86677"/>
                <a:gd name="connsiteX9" fmla="*/ -1048 w 35653"/>
                <a:gd name="connsiteY9" fmla="*/ 72217 h 86677"/>
                <a:gd name="connsiteX10" fmla="*/ 9917 w 35653"/>
                <a:gd name="connsiteY10" fmla="*/ 86141 h 86677"/>
                <a:gd name="connsiteX11" fmla="*/ 10757 w 35653"/>
                <a:gd name="connsiteY11" fmla="*/ 86141 h 86677"/>
                <a:gd name="connsiteX12" fmla="*/ 25656 w 35653"/>
                <a:gd name="connsiteY12" fmla="*/ 76421 h 86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653" h="86677">
                  <a:moveTo>
                    <a:pt x="25656" y="76421"/>
                  </a:moveTo>
                  <a:cubicBezTo>
                    <a:pt x="27506" y="65961"/>
                    <a:pt x="29020" y="55434"/>
                    <a:pt x="30399" y="44907"/>
                  </a:cubicBezTo>
                  <a:lnTo>
                    <a:pt x="32619" y="29134"/>
                  </a:lnTo>
                  <a:cubicBezTo>
                    <a:pt x="33358" y="23887"/>
                    <a:pt x="33863" y="18573"/>
                    <a:pt x="34502" y="13326"/>
                  </a:cubicBezTo>
                  <a:cubicBezTo>
                    <a:pt x="34973" y="6391"/>
                    <a:pt x="29759" y="375"/>
                    <a:pt x="22831" y="-127"/>
                  </a:cubicBezTo>
                  <a:lnTo>
                    <a:pt x="22024" y="-127"/>
                  </a:lnTo>
                  <a:cubicBezTo>
                    <a:pt x="15197" y="-1159"/>
                    <a:pt x="8806" y="3459"/>
                    <a:pt x="7629" y="10266"/>
                  </a:cubicBezTo>
                  <a:cubicBezTo>
                    <a:pt x="6991" y="15445"/>
                    <a:pt x="6520" y="20625"/>
                    <a:pt x="5779" y="25804"/>
                  </a:cubicBezTo>
                  <a:lnTo>
                    <a:pt x="3627" y="41309"/>
                  </a:lnTo>
                  <a:cubicBezTo>
                    <a:pt x="2181" y="51634"/>
                    <a:pt x="768" y="61959"/>
                    <a:pt x="-1048" y="72217"/>
                  </a:cubicBezTo>
                  <a:cubicBezTo>
                    <a:pt x="-1788" y="79071"/>
                    <a:pt x="3089" y="85266"/>
                    <a:pt x="9917" y="86141"/>
                  </a:cubicBezTo>
                  <a:lnTo>
                    <a:pt x="10757" y="86141"/>
                  </a:lnTo>
                  <a:cubicBezTo>
                    <a:pt x="17551" y="87553"/>
                    <a:pt x="24210" y="83208"/>
                    <a:pt x="25656" y="76421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17A81CDF-5CBA-4979-A9B2-763DC46DD872}"/>
                </a:ext>
              </a:extLst>
            </p:cNvPr>
            <p:cNvSpPr/>
            <p:nvPr/>
          </p:nvSpPr>
          <p:spPr>
            <a:xfrm>
              <a:off x="3196402" y="5677740"/>
              <a:ext cx="73064" cy="67673"/>
            </a:xfrm>
            <a:custGeom>
              <a:avLst/>
              <a:gdLst>
                <a:gd name="connsiteX0" fmla="*/ 20380 w 73064"/>
                <a:gd name="connsiteY0" fmla="*/ 64742 h 67673"/>
                <a:gd name="connsiteX1" fmla="*/ 32589 w 73064"/>
                <a:gd name="connsiteY1" fmla="*/ 54417 h 67673"/>
                <a:gd name="connsiteX2" fmla="*/ 44528 w 73064"/>
                <a:gd name="connsiteY2" fmla="*/ 43856 h 67673"/>
                <a:gd name="connsiteX3" fmla="*/ 56501 w 73064"/>
                <a:gd name="connsiteY3" fmla="*/ 33296 h 67673"/>
                <a:gd name="connsiteX4" fmla="*/ 68239 w 73064"/>
                <a:gd name="connsiteY4" fmla="*/ 22432 h 67673"/>
                <a:gd name="connsiteX5" fmla="*/ 68306 w 73064"/>
                <a:gd name="connsiteY5" fmla="*/ 4738 h 67673"/>
                <a:gd name="connsiteX6" fmla="*/ 68239 w 73064"/>
                <a:gd name="connsiteY6" fmla="*/ 4675 h 67673"/>
                <a:gd name="connsiteX7" fmla="*/ 67667 w 73064"/>
                <a:gd name="connsiteY7" fmla="*/ 4069 h 67673"/>
                <a:gd name="connsiteX8" fmla="*/ 49943 w 73064"/>
                <a:gd name="connsiteY8" fmla="*/ 2690 h 67673"/>
                <a:gd name="connsiteX9" fmla="*/ 38407 w 73064"/>
                <a:gd name="connsiteY9" fmla="*/ 13318 h 67673"/>
                <a:gd name="connsiteX10" fmla="*/ 26669 w 73064"/>
                <a:gd name="connsiteY10" fmla="*/ 23711 h 67673"/>
                <a:gd name="connsiteX11" fmla="*/ 14898 w 73064"/>
                <a:gd name="connsiteY11" fmla="*/ 34103 h 67673"/>
                <a:gd name="connsiteX12" fmla="*/ 2925 w 73064"/>
                <a:gd name="connsiteY12" fmla="*/ 44193 h 67673"/>
                <a:gd name="connsiteX13" fmla="*/ 2050 w 73064"/>
                <a:gd name="connsiteY13" fmla="*/ 61816 h 67673"/>
                <a:gd name="connsiteX14" fmla="*/ 2589 w 73064"/>
                <a:gd name="connsiteY14" fmla="*/ 62455 h 67673"/>
                <a:gd name="connsiteX15" fmla="*/ 20313 w 73064"/>
                <a:gd name="connsiteY15" fmla="*/ 64789 h 67673"/>
                <a:gd name="connsiteX16" fmla="*/ 20380 w 73064"/>
                <a:gd name="connsiteY16" fmla="*/ 64742 h 67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3064" h="67673">
                  <a:moveTo>
                    <a:pt x="20380" y="64742"/>
                  </a:moveTo>
                  <a:cubicBezTo>
                    <a:pt x="24450" y="61379"/>
                    <a:pt x="28587" y="58016"/>
                    <a:pt x="32589" y="54417"/>
                  </a:cubicBezTo>
                  <a:lnTo>
                    <a:pt x="44528" y="43856"/>
                  </a:lnTo>
                  <a:lnTo>
                    <a:pt x="56501" y="33296"/>
                  </a:lnTo>
                  <a:lnTo>
                    <a:pt x="68239" y="22432"/>
                  </a:lnTo>
                  <a:cubicBezTo>
                    <a:pt x="73150" y="17566"/>
                    <a:pt x="73183" y="9642"/>
                    <a:pt x="68306" y="4738"/>
                  </a:cubicBezTo>
                  <a:cubicBezTo>
                    <a:pt x="68273" y="4718"/>
                    <a:pt x="68273" y="4695"/>
                    <a:pt x="68239" y="4675"/>
                  </a:cubicBezTo>
                  <a:lnTo>
                    <a:pt x="67667" y="4069"/>
                  </a:lnTo>
                  <a:cubicBezTo>
                    <a:pt x="63127" y="-1130"/>
                    <a:pt x="55257" y="-1743"/>
                    <a:pt x="49943" y="2690"/>
                  </a:cubicBezTo>
                  <a:lnTo>
                    <a:pt x="38407" y="13318"/>
                  </a:lnTo>
                  <a:lnTo>
                    <a:pt x="26669" y="23711"/>
                  </a:lnTo>
                  <a:lnTo>
                    <a:pt x="14898" y="34103"/>
                  </a:lnTo>
                  <a:cubicBezTo>
                    <a:pt x="10963" y="37466"/>
                    <a:pt x="6927" y="40830"/>
                    <a:pt x="2925" y="44193"/>
                  </a:cubicBezTo>
                  <a:cubicBezTo>
                    <a:pt x="-2120" y="48851"/>
                    <a:pt x="-2490" y="56681"/>
                    <a:pt x="2050" y="61816"/>
                  </a:cubicBezTo>
                  <a:lnTo>
                    <a:pt x="2589" y="62455"/>
                  </a:lnTo>
                  <a:cubicBezTo>
                    <a:pt x="6826" y="67994"/>
                    <a:pt x="14764" y="69040"/>
                    <a:pt x="20313" y="64789"/>
                  </a:cubicBezTo>
                  <a:cubicBezTo>
                    <a:pt x="20346" y="64773"/>
                    <a:pt x="20346" y="64759"/>
                    <a:pt x="20380" y="6474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88501AAD-6DD2-4631-A2C8-09E758C9DB15}"/>
                </a:ext>
              </a:extLst>
            </p:cNvPr>
            <p:cNvSpPr/>
            <p:nvPr/>
          </p:nvSpPr>
          <p:spPr>
            <a:xfrm>
              <a:off x="2777558" y="5944683"/>
              <a:ext cx="83438" cy="50628"/>
            </a:xfrm>
            <a:custGeom>
              <a:avLst/>
              <a:gdLst>
                <a:gd name="connsiteX0" fmla="*/ 16229 w 83438"/>
                <a:gd name="connsiteY0" fmla="*/ 49706 h 50628"/>
                <a:gd name="connsiteX1" fmla="*/ 75220 w 83438"/>
                <a:gd name="connsiteY1" fmla="*/ 25255 h 50628"/>
                <a:gd name="connsiteX2" fmla="*/ 81106 w 83438"/>
                <a:gd name="connsiteY2" fmla="*/ 8721 h 50628"/>
                <a:gd name="connsiteX3" fmla="*/ 80972 w 83438"/>
                <a:gd name="connsiteY3" fmla="*/ 8439 h 50628"/>
                <a:gd name="connsiteX4" fmla="*/ 80635 w 83438"/>
                <a:gd name="connsiteY4" fmla="*/ 7665 h 50628"/>
                <a:gd name="connsiteX5" fmla="*/ 64323 w 83438"/>
                <a:gd name="connsiteY5" fmla="*/ 535 h 50628"/>
                <a:gd name="connsiteX6" fmla="*/ 6375 w 83438"/>
                <a:gd name="connsiteY6" fmla="*/ 24548 h 50628"/>
                <a:gd name="connsiteX7" fmla="*/ -117 w 83438"/>
                <a:gd name="connsiteY7" fmla="*/ 40961 h 50628"/>
                <a:gd name="connsiteX8" fmla="*/ 186 w 83438"/>
                <a:gd name="connsiteY8" fmla="*/ 41735 h 50628"/>
                <a:gd name="connsiteX9" fmla="*/ 16229 w 83438"/>
                <a:gd name="connsiteY9" fmla="*/ 49706 h 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3438" h="50628">
                  <a:moveTo>
                    <a:pt x="16229" y="49706"/>
                  </a:moveTo>
                  <a:cubicBezTo>
                    <a:pt x="36005" y="41869"/>
                    <a:pt x="55781" y="33898"/>
                    <a:pt x="75220" y="25255"/>
                  </a:cubicBezTo>
                  <a:cubicBezTo>
                    <a:pt x="81409" y="22315"/>
                    <a:pt x="84066" y="14913"/>
                    <a:pt x="81106" y="8721"/>
                  </a:cubicBezTo>
                  <a:cubicBezTo>
                    <a:pt x="81072" y="8627"/>
                    <a:pt x="81005" y="8533"/>
                    <a:pt x="80972" y="8439"/>
                  </a:cubicBezTo>
                  <a:lnTo>
                    <a:pt x="80635" y="7665"/>
                  </a:lnTo>
                  <a:cubicBezTo>
                    <a:pt x="78012" y="1282"/>
                    <a:pt x="70781" y="-1870"/>
                    <a:pt x="64323" y="535"/>
                  </a:cubicBezTo>
                  <a:cubicBezTo>
                    <a:pt x="45220" y="9044"/>
                    <a:pt x="25814" y="16847"/>
                    <a:pt x="6375" y="24548"/>
                  </a:cubicBezTo>
                  <a:cubicBezTo>
                    <a:pt x="85" y="27316"/>
                    <a:pt x="-2807" y="34635"/>
                    <a:pt x="-117" y="40961"/>
                  </a:cubicBezTo>
                  <a:lnTo>
                    <a:pt x="186" y="41735"/>
                  </a:lnTo>
                  <a:cubicBezTo>
                    <a:pt x="2440" y="48347"/>
                    <a:pt x="9603" y="51908"/>
                    <a:pt x="16229" y="49706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04D23413-9EB5-4EFB-838B-4D1448880F32}"/>
                </a:ext>
              </a:extLst>
            </p:cNvPr>
            <p:cNvSpPr/>
            <p:nvPr/>
          </p:nvSpPr>
          <p:spPr>
            <a:xfrm>
              <a:off x="3589100" y="4887920"/>
              <a:ext cx="125825" cy="335376"/>
            </a:xfrm>
            <a:custGeom>
              <a:avLst/>
              <a:gdLst>
                <a:gd name="connsiteX0" fmla="*/ 24444 w 125825"/>
                <a:gd name="connsiteY0" fmla="*/ 327878 h 335376"/>
                <a:gd name="connsiteX1" fmla="*/ 124434 w 125825"/>
                <a:gd name="connsiteY1" fmla="*/ 15903 h 335376"/>
                <a:gd name="connsiteX2" fmla="*/ 113839 w 125825"/>
                <a:gd name="connsiteY2" fmla="*/ -5 h 335376"/>
                <a:gd name="connsiteX3" fmla="*/ 97931 w 125825"/>
                <a:gd name="connsiteY3" fmla="*/ 10589 h 335376"/>
                <a:gd name="connsiteX4" fmla="*/ -242 w 125825"/>
                <a:gd name="connsiteY4" fmla="*/ 316880 h 335376"/>
                <a:gd name="connsiteX5" fmla="*/ 6989 w 125825"/>
                <a:gd name="connsiteY5" fmla="*/ 333696 h 335376"/>
                <a:gd name="connsiteX6" fmla="*/ 24343 w 125825"/>
                <a:gd name="connsiteY6" fmla="*/ 328049 h 335376"/>
                <a:gd name="connsiteX7" fmla="*/ 24444 w 125825"/>
                <a:gd name="connsiteY7" fmla="*/ 327878 h 33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825" h="335376">
                  <a:moveTo>
                    <a:pt x="24444" y="327878"/>
                  </a:moveTo>
                  <a:cubicBezTo>
                    <a:pt x="69276" y="227926"/>
                    <a:pt x="102808" y="123288"/>
                    <a:pt x="124434" y="15903"/>
                  </a:cubicBezTo>
                  <a:cubicBezTo>
                    <a:pt x="125913" y="8585"/>
                    <a:pt x="121171" y="1462"/>
                    <a:pt x="113839" y="-5"/>
                  </a:cubicBezTo>
                  <a:cubicBezTo>
                    <a:pt x="106507" y="-1471"/>
                    <a:pt x="99411" y="3271"/>
                    <a:pt x="97931" y="10589"/>
                  </a:cubicBezTo>
                  <a:cubicBezTo>
                    <a:pt x="76675" y="116010"/>
                    <a:pt x="43749" y="218741"/>
                    <a:pt x="-242" y="316880"/>
                  </a:cubicBezTo>
                  <a:cubicBezTo>
                    <a:pt x="-2798" y="323519"/>
                    <a:pt x="397" y="330992"/>
                    <a:pt x="6989" y="333696"/>
                  </a:cubicBezTo>
                  <a:cubicBezTo>
                    <a:pt x="13346" y="336932"/>
                    <a:pt x="21115" y="334406"/>
                    <a:pt x="24343" y="328049"/>
                  </a:cubicBezTo>
                  <a:cubicBezTo>
                    <a:pt x="24377" y="327992"/>
                    <a:pt x="24411" y="327935"/>
                    <a:pt x="24444" y="32787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D7D3ECCB-ABC0-4D8F-BDDE-C31F0158B02B}"/>
                </a:ext>
              </a:extLst>
            </p:cNvPr>
            <p:cNvSpPr/>
            <p:nvPr/>
          </p:nvSpPr>
          <p:spPr>
            <a:xfrm>
              <a:off x="3706570" y="4879583"/>
              <a:ext cx="67915" cy="192416"/>
            </a:xfrm>
            <a:custGeom>
              <a:avLst/>
              <a:gdLst>
                <a:gd name="connsiteX0" fmla="*/ 25192 w 67915"/>
                <a:gd name="connsiteY0" fmla="*/ 183086 h 192416"/>
                <a:gd name="connsiteX1" fmla="*/ 66594 w 67915"/>
                <a:gd name="connsiteY1" fmla="*/ 14924 h 192416"/>
                <a:gd name="connsiteX2" fmla="*/ 56135 w 67915"/>
                <a:gd name="connsiteY2" fmla="*/ 8 h 192416"/>
                <a:gd name="connsiteX3" fmla="*/ 55832 w 67915"/>
                <a:gd name="connsiteY3" fmla="*/ -42 h 192416"/>
                <a:gd name="connsiteX4" fmla="*/ 55563 w 67915"/>
                <a:gd name="connsiteY4" fmla="*/ -42 h 192416"/>
                <a:gd name="connsiteX5" fmla="*/ 40025 w 67915"/>
                <a:gd name="connsiteY5" fmla="*/ 10047 h 192416"/>
                <a:gd name="connsiteX6" fmla="*/ -671 w 67915"/>
                <a:gd name="connsiteY6" fmla="*/ 175418 h 192416"/>
                <a:gd name="connsiteX7" fmla="*/ 8343 w 67915"/>
                <a:gd name="connsiteY7" fmla="*/ 191461 h 192416"/>
                <a:gd name="connsiteX8" fmla="*/ 8578 w 67915"/>
                <a:gd name="connsiteY8" fmla="*/ 191461 h 192416"/>
                <a:gd name="connsiteX9" fmla="*/ 25159 w 67915"/>
                <a:gd name="connsiteY9" fmla="*/ 183224 h 192416"/>
                <a:gd name="connsiteX10" fmla="*/ 25192 w 67915"/>
                <a:gd name="connsiteY10" fmla="*/ 183086 h 192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7915" h="192416">
                  <a:moveTo>
                    <a:pt x="25192" y="183086"/>
                  </a:moveTo>
                  <a:cubicBezTo>
                    <a:pt x="42110" y="127845"/>
                    <a:pt x="55933" y="71702"/>
                    <a:pt x="66594" y="14924"/>
                  </a:cubicBezTo>
                  <a:cubicBezTo>
                    <a:pt x="67839" y="7918"/>
                    <a:pt x="63130" y="1239"/>
                    <a:pt x="56135" y="8"/>
                  </a:cubicBezTo>
                  <a:cubicBezTo>
                    <a:pt x="56034" y="-9"/>
                    <a:pt x="55933" y="-26"/>
                    <a:pt x="55832" y="-42"/>
                  </a:cubicBezTo>
                  <a:lnTo>
                    <a:pt x="55563" y="-42"/>
                  </a:lnTo>
                  <a:cubicBezTo>
                    <a:pt x="48534" y="-1351"/>
                    <a:pt x="41706" y="3085"/>
                    <a:pt x="40025" y="10047"/>
                  </a:cubicBezTo>
                  <a:cubicBezTo>
                    <a:pt x="29531" y="65880"/>
                    <a:pt x="15944" y="121092"/>
                    <a:pt x="-671" y="175418"/>
                  </a:cubicBezTo>
                  <a:cubicBezTo>
                    <a:pt x="-2521" y="182326"/>
                    <a:pt x="1482" y="189456"/>
                    <a:pt x="8343" y="191461"/>
                  </a:cubicBezTo>
                  <a:lnTo>
                    <a:pt x="8578" y="191461"/>
                  </a:lnTo>
                  <a:cubicBezTo>
                    <a:pt x="15439" y="193761"/>
                    <a:pt x="22838" y="190075"/>
                    <a:pt x="25159" y="183224"/>
                  </a:cubicBezTo>
                  <a:cubicBezTo>
                    <a:pt x="25159" y="183180"/>
                    <a:pt x="25192" y="183133"/>
                    <a:pt x="25192" y="183086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96386704-AA0E-43A2-99AC-BFDD9481D8C4}"/>
                </a:ext>
              </a:extLst>
            </p:cNvPr>
            <p:cNvSpPr/>
            <p:nvPr/>
          </p:nvSpPr>
          <p:spPr>
            <a:xfrm>
              <a:off x="3601648" y="5099078"/>
              <a:ext cx="114322" cy="228616"/>
            </a:xfrm>
            <a:custGeom>
              <a:avLst/>
              <a:gdLst>
                <a:gd name="connsiteX0" fmla="*/ 24374 w 114322"/>
                <a:gd name="connsiteY0" fmla="*/ 221047 h 228616"/>
                <a:gd name="connsiteX1" fmla="*/ 112524 w 114322"/>
                <a:gd name="connsiteY1" fmla="*/ 17067 h 228616"/>
                <a:gd name="connsiteX2" fmla="*/ 104284 w 114322"/>
                <a:gd name="connsiteY2" fmla="*/ 607 h 228616"/>
                <a:gd name="connsiteX3" fmla="*/ 104016 w 114322"/>
                <a:gd name="connsiteY3" fmla="*/ 519 h 228616"/>
                <a:gd name="connsiteX4" fmla="*/ 86964 w 114322"/>
                <a:gd name="connsiteY4" fmla="*/ 8255 h 228616"/>
                <a:gd name="connsiteX5" fmla="*/ 394 w 114322"/>
                <a:gd name="connsiteY5" fmla="*/ 208637 h 228616"/>
                <a:gd name="connsiteX6" fmla="*/ 6178 w 114322"/>
                <a:gd name="connsiteY6" fmla="*/ 226832 h 228616"/>
                <a:gd name="connsiteX7" fmla="*/ 24374 w 114322"/>
                <a:gd name="connsiteY7" fmla="*/ 221047 h 228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322" h="228616">
                  <a:moveTo>
                    <a:pt x="24374" y="221047"/>
                  </a:moveTo>
                  <a:cubicBezTo>
                    <a:pt x="58679" y="155293"/>
                    <a:pt x="88141" y="87120"/>
                    <a:pt x="112524" y="17067"/>
                  </a:cubicBezTo>
                  <a:cubicBezTo>
                    <a:pt x="114811" y="10246"/>
                    <a:pt x="111112" y="2877"/>
                    <a:pt x="104284" y="607"/>
                  </a:cubicBezTo>
                  <a:cubicBezTo>
                    <a:pt x="104183" y="577"/>
                    <a:pt x="104116" y="546"/>
                    <a:pt x="104016" y="519"/>
                  </a:cubicBezTo>
                  <a:cubicBezTo>
                    <a:pt x="97188" y="-1929"/>
                    <a:pt x="89621" y="1495"/>
                    <a:pt x="86964" y="8255"/>
                  </a:cubicBezTo>
                  <a:cubicBezTo>
                    <a:pt x="63017" y="77070"/>
                    <a:pt x="34094" y="144043"/>
                    <a:pt x="394" y="208637"/>
                  </a:cubicBezTo>
                  <a:cubicBezTo>
                    <a:pt x="-3037" y="215259"/>
                    <a:pt x="-447" y="223405"/>
                    <a:pt x="6178" y="226832"/>
                  </a:cubicBezTo>
                  <a:cubicBezTo>
                    <a:pt x="12804" y="230259"/>
                    <a:pt x="20943" y="227670"/>
                    <a:pt x="24374" y="22104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EB5A879-BA59-4F16-9FB0-2EFC641A93B1}"/>
                </a:ext>
              </a:extLst>
            </p:cNvPr>
            <p:cNvSpPr/>
            <p:nvPr/>
          </p:nvSpPr>
          <p:spPr>
            <a:xfrm>
              <a:off x="3787307" y="4930199"/>
              <a:ext cx="34776" cy="61184"/>
            </a:xfrm>
            <a:custGeom>
              <a:avLst/>
              <a:gdLst>
                <a:gd name="connsiteX0" fmla="*/ 25543 w 34776"/>
                <a:gd name="connsiteY0" fmla="*/ 50643 h 61184"/>
                <a:gd name="connsiteX1" fmla="*/ 33380 w 34776"/>
                <a:gd name="connsiteY1" fmla="*/ 15867 h 61184"/>
                <a:gd name="connsiteX2" fmla="*/ 23021 w 34776"/>
                <a:gd name="connsiteY2" fmla="*/ 26 h 61184"/>
                <a:gd name="connsiteX3" fmla="*/ 6945 w 34776"/>
                <a:gd name="connsiteY3" fmla="*/ 10116 h 61184"/>
                <a:gd name="connsiteX4" fmla="*/ -757 w 34776"/>
                <a:gd name="connsiteY4" fmla="*/ 44286 h 61184"/>
                <a:gd name="connsiteX5" fmla="*/ 9265 w 34776"/>
                <a:gd name="connsiteY5" fmla="*/ 60548 h 61184"/>
                <a:gd name="connsiteX6" fmla="*/ 25543 w 34776"/>
                <a:gd name="connsiteY6" fmla="*/ 50508 h 6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776" h="61184">
                  <a:moveTo>
                    <a:pt x="25543" y="50643"/>
                  </a:moveTo>
                  <a:cubicBezTo>
                    <a:pt x="28503" y="39140"/>
                    <a:pt x="30790" y="27470"/>
                    <a:pt x="33380" y="15867"/>
                  </a:cubicBezTo>
                  <a:cubicBezTo>
                    <a:pt x="34859" y="8639"/>
                    <a:pt x="30218" y="1573"/>
                    <a:pt x="23021" y="26"/>
                  </a:cubicBezTo>
                  <a:cubicBezTo>
                    <a:pt x="15824" y="-1494"/>
                    <a:pt x="8693" y="2969"/>
                    <a:pt x="6945" y="10116"/>
                  </a:cubicBezTo>
                  <a:cubicBezTo>
                    <a:pt x="4388" y="21517"/>
                    <a:pt x="2135" y="32986"/>
                    <a:pt x="-757" y="44286"/>
                  </a:cubicBezTo>
                  <a:cubicBezTo>
                    <a:pt x="-2473" y="51547"/>
                    <a:pt x="2034" y="58829"/>
                    <a:pt x="9265" y="60548"/>
                  </a:cubicBezTo>
                  <a:cubicBezTo>
                    <a:pt x="16530" y="62266"/>
                    <a:pt x="23828" y="57769"/>
                    <a:pt x="25543" y="5050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62101F4A-C9DD-4CA1-94C0-BE9DF06F1BAC}"/>
                </a:ext>
              </a:extLst>
            </p:cNvPr>
            <p:cNvSpPr/>
            <p:nvPr/>
          </p:nvSpPr>
          <p:spPr>
            <a:xfrm>
              <a:off x="3245537" y="5541836"/>
              <a:ext cx="298470" cy="310108"/>
            </a:xfrm>
            <a:custGeom>
              <a:avLst/>
              <a:gdLst>
                <a:gd name="connsiteX0" fmla="*/ 20853 w 298470"/>
                <a:gd name="connsiteY0" fmla="*/ 306823 h 310108"/>
                <a:gd name="connsiteX1" fmla="*/ 294756 w 298470"/>
                <a:gd name="connsiteY1" fmla="*/ 21183 h 310108"/>
                <a:gd name="connsiteX2" fmla="*/ 291830 w 298470"/>
                <a:gd name="connsiteY2" fmla="*/ 2382 h 310108"/>
                <a:gd name="connsiteX3" fmla="*/ 291796 w 298470"/>
                <a:gd name="connsiteY3" fmla="*/ 2349 h 310108"/>
                <a:gd name="connsiteX4" fmla="*/ 291796 w 298470"/>
                <a:gd name="connsiteY4" fmla="*/ 2349 h 310108"/>
                <a:gd name="connsiteX5" fmla="*/ 273063 w 298470"/>
                <a:gd name="connsiteY5" fmla="*/ 5107 h 310108"/>
                <a:gd name="connsiteX6" fmla="*/ 3734 w 298470"/>
                <a:gd name="connsiteY6" fmla="*/ 285971 h 310108"/>
                <a:gd name="connsiteX7" fmla="*/ 1851 w 298470"/>
                <a:gd name="connsiteY7" fmla="*/ 304772 h 310108"/>
                <a:gd name="connsiteX8" fmla="*/ 20752 w 298470"/>
                <a:gd name="connsiteY8" fmla="*/ 306901 h 310108"/>
                <a:gd name="connsiteX9" fmla="*/ 20853 w 298470"/>
                <a:gd name="connsiteY9" fmla="*/ 306823 h 310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8470" h="310108">
                  <a:moveTo>
                    <a:pt x="20853" y="306823"/>
                  </a:moveTo>
                  <a:cubicBezTo>
                    <a:pt x="123600" y="223294"/>
                    <a:pt x="215618" y="127347"/>
                    <a:pt x="294756" y="21183"/>
                  </a:cubicBezTo>
                  <a:cubicBezTo>
                    <a:pt x="299128" y="15186"/>
                    <a:pt x="297850" y="6768"/>
                    <a:pt x="291830" y="2382"/>
                  </a:cubicBezTo>
                  <a:cubicBezTo>
                    <a:pt x="291830" y="2372"/>
                    <a:pt x="291796" y="2359"/>
                    <a:pt x="291796" y="2349"/>
                  </a:cubicBezTo>
                  <a:lnTo>
                    <a:pt x="291796" y="2349"/>
                  </a:lnTo>
                  <a:cubicBezTo>
                    <a:pt x="285843" y="-2027"/>
                    <a:pt x="277502" y="-796"/>
                    <a:pt x="273063" y="5107"/>
                  </a:cubicBezTo>
                  <a:cubicBezTo>
                    <a:pt x="195237" y="109488"/>
                    <a:pt x="104766" y="203827"/>
                    <a:pt x="3734" y="285971"/>
                  </a:cubicBezTo>
                  <a:cubicBezTo>
                    <a:pt x="-1916" y="290670"/>
                    <a:pt x="-2757" y="299044"/>
                    <a:pt x="1851" y="304772"/>
                  </a:cubicBezTo>
                  <a:cubicBezTo>
                    <a:pt x="6492" y="310580"/>
                    <a:pt x="14933" y="311535"/>
                    <a:pt x="20752" y="306901"/>
                  </a:cubicBezTo>
                  <a:cubicBezTo>
                    <a:pt x="20786" y="306877"/>
                    <a:pt x="20819" y="306850"/>
                    <a:pt x="20853" y="30682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6A5BF98E-2258-4D87-9577-6BE6343249D5}"/>
                </a:ext>
              </a:extLst>
            </p:cNvPr>
            <p:cNvSpPr/>
            <p:nvPr/>
          </p:nvSpPr>
          <p:spPr>
            <a:xfrm>
              <a:off x="3617552" y="5028865"/>
              <a:ext cx="180078" cy="387653"/>
            </a:xfrm>
            <a:custGeom>
              <a:avLst/>
              <a:gdLst>
                <a:gd name="connsiteX0" fmla="*/ 24042 w 180078"/>
                <a:gd name="connsiteY0" fmla="*/ 380723 h 387653"/>
                <a:gd name="connsiteX1" fmla="*/ 178449 w 180078"/>
                <a:gd name="connsiteY1" fmla="*/ 16921 h 387653"/>
                <a:gd name="connsiteX2" fmla="*/ 169099 w 180078"/>
                <a:gd name="connsiteY2" fmla="*/ 239 h 387653"/>
                <a:gd name="connsiteX3" fmla="*/ 152417 w 180078"/>
                <a:gd name="connsiteY3" fmla="*/ 9589 h 387653"/>
                <a:gd name="connsiteX4" fmla="*/ 634 w 180078"/>
                <a:gd name="connsiteY4" fmla="*/ 367236 h 387653"/>
                <a:gd name="connsiteX5" fmla="*/ 5510 w 180078"/>
                <a:gd name="connsiteY5" fmla="*/ 385465 h 387653"/>
                <a:gd name="connsiteX6" fmla="*/ 23975 w 180078"/>
                <a:gd name="connsiteY6" fmla="*/ 380847 h 387653"/>
                <a:gd name="connsiteX7" fmla="*/ 24042 w 180078"/>
                <a:gd name="connsiteY7" fmla="*/ 380723 h 3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0078" h="387653">
                  <a:moveTo>
                    <a:pt x="24042" y="380723"/>
                  </a:moveTo>
                  <a:cubicBezTo>
                    <a:pt x="90533" y="266389"/>
                    <a:pt x="142394" y="144169"/>
                    <a:pt x="178449" y="16921"/>
                  </a:cubicBezTo>
                  <a:cubicBezTo>
                    <a:pt x="180467" y="9733"/>
                    <a:pt x="176296" y="2264"/>
                    <a:pt x="169099" y="239"/>
                  </a:cubicBezTo>
                  <a:cubicBezTo>
                    <a:pt x="161901" y="-1786"/>
                    <a:pt x="154435" y="2401"/>
                    <a:pt x="152417" y="9589"/>
                  </a:cubicBezTo>
                  <a:cubicBezTo>
                    <a:pt x="116968" y="134678"/>
                    <a:pt x="65982" y="254833"/>
                    <a:pt x="634" y="367236"/>
                  </a:cubicBezTo>
                  <a:cubicBezTo>
                    <a:pt x="-2999" y="373627"/>
                    <a:pt x="-812" y="381739"/>
                    <a:pt x="5510" y="385465"/>
                  </a:cubicBezTo>
                  <a:cubicBezTo>
                    <a:pt x="11867" y="389286"/>
                    <a:pt x="20141" y="387221"/>
                    <a:pt x="23975" y="380847"/>
                  </a:cubicBezTo>
                  <a:cubicBezTo>
                    <a:pt x="24008" y="380807"/>
                    <a:pt x="24008" y="380767"/>
                    <a:pt x="24042" y="38072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D7B85272-582B-42CB-B0EB-792C1FA40C27}"/>
                </a:ext>
              </a:extLst>
            </p:cNvPr>
            <p:cNvSpPr/>
            <p:nvPr/>
          </p:nvSpPr>
          <p:spPr>
            <a:xfrm>
              <a:off x="2802019" y="5897236"/>
              <a:ext cx="374646" cy="209749"/>
            </a:xfrm>
            <a:custGeom>
              <a:avLst/>
              <a:gdLst>
                <a:gd name="connsiteX0" fmla="*/ 17059 w 374646"/>
                <a:gd name="connsiteY0" fmla="*/ 208645 h 209749"/>
                <a:gd name="connsiteX1" fmla="*/ 108910 w 374646"/>
                <a:gd name="connsiteY1" fmla="*/ 170842 h 209749"/>
                <a:gd name="connsiteX2" fmla="*/ 198137 w 374646"/>
                <a:gd name="connsiteY2" fmla="*/ 127120 h 209749"/>
                <a:gd name="connsiteX3" fmla="*/ 284572 w 374646"/>
                <a:gd name="connsiteY3" fmla="*/ 78285 h 209749"/>
                <a:gd name="connsiteX4" fmla="*/ 326545 w 374646"/>
                <a:gd name="connsiteY4" fmla="*/ 51783 h 209749"/>
                <a:gd name="connsiteX5" fmla="*/ 347296 w 374646"/>
                <a:gd name="connsiteY5" fmla="*/ 38162 h 209749"/>
                <a:gd name="connsiteX6" fmla="*/ 367711 w 374646"/>
                <a:gd name="connsiteY6" fmla="*/ 24070 h 209749"/>
                <a:gd name="connsiteX7" fmla="*/ 371243 w 374646"/>
                <a:gd name="connsiteY7" fmla="*/ 5670 h 209749"/>
                <a:gd name="connsiteX8" fmla="*/ 371074 w 374646"/>
                <a:gd name="connsiteY8" fmla="*/ 5404 h 209749"/>
                <a:gd name="connsiteX9" fmla="*/ 352341 w 374646"/>
                <a:gd name="connsiteY9" fmla="*/ 2041 h 209749"/>
                <a:gd name="connsiteX10" fmla="*/ 332162 w 374646"/>
                <a:gd name="connsiteY10" fmla="*/ 15897 h 209749"/>
                <a:gd name="connsiteX11" fmla="*/ 311747 w 374646"/>
                <a:gd name="connsiteY11" fmla="*/ 29350 h 209749"/>
                <a:gd name="connsiteX12" fmla="*/ 270480 w 374646"/>
                <a:gd name="connsiteY12" fmla="*/ 55415 h 209749"/>
                <a:gd name="connsiteX13" fmla="*/ 185524 w 374646"/>
                <a:gd name="connsiteY13" fmla="*/ 103443 h 209749"/>
                <a:gd name="connsiteX14" fmla="*/ 97811 w 374646"/>
                <a:gd name="connsiteY14" fmla="*/ 146290 h 209749"/>
                <a:gd name="connsiteX15" fmla="*/ 7508 w 374646"/>
                <a:gd name="connsiteY15" fmla="*/ 183286 h 209749"/>
                <a:gd name="connsiteX16" fmla="*/ -228 w 374646"/>
                <a:gd name="connsiteY16" fmla="*/ 200640 h 209749"/>
                <a:gd name="connsiteX17" fmla="*/ 17026 w 374646"/>
                <a:gd name="connsiteY17" fmla="*/ 208658 h 209749"/>
                <a:gd name="connsiteX18" fmla="*/ 17059 w 374646"/>
                <a:gd name="connsiteY18" fmla="*/ 208645 h 209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74646" h="209749">
                  <a:moveTo>
                    <a:pt x="17059" y="208645"/>
                  </a:moveTo>
                  <a:cubicBezTo>
                    <a:pt x="48136" y="197176"/>
                    <a:pt x="78607" y="184161"/>
                    <a:pt x="108910" y="170842"/>
                  </a:cubicBezTo>
                  <a:cubicBezTo>
                    <a:pt x="139212" y="157523"/>
                    <a:pt x="168943" y="142893"/>
                    <a:pt x="198137" y="127120"/>
                  </a:cubicBezTo>
                  <a:cubicBezTo>
                    <a:pt x="227329" y="111346"/>
                    <a:pt x="256186" y="95303"/>
                    <a:pt x="284572" y="78285"/>
                  </a:cubicBezTo>
                  <a:cubicBezTo>
                    <a:pt x="298563" y="69474"/>
                    <a:pt x="312823" y="60998"/>
                    <a:pt x="326545" y="51783"/>
                  </a:cubicBezTo>
                  <a:lnTo>
                    <a:pt x="347296" y="38162"/>
                  </a:lnTo>
                  <a:lnTo>
                    <a:pt x="367711" y="24070"/>
                  </a:lnTo>
                  <a:cubicBezTo>
                    <a:pt x="373765" y="19967"/>
                    <a:pt x="375346" y="11730"/>
                    <a:pt x="371243" y="5670"/>
                  </a:cubicBezTo>
                  <a:cubicBezTo>
                    <a:pt x="371209" y="5579"/>
                    <a:pt x="371142" y="5491"/>
                    <a:pt x="371074" y="5404"/>
                  </a:cubicBezTo>
                  <a:cubicBezTo>
                    <a:pt x="366736" y="-569"/>
                    <a:pt x="358462" y="-2056"/>
                    <a:pt x="352341" y="2041"/>
                  </a:cubicBezTo>
                  <a:lnTo>
                    <a:pt x="332162" y="15897"/>
                  </a:lnTo>
                  <a:lnTo>
                    <a:pt x="311747" y="29350"/>
                  </a:lnTo>
                  <a:cubicBezTo>
                    <a:pt x="298294" y="38431"/>
                    <a:pt x="284236" y="46738"/>
                    <a:pt x="270480" y="55415"/>
                  </a:cubicBezTo>
                  <a:cubicBezTo>
                    <a:pt x="242565" y="72232"/>
                    <a:pt x="214415" y="88442"/>
                    <a:pt x="185524" y="103443"/>
                  </a:cubicBezTo>
                  <a:cubicBezTo>
                    <a:pt x="156634" y="118443"/>
                    <a:pt x="127374" y="132703"/>
                    <a:pt x="97811" y="146290"/>
                  </a:cubicBezTo>
                  <a:cubicBezTo>
                    <a:pt x="68248" y="159878"/>
                    <a:pt x="38046" y="172187"/>
                    <a:pt x="7508" y="183286"/>
                  </a:cubicBezTo>
                  <a:cubicBezTo>
                    <a:pt x="580" y="185950"/>
                    <a:pt x="-2885" y="193712"/>
                    <a:pt x="-228" y="200640"/>
                  </a:cubicBezTo>
                  <a:cubicBezTo>
                    <a:pt x="2328" y="207619"/>
                    <a:pt x="10064" y="211208"/>
                    <a:pt x="17026" y="208658"/>
                  </a:cubicBezTo>
                  <a:cubicBezTo>
                    <a:pt x="17026" y="208652"/>
                    <a:pt x="17059" y="208648"/>
                    <a:pt x="17059" y="208645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CF2ED694-9062-4E1B-85C9-8A5A8FAB00D4}"/>
                </a:ext>
              </a:extLst>
            </p:cNvPr>
            <p:cNvSpPr/>
            <p:nvPr/>
          </p:nvSpPr>
          <p:spPr>
            <a:xfrm>
              <a:off x="3736077" y="4860042"/>
              <a:ext cx="156998" cy="451405"/>
            </a:xfrm>
            <a:custGeom>
              <a:avLst/>
              <a:gdLst>
                <a:gd name="connsiteX0" fmla="*/ 24676 w 156998"/>
                <a:gd name="connsiteY0" fmla="*/ 443267 h 451405"/>
                <a:gd name="connsiteX1" fmla="*/ 155641 w 156998"/>
                <a:gd name="connsiteY1" fmla="*/ 15631 h 451405"/>
                <a:gd name="connsiteX2" fmla="*/ 144912 w 156998"/>
                <a:gd name="connsiteY2" fmla="*/ -79 h 451405"/>
                <a:gd name="connsiteX3" fmla="*/ 144542 w 156998"/>
                <a:gd name="connsiteY3" fmla="*/ -143 h 451405"/>
                <a:gd name="connsiteX4" fmla="*/ 128937 w 156998"/>
                <a:gd name="connsiteY4" fmla="*/ 11359 h 451405"/>
                <a:gd name="connsiteX5" fmla="*/ 125 w 156998"/>
                <a:gd name="connsiteY5" fmla="*/ 431967 h 451405"/>
                <a:gd name="connsiteX6" fmla="*/ 6750 w 156998"/>
                <a:gd name="connsiteY6" fmla="*/ 449893 h 451405"/>
                <a:gd name="connsiteX7" fmla="*/ 24676 w 156998"/>
                <a:gd name="connsiteY7" fmla="*/ 443267 h 451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998" h="451405">
                  <a:moveTo>
                    <a:pt x="24676" y="443267"/>
                  </a:moveTo>
                  <a:cubicBezTo>
                    <a:pt x="87704" y="307389"/>
                    <a:pt x="131762" y="163499"/>
                    <a:pt x="155641" y="15631"/>
                  </a:cubicBezTo>
                  <a:cubicBezTo>
                    <a:pt x="157020" y="8329"/>
                    <a:pt x="152211" y="1297"/>
                    <a:pt x="144912" y="-79"/>
                  </a:cubicBezTo>
                  <a:cubicBezTo>
                    <a:pt x="144778" y="-102"/>
                    <a:pt x="144677" y="-123"/>
                    <a:pt x="144542" y="-143"/>
                  </a:cubicBezTo>
                  <a:cubicBezTo>
                    <a:pt x="137076" y="-1155"/>
                    <a:pt x="130182" y="3940"/>
                    <a:pt x="128937" y="11359"/>
                  </a:cubicBezTo>
                  <a:cubicBezTo>
                    <a:pt x="105461" y="156800"/>
                    <a:pt x="62109" y="298325"/>
                    <a:pt x="125" y="431967"/>
                  </a:cubicBezTo>
                  <a:cubicBezTo>
                    <a:pt x="-3003" y="438747"/>
                    <a:pt x="-44" y="446772"/>
                    <a:pt x="6750" y="449893"/>
                  </a:cubicBezTo>
                  <a:cubicBezTo>
                    <a:pt x="13544" y="453014"/>
                    <a:pt x="21549" y="450048"/>
                    <a:pt x="24676" y="44326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6E5AB988-A081-4596-A4CB-FE898AC806F2}"/>
                </a:ext>
              </a:extLst>
            </p:cNvPr>
            <p:cNvSpPr/>
            <p:nvPr/>
          </p:nvSpPr>
          <p:spPr>
            <a:xfrm>
              <a:off x="3912423" y="4676976"/>
              <a:ext cx="56709" cy="274043"/>
            </a:xfrm>
            <a:custGeom>
              <a:avLst/>
              <a:gdLst>
                <a:gd name="connsiteX0" fmla="*/ 25641 w 56709"/>
                <a:gd name="connsiteY0" fmla="*/ 262127 h 274043"/>
                <a:gd name="connsiteX1" fmla="*/ 55574 w 56709"/>
                <a:gd name="connsiteY1" fmla="*/ 13819 h 274043"/>
                <a:gd name="connsiteX2" fmla="*/ 42760 w 56709"/>
                <a:gd name="connsiteY2" fmla="*/ -256 h 274043"/>
                <a:gd name="connsiteX3" fmla="*/ 28668 w 56709"/>
                <a:gd name="connsiteY3" fmla="*/ 12574 h 274043"/>
                <a:gd name="connsiteX4" fmla="*/ -828 w 56709"/>
                <a:gd name="connsiteY4" fmla="*/ 256982 h 274043"/>
                <a:gd name="connsiteX5" fmla="*/ 9766 w 56709"/>
                <a:gd name="connsiteY5" fmla="*/ 273596 h 274043"/>
                <a:gd name="connsiteX6" fmla="*/ 25641 w 56709"/>
                <a:gd name="connsiteY6" fmla="*/ 262127 h 274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709" h="274043">
                  <a:moveTo>
                    <a:pt x="25641" y="262127"/>
                  </a:moveTo>
                  <a:cubicBezTo>
                    <a:pt x="41650" y="180195"/>
                    <a:pt x="51639" y="97207"/>
                    <a:pt x="55574" y="13819"/>
                  </a:cubicBezTo>
                  <a:cubicBezTo>
                    <a:pt x="55910" y="6389"/>
                    <a:pt x="50159" y="87"/>
                    <a:pt x="42760" y="-256"/>
                  </a:cubicBezTo>
                  <a:cubicBezTo>
                    <a:pt x="35327" y="-599"/>
                    <a:pt x="29004" y="5145"/>
                    <a:pt x="28668" y="12574"/>
                  </a:cubicBezTo>
                  <a:cubicBezTo>
                    <a:pt x="24800" y="94654"/>
                    <a:pt x="14946" y="176341"/>
                    <a:pt x="-828" y="256982"/>
                  </a:cubicBezTo>
                  <a:cubicBezTo>
                    <a:pt x="-2375" y="264475"/>
                    <a:pt x="2334" y="271840"/>
                    <a:pt x="9766" y="273596"/>
                  </a:cubicBezTo>
                  <a:cubicBezTo>
                    <a:pt x="17300" y="274807"/>
                    <a:pt x="24430" y="269674"/>
                    <a:pt x="25641" y="26212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019C2573-9510-465F-9A40-5EAF73DB3F70}"/>
                </a:ext>
              </a:extLst>
            </p:cNvPr>
            <p:cNvSpPr/>
            <p:nvPr/>
          </p:nvSpPr>
          <p:spPr>
            <a:xfrm>
              <a:off x="3839663" y="4999629"/>
              <a:ext cx="82951" cy="210736"/>
            </a:xfrm>
            <a:custGeom>
              <a:avLst/>
              <a:gdLst>
                <a:gd name="connsiteX0" fmla="*/ 25284 w 82951"/>
                <a:gd name="connsiteY0" fmla="*/ 200866 h 210736"/>
                <a:gd name="connsiteX1" fmla="*/ 81383 w 82951"/>
                <a:gd name="connsiteY1" fmla="*/ 16830 h 210736"/>
                <a:gd name="connsiteX2" fmla="*/ 71797 w 82951"/>
                <a:gd name="connsiteY2" fmla="*/ 13 h 210736"/>
                <a:gd name="connsiteX3" fmla="*/ 55250 w 82951"/>
                <a:gd name="connsiteY3" fmla="*/ 10708 h 210736"/>
                <a:gd name="connsiteX4" fmla="*/ -109 w 82951"/>
                <a:gd name="connsiteY4" fmla="*/ 191718 h 210736"/>
                <a:gd name="connsiteX5" fmla="*/ 7492 w 82951"/>
                <a:gd name="connsiteY5" fmla="*/ 209745 h 210736"/>
                <a:gd name="connsiteX6" fmla="*/ 25284 w 82951"/>
                <a:gd name="connsiteY6" fmla="*/ 200866 h 210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951" h="210736">
                  <a:moveTo>
                    <a:pt x="25284" y="200866"/>
                  </a:moveTo>
                  <a:cubicBezTo>
                    <a:pt x="47448" y="140624"/>
                    <a:pt x="66147" y="79181"/>
                    <a:pt x="81383" y="16830"/>
                  </a:cubicBezTo>
                  <a:cubicBezTo>
                    <a:pt x="83266" y="9552"/>
                    <a:pt x="79029" y="2088"/>
                    <a:pt x="71797" y="13"/>
                  </a:cubicBezTo>
                  <a:cubicBezTo>
                    <a:pt x="64297" y="-1510"/>
                    <a:pt x="56932" y="3239"/>
                    <a:pt x="55250" y="10708"/>
                  </a:cubicBezTo>
                  <a:cubicBezTo>
                    <a:pt x="40217" y="72041"/>
                    <a:pt x="21752" y="132475"/>
                    <a:pt x="-109" y="191718"/>
                  </a:cubicBezTo>
                  <a:cubicBezTo>
                    <a:pt x="-2967" y="198795"/>
                    <a:pt x="429" y="206843"/>
                    <a:pt x="7492" y="209745"/>
                  </a:cubicBezTo>
                  <a:cubicBezTo>
                    <a:pt x="14858" y="212187"/>
                    <a:pt x="22795" y="208218"/>
                    <a:pt x="25284" y="200866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6E154C66-DF9F-481C-8C98-3ABCDC9A4124}"/>
                </a:ext>
              </a:extLst>
            </p:cNvPr>
            <p:cNvSpPr/>
            <p:nvPr/>
          </p:nvSpPr>
          <p:spPr>
            <a:xfrm>
              <a:off x="3299270" y="5762311"/>
              <a:ext cx="207098" cy="191788"/>
            </a:xfrm>
            <a:custGeom>
              <a:avLst/>
              <a:gdLst>
                <a:gd name="connsiteX0" fmla="*/ 21369 w 207098"/>
                <a:gd name="connsiteY0" fmla="*/ 188120 h 191788"/>
                <a:gd name="connsiteX1" fmla="*/ 202312 w 207098"/>
                <a:gd name="connsiteY1" fmla="*/ 22480 h 191788"/>
                <a:gd name="connsiteX2" fmla="*/ 201707 w 207098"/>
                <a:gd name="connsiteY2" fmla="*/ 3394 h 191788"/>
                <a:gd name="connsiteX3" fmla="*/ 182637 w 207098"/>
                <a:gd name="connsiteY3" fmla="*/ 3983 h 191788"/>
                <a:gd name="connsiteX4" fmla="*/ 4385 w 207098"/>
                <a:gd name="connsiteY4" fmla="*/ 167033 h 191788"/>
                <a:gd name="connsiteX5" fmla="*/ 1560 w 207098"/>
                <a:gd name="connsiteY5" fmla="*/ 186439 h 191788"/>
                <a:gd name="connsiteX6" fmla="*/ 21067 w 207098"/>
                <a:gd name="connsiteY6" fmla="*/ 188383 h 191788"/>
                <a:gd name="connsiteX7" fmla="*/ 21369 w 207098"/>
                <a:gd name="connsiteY7" fmla="*/ 188120 h 191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7098" h="191788">
                  <a:moveTo>
                    <a:pt x="21369" y="188120"/>
                  </a:moveTo>
                  <a:cubicBezTo>
                    <a:pt x="85540" y="137261"/>
                    <a:pt x="146011" y="81909"/>
                    <a:pt x="202312" y="22480"/>
                  </a:cubicBezTo>
                  <a:cubicBezTo>
                    <a:pt x="207424" y="17049"/>
                    <a:pt x="207155" y="8503"/>
                    <a:pt x="201707" y="3394"/>
                  </a:cubicBezTo>
                  <a:cubicBezTo>
                    <a:pt x="196292" y="-1715"/>
                    <a:pt x="187749" y="-1449"/>
                    <a:pt x="182637" y="3983"/>
                  </a:cubicBezTo>
                  <a:cubicBezTo>
                    <a:pt x="127177" y="62493"/>
                    <a:pt x="67580" y="116981"/>
                    <a:pt x="4385" y="167033"/>
                  </a:cubicBezTo>
                  <a:cubicBezTo>
                    <a:pt x="-1669" y="171657"/>
                    <a:pt x="-2913" y="180277"/>
                    <a:pt x="1560" y="186439"/>
                  </a:cubicBezTo>
                  <a:cubicBezTo>
                    <a:pt x="6403" y="192361"/>
                    <a:pt x="15147" y="193229"/>
                    <a:pt x="21067" y="188383"/>
                  </a:cubicBezTo>
                  <a:cubicBezTo>
                    <a:pt x="21168" y="188295"/>
                    <a:pt x="21269" y="188208"/>
                    <a:pt x="21369" y="18812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5B11ED37-09BF-41F3-B5D8-4FE391926B08}"/>
                </a:ext>
              </a:extLst>
            </p:cNvPr>
            <p:cNvSpPr/>
            <p:nvPr/>
          </p:nvSpPr>
          <p:spPr>
            <a:xfrm>
              <a:off x="2799177" y="6105165"/>
              <a:ext cx="251632" cy="123285"/>
            </a:xfrm>
            <a:custGeom>
              <a:avLst/>
              <a:gdLst>
                <a:gd name="connsiteX0" fmla="*/ 17447 w 251632"/>
                <a:gd name="connsiteY0" fmla="*/ 122062 h 123285"/>
                <a:gd name="connsiteX1" fmla="*/ 243255 w 251632"/>
                <a:gd name="connsiteY1" fmla="*/ 25167 h 123285"/>
                <a:gd name="connsiteX2" fmla="*/ 248973 w 251632"/>
                <a:gd name="connsiteY2" fmla="*/ 6988 h 123285"/>
                <a:gd name="connsiteX3" fmla="*/ 230811 w 251632"/>
                <a:gd name="connsiteY3" fmla="*/ 1254 h 123285"/>
                <a:gd name="connsiteX4" fmla="*/ 8568 w 251632"/>
                <a:gd name="connsiteY4" fmla="*/ 96636 h 123285"/>
                <a:gd name="connsiteX5" fmla="*/ -513 w 251632"/>
                <a:gd name="connsiteY5" fmla="*/ 114091 h 123285"/>
                <a:gd name="connsiteX6" fmla="*/ 17312 w 251632"/>
                <a:gd name="connsiteY6" fmla="*/ 122112 h 123285"/>
                <a:gd name="connsiteX7" fmla="*/ 17447 w 251632"/>
                <a:gd name="connsiteY7" fmla="*/ 122062 h 12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1632" h="123285">
                  <a:moveTo>
                    <a:pt x="17447" y="122062"/>
                  </a:moveTo>
                  <a:cubicBezTo>
                    <a:pt x="94936" y="95230"/>
                    <a:pt x="170407" y="62849"/>
                    <a:pt x="243255" y="25167"/>
                  </a:cubicBezTo>
                  <a:cubicBezTo>
                    <a:pt x="249847" y="21730"/>
                    <a:pt x="252437" y="13590"/>
                    <a:pt x="248973" y="6988"/>
                  </a:cubicBezTo>
                  <a:cubicBezTo>
                    <a:pt x="245542" y="386"/>
                    <a:pt x="237403" y="-2183"/>
                    <a:pt x="230811" y="1254"/>
                  </a:cubicBezTo>
                  <a:cubicBezTo>
                    <a:pt x="159107" y="38331"/>
                    <a:pt x="84846" y="70204"/>
                    <a:pt x="8568" y="96636"/>
                  </a:cubicBezTo>
                  <a:cubicBezTo>
                    <a:pt x="1303" y="99013"/>
                    <a:pt x="-2733" y="106769"/>
                    <a:pt x="-513" y="114091"/>
                  </a:cubicBezTo>
                  <a:cubicBezTo>
                    <a:pt x="2211" y="121228"/>
                    <a:pt x="10182" y="124820"/>
                    <a:pt x="17312" y="122112"/>
                  </a:cubicBezTo>
                  <a:cubicBezTo>
                    <a:pt x="17346" y="122096"/>
                    <a:pt x="17413" y="122079"/>
                    <a:pt x="17447" y="12206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FD4A36A7-954B-4D63-8DD4-D322E8398E19}"/>
                </a:ext>
              </a:extLst>
            </p:cNvPr>
            <p:cNvSpPr/>
            <p:nvPr/>
          </p:nvSpPr>
          <p:spPr>
            <a:xfrm>
              <a:off x="3855676" y="4979779"/>
              <a:ext cx="129942" cy="342463"/>
            </a:xfrm>
            <a:custGeom>
              <a:avLst/>
              <a:gdLst>
                <a:gd name="connsiteX0" fmla="*/ 24809 w 129942"/>
                <a:gd name="connsiteY0" fmla="*/ 334024 h 342463"/>
                <a:gd name="connsiteX1" fmla="*/ 128498 w 129942"/>
                <a:gd name="connsiteY1" fmla="*/ 16163 h 342463"/>
                <a:gd name="connsiteX2" fmla="*/ 118240 w 129942"/>
                <a:gd name="connsiteY2" fmla="*/ 53 h 342463"/>
                <a:gd name="connsiteX3" fmla="*/ 102130 w 129942"/>
                <a:gd name="connsiteY3" fmla="*/ 10311 h 342463"/>
                <a:gd name="connsiteX4" fmla="*/ -12 w 129942"/>
                <a:gd name="connsiteY4" fmla="*/ 323328 h 342463"/>
                <a:gd name="connsiteX5" fmla="*/ 7051 w 129942"/>
                <a:gd name="connsiteY5" fmla="*/ 341086 h 342463"/>
                <a:gd name="connsiteX6" fmla="*/ 24809 w 129942"/>
                <a:gd name="connsiteY6" fmla="*/ 334024 h 342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9942" h="342463">
                  <a:moveTo>
                    <a:pt x="24809" y="334024"/>
                  </a:moveTo>
                  <a:cubicBezTo>
                    <a:pt x="69440" y="231616"/>
                    <a:pt x="104148" y="125180"/>
                    <a:pt x="128498" y="16163"/>
                  </a:cubicBezTo>
                  <a:cubicBezTo>
                    <a:pt x="130112" y="8882"/>
                    <a:pt x="125505" y="1668"/>
                    <a:pt x="118240" y="53"/>
                  </a:cubicBezTo>
                  <a:cubicBezTo>
                    <a:pt x="110976" y="-1564"/>
                    <a:pt x="103744" y="3030"/>
                    <a:pt x="102130" y="10311"/>
                  </a:cubicBezTo>
                  <a:cubicBezTo>
                    <a:pt x="78117" y="117663"/>
                    <a:pt x="43912" y="222478"/>
                    <a:pt x="-12" y="323328"/>
                  </a:cubicBezTo>
                  <a:cubicBezTo>
                    <a:pt x="-2971" y="330183"/>
                    <a:pt x="190" y="338134"/>
                    <a:pt x="7051" y="341086"/>
                  </a:cubicBezTo>
                  <a:cubicBezTo>
                    <a:pt x="13912" y="344039"/>
                    <a:pt x="21850" y="340878"/>
                    <a:pt x="24809" y="33402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772D1CE8-F4B6-4EE9-907F-5EE73375B950}"/>
                </a:ext>
              </a:extLst>
            </p:cNvPr>
            <p:cNvSpPr/>
            <p:nvPr/>
          </p:nvSpPr>
          <p:spPr>
            <a:xfrm>
              <a:off x="3973683" y="4780741"/>
              <a:ext cx="44546" cy="151207"/>
            </a:xfrm>
            <a:custGeom>
              <a:avLst/>
              <a:gdLst>
                <a:gd name="connsiteX0" fmla="*/ 25727 w 44546"/>
                <a:gd name="connsiteY0" fmla="*/ 139764 h 151207"/>
                <a:gd name="connsiteX1" fmla="*/ 43351 w 44546"/>
                <a:gd name="connsiteY1" fmla="*/ 14651 h 151207"/>
                <a:gd name="connsiteX2" fmla="*/ 31310 w 44546"/>
                <a:gd name="connsiteY2" fmla="*/ -198 h 151207"/>
                <a:gd name="connsiteX3" fmla="*/ 16445 w 44546"/>
                <a:gd name="connsiteY3" fmla="*/ 11859 h 151207"/>
                <a:gd name="connsiteX4" fmla="*/ -910 w 44546"/>
                <a:gd name="connsiteY4" fmla="*/ 135055 h 151207"/>
                <a:gd name="connsiteX5" fmla="*/ 10054 w 44546"/>
                <a:gd name="connsiteY5" fmla="*/ 150728 h 151207"/>
                <a:gd name="connsiteX6" fmla="*/ 25727 w 44546"/>
                <a:gd name="connsiteY6" fmla="*/ 139764 h 151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546" h="151207">
                  <a:moveTo>
                    <a:pt x="25727" y="139764"/>
                  </a:moveTo>
                  <a:cubicBezTo>
                    <a:pt x="32925" y="98261"/>
                    <a:pt x="38911" y="56523"/>
                    <a:pt x="43351" y="14651"/>
                  </a:cubicBezTo>
                  <a:cubicBezTo>
                    <a:pt x="44124" y="7222"/>
                    <a:pt x="38709" y="572"/>
                    <a:pt x="31310" y="-198"/>
                  </a:cubicBezTo>
                  <a:cubicBezTo>
                    <a:pt x="23877" y="-968"/>
                    <a:pt x="17218" y="4430"/>
                    <a:pt x="16445" y="11859"/>
                  </a:cubicBezTo>
                  <a:cubicBezTo>
                    <a:pt x="12106" y="53093"/>
                    <a:pt x="6187" y="94192"/>
                    <a:pt x="-910" y="135055"/>
                  </a:cubicBezTo>
                  <a:cubicBezTo>
                    <a:pt x="-2222" y="142411"/>
                    <a:pt x="2689" y="149426"/>
                    <a:pt x="10054" y="150728"/>
                  </a:cubicBezTo>
                  <a:cubicBezTo>
                    <a:pt x="17420" y="152029"/>
                    <a:pt x="24416" y="147119"/>
                    <a:pt x="25727" y="13976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03F104FC-3637-424E-91DA-C7E5BC0D0E38}"/>
                </a:ext>
              </a:extLst>
            </p:cNvPr>
            <p:cNvSpPr/>
            <p:nvPr/>
          </p:nvSpPr>
          <p:spPr>
            <a:xfrm>
              <a:off x="3529526" y="5260752"/>
              <a:ext cx="56054" cy="80738"/>
            </a:xfrm>
            <a:custGeom>
              <a:avLst/>
              <a:gdLst>
                <a:gd name="connsiteX0" fmla="*/ 23749 w 56054"/>
                <a:gd name="connsiteY0" fmla="*/ 74475 h 80738"/>
                <a:gd name="connsiteX1" fmla="*/ 39086 w 56054"/>
                <a:gd name="connsiteY1" fmla="*/ 46560 h 80738"/>
                <a:gd name="connsiteX2" fmla="*/ 53816 w 56054"/>
                <a:gd name="connsiteY2" fmla="*/ 18275 h 80738"/>
                <a:gd name="connsiteX3" fmla="*/ 47527 w 56054"/>
                <a:gd name="connsiteY3" fmla="*/ 1681 h 80738"/>
                <a:gd name="connsiteX4" fmla="*/ 47494 w 56054"/>
                <a:gd name="connsiteY4" fmla="*/ 1661 h 80738"/>
                <a:gd name="connsiteX5" fmla="*/ 46754 w 56054"/>
                <a:gd name="connsiteY5" fmla="*/ 1291 h 80738"/>
                <a:gd name="connsiteX6" fmla="*/ 29702 w 56054"/>
                <a:gd name="connsiteY6" fmla="*/ 6134 h 80738"/>
                <a:gd name="connsiteX7" fmla="*/ 15206 w 56054"/>
                <a:gd name="connsiteY7" fmla="*/ 33881 h 80738"/>
                <a:gd name="connsiteX8" fmla="*/ 173 w 56054"/>
                <a:gd name="connsiteY8" fmla="*/ 61325 h 80738"/>
                <a:gd name="connsiteX9" fmla="*/ 5722 w 56054"/>
                <a:gd name="connsiteY9" fmla="*/ 78141 h 80738"/>
                <a:gd name="connsiteX10" fmla="*/ 6462 w 56054"/>
                <a:gd name="connsiteY10" fmla="*/ 78578 h 80738"/>
                <a:gd name="connsiteX11" fmla="*/ 23682 w 56054"/>
                <a:gd name="connsiteY11" fmla="*/ 74563 h 80738"/>
                <a:gd name="connsiteX12" fmla="*/ 23749 w 56054"/>
                <a:gd name="connsiteY12" fmla="*/ 74475 h 80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6054" h="80738">
                  <a:moveTo>
                    <a:pt x="23749" y="74475"/>
                  </a:moveTo>
                  <a:cubicBezTo>
                    <a:pt x="28962" y="65226"/>
                    <a:pt x="34242" y="55977"/>
                    <a:pt x="39086" y="46560"/>
                  </a:cubicBezTo>
                  <a:cubicBezTo>
                    <a:pt x="43929" y="37143"/>
                    <a:pt x="49176" y="27860"/>
                    <a:pt x="53816" y="18275"/>
                  </a:cubicBezTo>
                  <a:cubicBezTo>
                    <a:pt x="56675" y="11959"/>
                    <a:pt x="53850" y="4529"/>
                    <a:pt x="47527" y="1681"/>
                  </a:cubicBezTo>
                  <a:cubicBezTo>
                    <a:pt x="47527" y="1674"/>
                    <a:pt x="47494" y="1667"/>
                    <a:pt x="47494" y="1661"/>
                  </a:cubicBezTo>
                  <a:lnTo>
                    <a:pt x="46754" y="1291"/>
                  </a:lnTo>
                  <a:cubicBezTo>
                    <a:pt x="40700" y="-2035"/>
                    <a:pt x="33099" y="124"/>
                    <a:pt x="29702" y="6134"/>
                  </a:cubicBezTo>
                  <a:cubicBezTo>
                    <a:pt x="25162" y="15551"/>
                    <a:pt x="20016" y="24632"/>
                    <a:pt x="15206" y="33881"/>
                  </a:cubicBezTo>
                  <a:cubicBezTo>
                    <a:pt x="10397" y="43130"/>
                    <a:pt x="5117" y="52244"/>
                    <a:pt x="173" y="61325"/>
                  </a:cubicBezTo>
                  <a:cubicBezTo>
                    <a:pt x="-2854" y="67506"/>
                    <a:pt x="-399" y="74969"/>
                    <a:pt x="5722" y="78141"/>
                  </a:cubicBezTo>
                  <a:lnTo>
                    <a:pt x="6462" y="78578"/>
                  </a:lnTo>
                  <a:cubicBezTo>
                    <a:pt x="12314" y="82227"/>
                    <a:pt x="20050" y="80431"/>
                    <a:pt x="23682" y="74563"/>
                  </a:cubicBezTo>
                  <a:cubicBezTo>
                    <a:pt x="23716" y="74535"/>
                    <a:pt x="23716" y="74505"/>
                    <a:pt x="23749" y="74475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B90F0-3097-4600-890D-42FB9DABDA39}"/>
                </a:ext>
              </a:extLst>
            </p:cNvPr>
            <p:cNvSpPr/>
            <p:nvPr/>
          </p:nvSpPr>
          <p:spPr>
            <a:xfrm>
              <a:off x="3301650" y="5364153"/>
              <a:ext cx="226053" cy="283061"/>
            </a:xfrm>
            <a:custGeom>
              <a:avLst/>
              <a:gdLst>
                <a:gd name="connsiteX0" fmla="*/ 21881 w 226053"/>
                <a:gd name="connsiteY0" fmla="*/ 278642 h 283061"/>
                <a:gd name="connsiteX1" fmla="*/ 29079 w 226053"/>
                <a:gd name="connsiteY1" fmla="*/ 271310 h 283061"/>
                <a:gd name="connsiteX2" fmla="*/ 36108 w 226053"/>
                <a:gd name="connsiteY2" fmla="*/ 263810 h 283061"/>
                <a:gd name="connsiteX3" fmla="*/ 50133 w 226053"/>
                <a:gd name="connsiteY3" fmla="*/ 248776 h 283061"/>
                <a:gd name="connsiteX4" fmla="*/ 77610 w 226053"/>
                <a:gd name="connsiteY4" fmla="*/ 218137 h 283061"/>
                <a:gd name="connsiteX5" fmla="*/ 104113 w 226053"/>
                <a:gd name="connsiteY5" fmla="*/ 186691 h 283061"/>
                <a:gd name="connsiteX6" fmla="*/ 117028 w 226053"/>
                <a:gd name="connsiteY6" fmla="*/ 170715 h 283061"/>
                <a:gd name="connsiteX7" fmla="*/ 123485 w 226053"/>
                <a:gd name="connsiteY7" fmla="*/ 162711 h 283061"/>
                <a:gd name="connsiteX8" fmla="*/ 129741 w 226053"/>
                <a:gd name="connsiteY8" fmla="*/ 154572 h 283061"/>
                <a:gd name="connsiteX9" fmla="*/ 223306 w 226053"/>
                <a:gd name="connsiteY9" fmla="*/ 19470 h 283061"/>
                <a:gd name="connsiteX10" fmla="*/ 218261 w 226053"/>
                <a:gd name="connsiteY10" fmla="*/ 1867 h 283061"/>
                <a:gd name="connsiteX11" fmla="*/ 218161 w 226053"/>
                <a:gd name="connsiteY11" fmla="*/ 1813 h 283061"/>
                <a:gd name="connsiteX12" fmla="*/ 200234 w 226053"/>
                <a:gd name="connsiteY12" fmla="*/ 5412 h 283061"/>
                <a:gd name="connsiteX13" fmla="*/ 108351 w 226053"/>
                <a:gd name="connsiteY13" fmla="*/ 138058 h 283061"/>
                <a:gd name="connsiteX14" fmla="*/ 102196 w 226053"/>
                <a:gd name="connsiteY14" fmla="*/ 146063 h 283061"/>
                <a:gd name="connsiteX15" fmla="*/ 95873 w 226053"/>
                <a:gd name="connsiteY15" fmla="*/ 153933 h 283061"/>
                <a:gd name="connsiteX16" fmla="*/ 83194 w 226053"/>
                <a:gd name="connsiteY16" fmla="*/ 169639 h 283061"/>
                <a:gd name="connsiteX17" fmla="*/ 57162 w 226053"/>
                <a:gd name="connsiteY17" fmla="*/ 200514 h 283061"/>
                <a:gd name="connsiteX18" fmla="*/ 30256 w 226053"/>
                <a:gd name="connsiteY18" fmla="*/ 230581 h 283061"/>
                <a:gd name="connsiteX19" fmla="*/ 16466 w 226053"/>
                <a:gd name="connsiteY19" fmla="*/ 245346 h 283061"/>
                <a:gd name="connsiteX20" fmla="*/ 9740 w 226053"/>
                <a:gd name="connsiteY20" fmla="*/ 252711 h 283061"/>
                <a:gd name="connsiteX21" fmla="*/ 2644 w 226053"/>
                <a:gd name="connsiteY21" fmla="*/ 259942 h 283061"/>
                <a:gd name="connsiteX22" fmla="*/ 3013 w 226053"/>
                <a:gd name="connsiteY22" fmla="*/ 279029 h 283061"/>
                <a:gd name="connsiteX23" fmla="*/ 22117 w 226053"/>
                <a:gd name="connsiteY23" fmla="*/ 278642 h 283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26053" h="283061">
                  <a:moveTo>
                    <a:pt x="21881" y="278642"/>
                  </a:moveTo>
                  <a:lnTo>
                    <a:pt x="29079" y="271310"/>
                  </a:lnTo>
                  <a:lnTo>
                    <a:pt x="36108" y="263810"/>
                  </a:lnTo>
                  <a:lnTo>
                    <a:pt x="50133" y="248776"/>
                  </a:lnTo>
                  <a:cubicBezTo>
                    <a:pt x="59449" y="238687"/>
                    <a:pt x="68429" y="228328"/>
                    <a:pt x="77610" y="218137"/>
                  </a:cubicBezTo>
                  <a:cubicBezTo>
                    <a:pt x="86792" y="207947"/>
                    <a:pt x="95436" y="197319"/>
                    <a:pt x="104113" y="186691"/>
                  </a:cubicBezTo>
                  <a:lnTo>
                    <a:pt x="117028" y="170715"/>
                  </a:lnTo>
                  <a:lnTo>
                    <a:pt x="123485" y="162711"/>
                  </a:lnTo>
                  <a:lnTo>
                    <a:pt x="129741" y="154572"/>
                  </a:lnTo>
                  <a:cubicBezTo>
                    <a:pt x="163340" y="111260"/>
                    <a:pt x="194584" y="66159"/>
                    <a:pt x="223306" y="19470"/>
                  </a:cubicBezTo>
                  <a:cubicBezTo>
                    <a:pt x="226770" y="13215"/>
                    <a:pt x="224517" y="5334"/>
                    <a:pt x="218261" y="1867"/>
                  </a:cubicBezTo>
                  <a:cubicBezTo>
                    <a:pt x="218228" y="1850"/>
                    <a:pt x="218194" y="1830"/>
                    <a:pt x="218161" y="1813"/>
                  </a:cubicBezTo>
                  <a:cubicBezTo>
                    <a:pt x="212208" y="-2017"/>
                    <a:pt x="204270" y="-423"/>
                    <a:pt x="200234" y="5412"/>
                  </a:cubicBezTo>
                  <a:cubicBezTo>
                    <a:pt x="172017" y="51260"/>
                    <a:pt x="141344" y="95540"/>
                    <a:pt x="108351" y="138058"/>
                  </a:cubicBezTo>
                  <a:lnTo>
                    <a:pt x="102196" y="146063"/>
                  </a:lnTo>
                  <a:lnTo>
                    <a:pt x="95873" y="153933"/>
                  </a:lnTo>
                  <a:lnTo>
                    <a:pt x="83194" y="169639"/>
                  </a:lnTo>
                  <a:cubicBezTo>
                    <a:pt x="74684" y="180065"/>
                    <a:pt x="65805" y="190189"/>
                    <a:pt x="57162" y="200514"/>
                  </a:cubicBezTo>
                  <a:cubicBezTo>
                    <a:pt x="48518" y="210839"/>
                    <a:pt x="39337" y="220693"/>
                    <a:pt x="30256" y="230581"/>
                  </a:cubicBezTo>
                  <a:lnTo>
                    <a:pt x="16466" y="245346"/>
                  </a:lnTo>
                  <a:lnTo>
                    <a:pt x="9740" y="252711"/>
                  </a:lnTo>
                  <a:lnTo>
                    <a:pt x="2644" y="259942"/>
                  </a:lnTo>
                  <a:cubicBezTo>
                    <a:pt x="-2536" y="265320"/>
                    <a:pt x="-2334" y="273866"/>
                    <a:pt x="3013" y="279029"/>
                  </a:cubicBezTo>
                  <a:cubicBezTo>
                    <a:pt x="8395" y="284191"/>
                    <a:pt x="16937" y="284020"/>
                    <a:pt x="22117" y="27864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229D9D3A-A671-49F2-8C8A-99952567C954}"/>
                </a:ext>
              </a:extLst>
            </p:cNvPr>
            <p:cNvSpPr/>
            <p:nvPr/>
          </p:nvSpPr>
          <p:spPr>
            <a:xfrm>
              <a:off x="3464354" y="5375668"/>
              <a:ext cx="122664" cy="168603"/>
            </a:xfrm>
            <a:custGeom>
              <a:avLst/>
              <a:gdLst>
                <a:gd name="connsiteX0" fmla="*/ 22935 w 122664"/>
                <a:gd name="connsiteY0" fmla="*/ 163438 h 168603"/>
                <a:gd name="connsiteX1" fmla="*/ 119863 w 122664"/>
                <a:gd name="connsiteY1" fmla="*/ 19458 h 168603"/>
                <a:gd name="connsiteX2" fmla="*/ 114919 w 122664"/>
                <a:gd name="connsiteY2" fmla="*/ 1727 h 168603"/>
                <a:gd name="connsiteX3" fmla="*/ 114818 w 122664"/>
                <a:gd name="connsiteY3" fmla="*/ 1666 h 168603"/>
                <a:gd name="connsiteX4" fmla="*/ 114617 w 122664"/>
                <a:gd name="connsiteY4" fmla="*/ 1666 h 168603"/>
                <a:gd name="connsiteX5" fmla="*/ 96590 w 122664"/>
                <a:gd name="connsiteY5" fmla="*/ 5837 h 168603"/>
                <a:gd name="connsiteX6" fmla="*/ 1342 w 122664"/>
                <a:gd name="connsiteY6" fmla="*/ 147295 h 168603"/>
                <a:gd name="connsiteX7" fmla="*/ 4235 w 122664"/>
                <a:gd name="connsiteY7" fmla="*/ 165456 h 168603"/>
                <a:gd name="connsiteX8" fmla="*/ 4437 w 122664"/>
                <a:gd name="connsiteY8" fmla="*/ 165456 h 168603"/>
                <a:gd name="connsiteX9" fmla="*/ 22935 w 122664"/>
                <a:gd name="connsiteY9" fmla="*/ 163438 h 168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2664" h="168603">
                  <a:moveTo>
                    <a:pt x="22935" y="163438"/>
                  </a:moveTo>
                  <a:cubicBezTo>
                    <a:pt x="57980" y="117335"/>
                    <a:pt x="90334" y="69261"/>
                    <a:pt x="119863" y="19458"/>
                  </a:cubicBezTo>
                  <a:cubicBezTo>
                    <a:pt x="123395" y="13199"/>
                    <a:pt x="121175" y="5258"/>
                    <a:pt x="114919" y="1727"/>
                  </a:cubicBezTo>
                  <a:cubicBezTo>
                    <a:pt x="114886" y="1707"/>
                    <a:pt x="114852" y="1686"/>
                    <a:pt x="114818" y="1666"/>
                  </a:cubicBezTo>
                  <a:lnTo>
                    <a:pt x="114617" y="1666"/>
                  </a:lnTo>
                  <a:cubicBezTo>
                    <a:pt x="108462" y="-2084"/>
                    <a:pt x="100458" y="-227"/>
                    <a:pt x="96590" y="5837"/>
                  </a:cubicBezTo>
                  <a:cubicBezTo>
                    <a:pt x="67565" y="54765"/>
                    <a:pt x="35748" y="101995"/>
                    <a:pt x="1342" y="147295"/>
                  </a:cubicBezTo>
                  <a:cubicBezTo>
                    <a:pt x="-2862" y="153117"/>
                    <a:pt x="-1550" y="161225"/>
                    <a:pt x="4235" y="165456"/>
                  </a:cubicBezTo>
                  <a:lnTo>
                    <a:pt x="4437" y="165456"/>
                  </a:lnTo>
                  <a:cubicBezTo>
                    <a:pt x="10120" y="169973"/>
                    <a:pt x="18361" y="169072"/>
                    <a:pt x="22935" y="16343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FD726E68-6E50-461F-94DC-CFDD574106C7}"/>
                </a:ext>
              </a:extLst>
            </p:cNvPr>
            <p:cNvSpPr/>
            <p:nvPr/>
          </p:nvSpPr>
          <p:spPr>
            <a:xfrm>
              <a:off x="3278230" y="5562102"/>
              <a:ext cx="177900" cy="186674"/>
            </a:xfrm>
            <a:custGeom>
              <a:avLst/>
              <a:gdLst>
                <a:gd name="connsiteX0" fmla="*/ 21120 w 177900"/>
                <a:gd name="connsiteY0" fmla="*/ 183070 h 186674"/>
                <a:gd name="connsiteX1" fmla="*/ 174013 w 177900"/>
                <a:gd name="connsiteY1" fmla="*/ 21264 h 186674"/>
                <a:gd name="connsiteX2" fmla="*/ 171727 w 177900"/>
                <a:gd name="connsiteY2" fmla="*/ 2854 h 186674"/>
                <a:gd name="connsiteX3" fmla="*/ 171626 w 177900"/>
                <a:gd name="connsiteY3" fmla="*/ 2767 h 186674"/>
                <a:gd name="connsiteX4" fmla="*/ 153027 w 177900"/>
                <a:gd name="connsiteY4" fmla="*/ 4280 h 186674"/>
                <a:gd name="connsiteX5" fmla="*/ 2824 w 177900"/>
                <a:gd name="connsiteY5" fmla="*/ 163227 h 186674"/>
                <a:gd name="connsiteX6" fmla="*/ 2454 w 177900"/>
                <a:gd name="connsiteY6" fmla="*/ 181859 h 186674"/>
                <a:gd name="connsiteX7" fmla="*/ 20952 w 177900"/>
                <a:gd name="connsiteY7" fmla="*/ 183215 h 186674"/>
                <a:gd name="connsiteX8" fmla="*/ 21120 w 177900"/>
                <a:gd name="connsiteY8" fmla="*/ 183070 h 186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7900" h="186674">
                  <a:moveTo>
                    <a:pt x="21120" y="183070"/>
                  </a:moveTo>
                  <a:cubicBezTo>
                    <a:pt x="75908" y="132864"/>
                    <a:pt x="126995" y="78789"/>
                    <a:pt x="174013" y="21264"/>
                  </a:cubicBezTo>
                  <a:cubicBezTo>
                    <a:pt x="178453" y="15554"/>
                    <a:pt x="177444" y="7310"/>
                    <a:pt x="171727" y="2854"/>
                  </a:cubicBezTo>
                  <a:cubicBezTo>
                    <a:pt x="171693" y="2824"/>
                    <a:pt x="171659" y="2797"/>
                    <a:pt x="171626" y="2767"/>
                  </a:cubicBezTo>
                  <a:cubicBezTo>
                    <a:pt x="166042" y="-1811"/>
                    <a:pt x="157803" y="-1141"/>
                    <a:pt x="153027" y="4280"/>
                  </a:cubicBezTo>
                  <a:cubicBezTo>
                    <a:pt x="106849" y="60796"/>
                    <a:pt x="56636" y="113918"/>
                    <a:pt x="2824" y="163227"/>
                  </a:cubicBezTo>
                  <a:cubicBezTo>
                    <a:pt x="-2288" y="168333"/>
                    <a:pt x="-2456" y="176555"/>
                    <a:pt x="2454" y="181859"/>
                  </a:cubicBezTo>
                  <a:cubicBezTo>
                    <a:pt x="7196" y="187341"/>
                    <a:pt x="15470" y="187950"/>
                    <a:pt x="20952" y="183215"/>
                  </a:cubicBezTo>
                  <a:cubicBezTo>
                    <a:pt x="21019" y="183168"/>
                    <a:pt x="21053" y="183121"/>
                    <a:pt x="21120" y="18307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747913C4-54B6-4E54-BCB3-05DC37D1F44B}"/>
                </a:ext>
              </a:extLst>
            </p:cNvPr>
            <p:cNvSpPr/>
            <p:nvPr/>
          </p:nvSpPr>
          <p:spPr>
            <a:xfrm>
              <a:off x="3567973" y="5439659"/>
              <a:ext cx="46180" cy="56628"/>
            </a:xfrm>
            <a:custGeom>
              <a:avLst/>
              <a:gdLst>
                <a:gd name="connsiteX0" fmla="*/ 23677 w 46180"/>
                <a:gd name="connsiteY0" fmla="*/ 50277 h 56628"/>
                <a:gd name="connsiteX1" fmla="*/ 43049 w 46180"/>
                <a:gd name="connsiteY1" fmla="*/ 20310 h 56628"/>
                <a:gd name="connsiteX2" fmla="*/ 38677 w 46180"/>
                <a:gd name="connsiteY2" fmla="*/ 1812 h 56628"/>
                <a:gd name="connsiteX3" fmla="*/ 20146 w 46180"/>
                <a:gd name="connsiteY3" fmla="*/ 5949 h 56628"/>
                <a:gd name="connsiteX4" fmla="*/ 1109 w 46180"/>
                <a:gd name="connsiteY4" fmla="*/ 35411 h 56628"/>
                <a:gd name="connsiteX5" fmla="*/ 4944 w 46180"/>
                <a:gd name="connsiteY5" fmla="*/ 54127 h 56628"/>
                <a:gd name="connsiteX6" fmla="*/ 23677 w 46180"/>
                <a:gd name="connsiteY6" fmla="*/ 50277 h 56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180" h="56628">
                  <a:moveTo>
                    <a:pt x="23677" y="50277"/>
                  </a:moveTo>
                  <a:cubicBezTo>
                    <a:pt x="30235" y="40355"/>
                    <a:pt x="36827" y="30433"/>
                    <a:pt x="43049" y="20310"/>
                  </a:cubicBezTo>
                  <a:cubicBezTo>
                    <a:pt x="46951" y="13994"/>
                    <a:pt x="45000" y="5717"/>
                    <a:pt x="38677" y="1812"/>
                  </a:cubicBezTo>
                  <a:cubicBezTo>
                    <a:pt x="32421" y="-2146"/>
                    <a:pt x="24114" y="-297"/>
                    <a:pt x="20146" y="5949"/>
                  </a:cubicBezTo>
                  <a:cubicBezTo>
                    <a:pt x="14058" y="16039"/>
                    <a:pt x="7567" y="25658"/>
                    <a:pt x="1109" y="35411"/>
                  </a:cubicBezTo>
                  <a:cubicBezTo>
                    <a:pt x="-2994" y="41643"/>
                    <a:pt x="-1278" y="50021"/>
                    <a:pt x="4944" y="54127"/>
                  </a:cubicBezTo>
                  <a:cubicBezTo>
                    <a:pt x="11199" y="58234"/>
                    <a:pt x="19574" y="56509"/>
                    <a:pt x="23677" y="5027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A7A6CB8A-4B50-4E02-B6DC-EE5414452BEA}"/>
                </a:ext>
              </a:extLst>
            </p:cNvPr>
            <p:cNvSpPr/>
            <p:nvPr/>
          </p:nvSpPr>
          <p:spPr>
            <a:xfrm>
              <a:off x="3409789" y="5398149"/>
              <a:ext cx="295194" cy="381493"/>
            </a:xfrm>
            <a:custGeom>
              <a:avLst/>
              <a:gdLst>
                <a:gd name="connsiteX0" fmla="*/ 22140 w 295194"/>
                <a:gd name="connsiteY0" fmla="*/ 376990 h 381493"/>
                <a:gd name="connsiteX1" fmla="*/ 292175 w 295194"/>
                <a:gd name="connsiteY1" fmla="*/ 19981 h 381493"/>
                <a:gd name="connsiteX2" fmla="*/ 287500 w 295194"/>
                <a:gd name="connsiteY2" fmla="*/ 1541 h 381493"/>
                <a:gd name="connsiteX3" fmla="*/ 287164 w 295194"/>
                <a:gd name="connsiteY3" fmla="*/ 1349 h 381493"/>
                <a:gd name="connsiteX4" fmla="*/ 268599 w 295194"/>
                <a:gd name="connsiteY4" fmla="*/ 6831 h 381493"/>
                <a:gd name="connsiteX5" fmla="*/ 2902 w 295194"/>
                <a:gd name="connsiteY5" fmla="*/ 358055 h 381493"/>
                <a:gd name="connsiteX6" fmla="*/ 2701 w 295194"/>
                <a:gd name="connsiteY6" fmla="*/ 377293 h 381493"/>
                <a:gd name="connsiteX7" fmla="*/ 2701 w 295194"/>
                <a:gd name="connsiteY7" fmla="*/ 377293 h 381493"/>
                <a:gd name="connsiteX8" fmla="*/ 21972 w 295194"/>
                <a:gd name="connsiteY8" fmla="*/ 377171 h 381493"/>
                <a:gd name="connsiteX9" fmla="*/ 22140 w 295194"/>
                <a:gd name="connsiteY9" fmla="*/ 376990 h 381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194" h="381493">
                  <a:moveTo>
                    <a:pt x="22140" y="376990"/>
                  </a:moveTo>
                  <a:cubicBezTo>
                    <a:pt x="127914" y="270765"/>
                    <a:pt x="218755" y="150664"/>
                    <a:pt x="292175" y="19981"/>
                  </a:cubicBezTo>
                  <a:cubicBezTo>
                    <a:pt x="295975" y="13598"/>
                    <a:pt x="293890" y="5341"/>
                    <a:pt x="287500" y="1541"/>
                  </a:cubicBezTo>
                  <a:cubicBezTo>
                    <a:pt x="287399" y="1473"/>
                    <a:pt x="287265" y="1413"/>
                    <a:pt x="287164" y="1349"/>
                  </a:cubicBezTo>
                  <a:cubicBezTo>
                    <a:pt x="280505" y="-2186"/>
                    <a:pt x="272265" y="253"/>
                    <a:pt x="268599" y="6831"/>
                  </a:cubicBezTo>
                  <a:cubicBezTo>
                    <a:pt x="196322" y="135381"/>
                    <a:pt x="106927" y="253535"/>
                    <a:pt x="2902" y="358055"/>
                  </a:cubicBezTo>
                  <a:cubicBezTo>
                    <a:pt x="-2378" y="363345"/>
                    <a:pt x="-2479" y="371891"/>
                    <a:pt x="2701" y="377293"/>
                  </a:cubicBezTo>
                  <a:lnTo>
                    <a:pt x="2701" y="377293"/>
                  </a:lnTo>
                  <a:cubicBezTo>
                    <a:pt x="8048" y="382580"/>
                    <a:pt x="16692" y="382526"/>
                    <a:pt x="21972" y="377171"/>
                  </a:cubicBezTo>
                  <a:cubicBezTo>
                    <a:pt x="22039" y="377111"/>
                    <a:pt x="22073" y="377050"/>
                    <a:pt x="22140" y="37699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B4D7EBD9-EACB-42CE-B9BD-BDDABE27DFB1}"/>
                </a:ext>
              </a:extLst>
            </p:cNvPr>
            <p:cNvSpPr/>
            <p:nvPr/>
          </p:nvSpPr>
          <p:spPr>
            <a:xfrm>
              <a:off x="3699844" y="5252073"/>
              <a:ext cx="139782" cy="248275"/>
            </a:xfrm>
            <a:custGeom>
              <a:avLst/>
              <a:gdLst>
                <a:gd name="connsiteX0" fmla="*/ 23813 w 139782"/>
                <a:gd name="connsiteY0" fmla="*/ 241596 h 248275"/>
                <a:gd name="connsiteX1" fmla="*/ 84755 w 139782"/>
                <a:gd name="connsiteY1" fmla="*/ 132089 h 248275"/>
                <a:gd name="connsiteX2" fmla="*/ 137625 w 139782"/>
                <a:gd name="connsiteY2" fmla="*/ 18445 h 248275"/>
                <a:gd name="connsiteX3" fmla="*/ 130327 w 139782"/>
                <a:gd name="connsiteY3" fmla="*/ 771 h 248275"/>
                <a:gd name="connsiteX4" fmla="*/ 112670 w 139782"/>
                <a:gd name="connsiteY4" fmla="*/ 8052 h 248275"/>
                <a:gd name="connsiteX5" fmla="*/ 60775 w 139782"/>
                <a:gd name="connsiteY5" fmla="*/ 119914 h 248275"/>
                <a:gd name="connsiteX6" fmla="*/ 808 w 139782"/>
                <a:gd name="connsiteY6" fmla="*/ 227538 h 248275"/>
                <a:gd name="connsiteX7" fmla="*/ 5416 w 139782"/>
                <a:gd name="connsiteY7" fmla="*/ 246069 h 248275"/>
                <a:gd name="connsiteX8" fmla="*/ 23948 w 139782"/>
                <a:gd name="connsiteY8" fmla="*/ 241462 h 24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9782" h="248275">
                  <a:moveTo>
                    <a:pt x="23813" y="241596"/>
                  </a:moveTo>
                  <a:cubicBezTo>
                    <a:pt x="45506" y="205879"/>
                    <a:pt x="65652" y="169253"/>
                    <a:pt x="84755" y="132089"/>
                  </a:cubicBezTo>
                  <a:cubicBezTo>
                    <a:pt x="103858" y="94925"/>
                    <a:pt x="121145" y="56988"/>
                    <a:pt x="137625" y="18445"/>
                  </a:cubicBezTo>
                  <a:cubicBezTo>
                    <a:pt x="140484" y="11554"/>
                    <a:pt x="137222" y="3640"/>
                    <a:pt x="130327" y="771"/>
                  </a:cubicBezTo>
                  <a:cubicBezTo>
                    <a:pt x="123466" y="-2098"/>
                    <a:pt x="115529" y="1161"/>
                    <a:pt x="112670" y="8052"/>
                  </a:cubicBezTo>
                  <a:cubicBezTo>
                    <a:pt x="96594" y="45889"/>
                    <a:pt x="79508" y="83322"/>
                    <a:pt x="60775" y="119914"/>
                  </a:cubicBezTo>
                  <a:cubicBezTo>
                    <a:pt x="42042" y="156506"/>
                    <a:pt x="22132" y="192526"/>
                    <a:pt x="808" y="227538"/>
                  </a:cubicBezTo>
                  <a:cubicBezTo>
                    <a:pt x="-3025" y="233928"/>
                    <a:pt x="-974" y="242225"/>
                    <a:pt x="5416" y="246069"/>
                  </a:cubicBezTo>
                  <a:cubicBezTo>
                    <a:pt x="11806" y="249913"/>
                    <a:pt x="20114" y="247852"/>
                    <a:pt x="23948" y="24146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7B5D8763-B489-4315-8B18-43FDC49B1EE4}"/>
                </a:ext>
              </a:extLst>
            </p:cNvPr>
            <p:cNvSpPr/>
            <p:nvPr/>
          </p:nvSpPr>
          <p:spPr>
            <a:xfrm>
              <a:off x="3542223" y="5539751"/>
              <a:ext cx="142245" cy="179292"/>
            </a:xfrm>
            <a:custGeom>
              <a:avLst/>
              <a:gdLst>
                <a:gd name="connsiteX0" fmla="*/ 22823 w 142245"/>
                <a:gd name="connsiteY0" fmla="*/ 174210 h 179292"/>
                <a:gd name="connsiteX1" fmla="*/ 138855 w 142245"/>
                <a:gd name="connsiteY1" fmla="*/ 20712 h 179292"/>
                <a:gd name="connsiteX2" fmla="*/ 135122 w 142245"/>
                <a:gd name="connsiteY2" fmla="*/ 1995 h 179292"/>
                <a:gd name="connsiteX3" fmla="*/ 116389 w 142245"/>
                <a:gd name="connsiteY3" fmla="*/ 5745 h 179292"/>
                <a:gd name="connsiteX4" fmla="*/ 2038 w 142245"/>
                <a:gd name="connsiteY4" fmla="*/ 156856 h 179292"/>
                <a:gd name="connsiteX5" fmla="*/ 3687 w 142245"/>
                <a:gd name="connsiteY5" fmla="*/ 175858 h 179292"/>
                <a:gd name="connsiteX6" fmla="*/ 22689 w 142245"/>
                <a:gd name="connsiteY6" fmla="*/ 174210 h 17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245" h="179292">
                  <a:moveTo>
                    <a:pt x="22823" y="174210"/>
                  </a:moveTo>
                  <a:cubicBezTo>
                    <a:pt x="64393" y="125295"/>
                    <a:pt x="103138" y="74046"/>
                    <a:pt x="138855" y="20712"/>
                  </a:cubicBezTo>
                  <a:cubicBezTo>
                    <a:pt x="142992" y="14507"/>
                    <a:pt x="141311" y="6129"/>
                    <a:pt x="135122" y="1995"/>
                  </a:cubicBezTo>
                  <a:cubicBezTo>
                    <a:pt x="128900" y="-2138"/>
                    <a:pt x="120526" y="-460"/>
                    <a:pt x="116389" y="5745"/>
                  </a:cubicBezTo>
                  <a:cubicBezTo>
                    <a:pt x="81142" y="58236"/>
                    <a:pt x="42969" y="108688"/>
                    <a:pt x="2038" y="156856"/>
                  </a:cubicBezTo>
                  <a:cubicBezTo>
                    <a:pt x="-2737" y="162557"/>
                    <a:pt x="-2031" y="171066"/>
                    <a:pt x="3687" y="175858"/>
                  </a:cubicBezTo>
                  <a:cubicBezTo>
                    <a:pt x="9404" y="180651"/>
                    <a:pt x="17913" y="179914"/>
                    <a:pt x="22689" y="17421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3B3850C4-2B40-4D40-9533-E95245B5A3E9}"/>
                </a:ext>
              </a:extLst>
            </p:cNvPr>
            <p:cNvSpPr/>
            <p:nvPr/>
          </p:nvSpPr>
          <p:spPr>
            <a:xfrm>
              <a:off x="3518665" y="5542250"/>
              <a:ext cx="232040" cy="287980"/>
            </a:xfrm>
            <a:custGeom>
              <a:avLst/>
              <a:gdLst>
                <a:gd name="connsiteX0" fmla="*/ 22200 w 232040"/>
                <a:gd name="connsiteY0" fmla="*/ 283539 h 287980"/>
                <a:gd name="connsiteX1" fmla="*/ 228804 w 232040"/>
                <a:gd name="connsiteY1" fmla="*/ 20500 h 287980"/>
                <a:gd name="connsiteX2" fmla="*/ 224701 w 232040"/>
                <a:gd name="connsiteY2" fmla="*/ 1851 h 287980"/>
                <a:gd name="connsiteX3" fmla="*/ 206035 w 232040"/>
                <a:gd name="connsiteY3" fmla="*/ 5971 h 287980"/>
                <a:gd name="connsiteX4" fmla="*/ 2558 w 232040"/>
                <a:gd name="connsiteY4" fmla="*/ 264941 h 287980"/>
                <a:gd name="connsiteX5" fmla="*/ 3130 w 232040"/>
                <a:gd name="connsiteY5" fmla="*/ 284027 h 287980"/>
                <a:gd name="connsiteX6" fmla="*/ 22200 w 232040"/>
                <a:gd name="connsiteY6" fmla="*/ 283472 h 287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2040" h="287980">
                  <a:moveTo>
                    <a:pt x="22200" y="283539"/>
                  </a:moveTo>
                  <a:cubicBezTo>
                    <a:pt x="99184" y="202559"/>
                    <a:pt x="168366" y="114489"/>
                    <a:pt x="228804" y="20500"/>
                  </a:cubicBezTo>
                  <a:cubicBezTo>
                    <a:pt x="232806" y="14211"/>
                    <a:pt x="230956" y="5863"/>
                    <a:pt x="224701" y="1851"/>
                  </a:cubicBezTo>
                  <a:cubicBezTo>
                    <a:pt x="218412" y="-2162"/>
                    <a:pt x="210037" y="-315"/>
                    <a:pt x="206035" y="5971"/>
                  </a:cubicBezTo>
                  <a:cubicBezTo>
                    <a:pt x="146505" y="98500"/>
                    <a:pt x="78366" y="185208"/>
                    <a:pt x="2558" y="264941"/>
                  </a:cubicBezTo>
                  <a:cubicBezTo>
                    <a:pt x="-2554" y="270366"/>
                    <a:pt x="-2318" y="278908"/>
                    <a:pt x="3130" y="284027"/>
                  </a:cubicBezTo>
                  <a:cubicBezTo>
                    <a:pt x="8545" y="289146"/>
                    <a:pt x="17088" y="288897"/>
                    <a:pt x="22200" y="28347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69839680-FB52-48AF-B822-832B2145BDE6}"/>
                </a:ext>
              </a:extLst>
            </p:cNvPr>
            <p:cNvSpPr/>
            <p:nvPr/>
          </p:nvSpPr>
          <p:spPr>
            <a:xfrm>
              <a:off x="3763121" y="5365549"/>
              <a:ext cx="87092" cy="139232"/>
            </a:xfrm>
            <a:custGeom>
              <a:avLst/>
              <a:gdLst>
                <a:gd name="connsiteX0" fmla="*/ 24506 w 87092"/>
                <a:gd name="connsiteY0" fmla="*/ 131483 h 139232"/>
                <a:gd name="connsiteX1" fmla="*/ 40144 w 87092"/>
                <a:gd name="connsiteY1" fmla="*/ 104005 h 139232"/>
                <a:gd name="connsiteX2" fmla="*/ 55346 w 87092"/>
                <a:gd name="connsiteY2" fmla="*/ 76292 h 139232"/>
                <a:gd name="connsiteX3" fmla="*/ 70077 w 87092"/>
                <a:gd name="connsiteY3" fmla="*/ 48310 h 139232"/>
                <a:gd name="connsiteX4" fmla="*/ 84203 w 87092"/>
                <a:gd name="connsiteY4" fmla="*/ 19992 h 139232"/>
                <a:gd name="connsiteX5" fmla="*/ 78755 w 87092"/>
                <a:gd name="connsiteY5" fmla="*/ 925 h 139232"/>
                <a:gd name="connsiteX6" fmla="*/ 78553 w 87092"/>
                <a:gd name="connsiteY6" fmla="*/ 821 h 139232"/>
                <a:gd name="connsiteX7" fmla="*/ 59920 w 87092"/>
                <a:gd name="connsiteY7" fmla="*/ 8186 h 139232"/>
                <a:gd name="connsiteX8" fmla="*/ 45996 w 87092"/>
                <a:gd name="connsiteY8" fmla="*/ 36068 h 139232"/>
                <a:gd name="connsiteX9" fmla="*/ 31467 w 87092"/>
                <a:gd name="connsiteY9" fmla="*/ 63613 h 139232"/>
                <a:gd name="connsiteX10" fmla="*/ 16501 w 87092"/>
                <a:gd name="connsiteY10" fmla="*/ 90922 h 139232"/>
                <a:gd name="connsiteX11" fmla="*/ 1131 w 87092"/>
                <a:gd name="connsiteY11" fmla="*/ 117828 h 139232"/>
                <a:gd name="connsiteX12" fmla="*/ 5267 w 87092"/>
                <a:gd name="connsiteY12" fmla="*/ 137335 h 139232"/>
                <a:gd name="connsiteX13" fmla="*/ 24506 w 87092"/>
                <a:gd name="connsiteY13" fmla="*/ 131483 h 139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7092" h="139232">
                  <a:moveTo>
                    <a:pt x="24506" y="131483"/>
                  </a:moveTo>
                  <a:cubicBezTo>
                    <a:pt x="29954" y="122470"/>
                    <a:pt x="34932" y="113153"/>
                    <a:pt x="40144" y="104005"/>
                  </a:cubicBezTo>
                  <a:cubicBezTo>
                    <a:pt x="45358" y="94857"/>
                    <a:pt x="50470" y="85642"/>
                    <a:pt x="55346" y="76292"/>
                  </a:cubicBezTo>
                  <a:lnTo>
                    <a:pt x="70077" y="48310"/>
                  </a:lnTo>
                  <a:lnTo>
                    <a:pt x="84203" y="19992"/>
                  </a:lnTo>
                  <a:cubicBezTo>
                    <a:pt x="87970" y="13218"/>
                    <a:pt x="85514" y="4682"/>
                    <a:pt x="78755" y="925"/>
                  </a:cubicBezTo>
                  <a:cubicBezTo>
                    <a:pt x="78687" y="888"/>
                    <a:pt x="78620" y="855"/>
                    <a:pt x="78553" y="821"/>
                  </a:cubicBezTo>
                  <a:cubicBezTo>
                    <a:pt x="71355" y="-2139"/>
                    <a:pt x="63149" y="1117"/>
                    <a:pt x="59920" y="8186"/>
                  </a:cubicBezTo>
                  <a:lnTo>
                    <a:pt x="45996" y="36068"/>
                  </a:lnTo>
                  <a:lnTo>
                    <a:pt x="31467" y="63613"/>
                  </a:lnTo>
                  <a:cubicBezTo>
                    <a:pt x="26691" y="72828"/>
                    <a:pt x="21613" y="81875"/>
                    <a:pt x="16501" y="90922"/>
                  </a:cubicBezTo>
                  <a:cubicBezTo>
                    <a:pt x="11389" y="99970"/>
                    <a:pt x="6411" y="109084"/>
                    <a:pt x="1131" y="117828"/>
                  </a:cubicBezTo>
                  <a:cubicBezTo>
                    <a:pt x="-3073" y="124363"/>
                    <a:pt x="-1223" y="133071"/>
                    <a:pt x="5267" y="137335"/>
                  </a:cubicBezTo>
                  <a:cubicBezTo>
                    <a:pt x="12196" y="140947"/>
                    <a:pt x="20772" y="138348"/>
                    <a:pt x="24506" y="13148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9365C043-BB23-4E81-9E02-1A29D1236CFF}"/>
                </a:ext>
              </a:extLst>
            </p:cNvPr>
            <p:cNvSpPr/>
            <p:nvPr/>
          </p:nvSpPr>
          <p:spPr>
            <a:xfrm>
              <a:off x="3357688" y="5869193"/>
              <a:ext cx="121994" cy="110541"/>
            </a:xfrm>
            <a:custGeom>
              <a:avLst/>
              <a:gdLst>
                <a:gd name="connsiteX0" fmla="*/ 21774 w 121994"/>
                <a:gd name="connsiteY0" fmla="*/ 106698 h 110541"/>
                <a:gd name="connsiteX1" fmla="*/ 116685 w 121994"/>
                <a:gd name="connsiteY1" fmla="*/ 22987 h 110541"/>
                <a:gd name="connsiteX2" fmla="*/ 117156 w 121994"/>
                <a:gd name="connsiteY2" fmla="*/ 3918 h 110541"/>
                <a:gd name="connsiteX3" fmla="*/ 98087 w 121994"/>
                <a:gd name="connsiteY3" fmla="*/ 3447 h 110541"/>
                <a:gd name="connsiteX4" fmla="*/ 4588 w 121994"/>
                <a:gd name="connsiteY4" fmla="*/ 85880 h 110541"/>
                <a:gd name="connsiteX5" fmla="*/ 1629 w 121994"/>
                <a:gd name="connsiteY5" fmla="*/ 105555 h 110541"/>
                <a:gd name="connsiteX6" fmla="*/ 1629 w 121994"/>
                <a:gd name="connsiteY6" fmla="*/ 105555 h 110541"/>
                <a:gd name="connsiteX7" fmla="*/ 21774 w 121994"/>
                <a:gd name="connsiteY7" fmla="*/ 106698 h 110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94" h="110541">
                  <a:moveTo>
                    <a:pt x="21774" y="106698"/>
                  </a:moveTo>
                  <a:cubicBezTo>
                    <a:pt x="54297" y="79792"/>
                    <a:pt x="85945" y="51888"/>
                    <a:pt x="116685" y="22987"/>
                  </a:cubicBezTo>
                  <a:cubicBezTo>
                    <a:pt x="122067" y="17851"/>
                    <a:pt x="122302" y="9312"/>
                    <a:pt x="117156" y="3918"/>
                  </a:cubicBezTo>
                  <a:cubicBezTo>
                    <a:pt x="112011" y="-1477"/>
                    <a:pt x="103468" y="-1689"/>
                    <a:pt x="98087" y="3447"/>
                  </a:cubicBezTo>
                  <a:cubicBezTo>
                    <a:pt x="67851" y="31967"/>
                    <a:pt x="36707" y="59445"/>
                    <a:pt x="4588" y="85880"/>
                  </a:cubicBezTo>
                  <a:cubicBezTo>
                    <a:pt x="-1667" y="90504"/>
                    <a:pt x="-2979" y="99302"/>
                    <a:pt x="1629" y="105555"/>
                  </a:cubicBezTo>
                  <a:lnTo>
                    <a:pt x="1629" y="105555"/>
                  </a:lnTo>
                  <a:cubicBezTo>
                    <a:pt x="6909" y="111366"/>
                    <a:pt x="15855" y="111874"/>
                    <a:pt x="21774" y="10669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83195436-E95C-44A0-B59C-0FF839AC8BD4}"/>
                </a:ext>
              </a:extLst>
            </p:cNvPr>
            <p:cNvSpPr/>
            <p:nvPr/>
          </p:nvSpPr>
          <p:spPr>
            <a:xfrm>
              <a:off x="2855362" y="6192897"/>
              <a:ext cx="144270" cy="75392"/>
            </a:xfrm>
            <a:custGeom>
              <a:avLst/>
              <a:gdLst>
                <a:gd name="connsiteX0" fmla="*/ 18101 w 144270"/>
                <a:gd name="connsiteY0" fmla="*/ 73949 h 75392"/>
                <a:gd name="connsiteX1" fmla="*/ 135310 w 144270"/>
                <a:gd name="connsiteY1" fmla="*/ 25450 h 75392"/>
                <a:gd name="connsiteX2" fmla="*/ 141902 w 144270"/>
                <a:gd name="connsiteY2" fmla="*/ 7575 h 75392"/>
                <a:gd name="connsiteX3" fmla="*/ 124043 w 144270"/>
                <a:gd name="connsiteY3" fmla="*/ 966 h 75392"/>
                <a:gd name="connsiteX4" fmla="*/ 8650 w 144270"/>
                <a:gd name="connsiteY4" fmla="*/ 48724 h 75392"/>
                <a:gd name="connsiteX5" fmla="*/ -498 w 144270"/>
                <a:gd name="connsiteY5" fmla="*/ 66516 h 75392"/>
                <a:gd name="connsiteX6" fmla="*/ 17966 w 144270"/>
                <a:gd name="connsiteY6" fmla="*/ 74006 h 75392"/>
                <a:gd name="connsiteX7" fmla="*/ 18101 w 144270"/>
                <a:gd name="connsiteY7" fmla="*/ 73949 h 75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270" h="75392">
                  <a:moveTo>
                    <a:pt x="18101" y="73949"/>
                  </a:moveTo>
                  <a:cubicBezTo>
                    <a:pt x="57821" y="59419"/>
                    <a:pt x="96767" y="42838"/>
                    <a:pt x="135310" y="25450"/>
                  </a:cubicBezTo>
                  <a:cubicBezTo>
                    <a:pt x="142070" y="22339"/>
                    <a:pt x="145029" y="14335"/>
                    <a:pt x="141902" y="7575"/>
                  </a:cubicBezTo>
                  <a:cubicBezTo>
                    <a:pt x="138808" y="815"/>
                    <a:pt x="130803" y="-2145"/>
                    <a:pt x="124043" y="966"/>
                  </a:cubicBezTo>
                  <a:cubicBezTo>
                    <a:pt x="86105" y="18085"/>
                    <a:pt x="47764" y="34397"/>
                    <a:pt x="8650" y="48724"/>
                  </a:cubicBezTo>
                  <a:cubicBezTo>
                    <a:pt x="1284" y="51206"/>
                    <a:pt x="-2751" y="59086"/>
                    <a:pt x="-498" y="66516"/>
                  </a:cubicBezTo>
                  <a:cubicBezTo>
                    <a:pt x="2529" y="73683"/>
                    <a:pt x="10802" y="77036"/>
                    <a:pt x="17966" y="74006"/>
                  </a:cubicBezTo>
                  <a:cubicBezTo>
                    <a:pt x="18000" y="73985"/>
                    <a:pt x="18067" y="73969"/>
                    <a:pt x="18101" y="73949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00DE32FB-013E-4B68-8677-E7C05A430387}"/>
                </a:ext>
              </a:extLst>
            </p:cNvPr>
            <p:cNvSpPr/>
            <p:nvPr/>
          </p:nvSpPr>
          <p:spPr>
            <a:xfrm>
              <a:off x="2874344" y="5751821"/>
              <a:ext cx="308219" cy="201620"/>
            </a:xfrm>
            <a:custGeom>
              <a:avLst/>
              <a:gdLst>
                <a:gd name="connsiteX0" fmla="*/ 17548 w 308219"/>
                <a:gd name="connsiteY0" fmla="*/ 200293 h 201620"/>
                <a:gd name="connsiteX1" fmla="*/ 164724 w 308219"/>
                <a:gd name="connsiteY1" fmla="*/ 119978 h 201620"/>
                <a:gd name="connsiteX2" fmla="*/ 302012 w 308219"/>
                <a:gd name="connsiteY2" fmla="*/ 23789 h 201620"/>
                <a:gd name="connsiteX3" fmla="*/ 304164 w 308219"/>
                <a:gd name="connsiteY3" fmla="*/ 4821 h 201620"/>
                <a:gd name="connsiteX4" fmla="*/ 285196 w 308219"/>
                <a:gd name="connsiteY4" fmla="*/ 2668 h 201620"/>
                <a:gd name="connsiteX5" fmla="*/ 150397 w 308219"/>
                <a:gd name="connsiteY5" fmla="*/ 97142 h 201620"/>
                <a:gd name="connsiteX6" fmla="*/ 5777 w 308219"/>
                <a:gd name="connsiteY6" fmla="*/ 175976 h 201620"/>
                <a:gd name="connsiteX7" fmla="*/ 329 w 308219"/>
                <a:gd name="connsiteY7" fmla="*/ 193364 h 201620"/>
                <a:gd name="connsiteX8" fmla="*/ 17548 w 308219"/>
                <a:gd name="connsiteY8" fmla="*/ 200299 h 201620"/>
                <a:gd name="connsiteX9" fmla="*/ 17548 w 308219"/>
                <a:gd name="connsiteY9" fmla="*/ 200293 h 201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219" h="201620">
                  <a:moveTo>
                    <a:pt x="17548" y="200293"/>
                  </a:moveTo>
                  <a:cubicBezTo>
                    <a:pt x="68098" y="176363"/>
                    <a:pt x="117235" y="149548"/>
                    <a:pt x="164724" y="119978"/>
                  </a:cubicBezTo>
                  <a:cubicBezTo>
                    <a:pt x="212280" y="90543"/>
                    <a:pt x="258121" y="58427"/>
                    <a:pt x="302012" y="23789"/>
                  </a:cubicBezTo>
                  <a:cubicBezTo>
                    <a:pt x="307830" y="19145"/>
                    <a:pt x="308805" y="10653"/>
                    <a:pt x="304164" y="4821"/>
                  </a:cubicBezTo>
                  <a:cubicBezTo>
                    <a:pt x="299523" y="-1011"/>
                    <a:pt x="291014" y="-1976"/>
                    <a:pt x="285196" y="2668"/>
                  </a:cubicBezTo>
                  <a:cubicBezTo>
                    <a:pt x="242079" y="36674"/>
                    <a:pt x="197079" y="68218"/>
                    <a:pt x="150397" y="97142"/>
                  </a:cubicBezTo>
                  <a:cubicBezTo>
                    <a:pt x="103748" y="126156"/>
                    <a:pt x="55452" y="152477"/>
                    <a:pt x="5777" y="175976"/>
                  </a:cubicBezTo>
                  <a:cubicBezTo>
                    <a:pt x="-512" y="179299"/>
                    <a:pt x="-2934" y="187055"/>
                    <a:pt x="329" y="193364"/>
                  </a:cubicBezTo>
                  <a:cubicBezTo>
                    <a:pt x="3154" y="200030"/>
                    <a:pt x="10856" y="203134"/>
                    <a:pt x="17548" y="200299"/>
                  </a:cubicBezTo>
                  <a:cubicBezTo>
                    <a:pt x="17548" y="200296"/>
                    <a:pt x="17548" y="200296"/>
                    <a:pt x="17548" y="20029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92EB28B4-4C02-42D4-9B00-6CFF8C1DDD5D}"/>
                </a:ext>
              </a:extLst>
            </p:cNvPr>
            <p:cNvSpPr/>
            <p:nvPr/>
          </p:nvSpPr>
          <p:spPr>
            <a:xfrm>
              <a:off x="3063373" y="5784574"/>
              <a:ext cx="169078" cy="128945"/>
            </a:xfrm>
            <a:custGeom>
              <a:avLst/>
              <a:gdLst>
                <a:gd name="connsiteX0" fmla="*/ 19283 w 169078"/>
                <a:gd name="connsiteY0" fmla="*/ 126844 h 128945"/>
                <a:gd name="connsiteX1" fmla="*/ 163264 w 169078"/>
                <a:gd name="connsiteY1" fmla="*/ 23323 h 128945"/>
                <a:gd name="connsiteX2" fmla="*/ 164946 w 169078"/>
                <a:gd name="connsiteY2" fmla="*/ 4994 h 128945"/>
                <a:gd name="connsiteX3" fmla="*/ 164777 w 169078"/>
                <a:gd name="connsiteY3" fmla="*/ 4792 h 128945"/>
                <a:gd name="connsiteX4" fmla="*/ 146212 w 169078"/>
                <a:gd name="connsiteY4" fmla="*/ 2404 h 128945"/>
                <a:gd name="connsiteX5" fmla="*/ 4754 w 169078"/>
                <a:gd name="connsiteY5" fmla="*/ 104109 h 128945"/>
                <a:gd name="connsiteX6" fmla="*/ 1055 w 169078"/>
                <a:gd name="connsiteY6" fmla="*/ 122270 h 128945"/>
                <a:gd name="connsiteX7" fmla="*/ 19283 w 169078"/>
                <a:gd name="connsiteY7" fmla="*/ 126844 h 128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078" h="128945">
                  <a:moveTo>
                    <a:pt x="19283" y="126844"/>
                  </a:moveTo>
                  <a:cubicBezTo>
                    <a:pt x="69194" y="95102"/>
                    <a:pt x="117288" y="60538"/>
                    <a:pt x="163264" y="23323"/>
                  </a:cubicBezTo>
                  <a:cubicBezTo>
                    <a:pt x="168780" y="18726"/>
                    <a:pt x="169553" y="10520"/>
                    <a:pt x="164946" y="4994"/>
                  </a:cubicBezTo>
                  <a:cubicBezTo>
                    <a:pt x="164878" y="4926"/>
                    <a:pt x="164845" y="4859"/>
                    <a:pt x="164777" y="4792"/>
                  </a:cubicBezTo>
                  <a:cubicBezTo>
                    <a:pt x="160237" y="-885"/>
                    <a:pt x="152031" y="-1941"/>
                    <a:pt x="146212" y="2404"/>
                  </a:cubicBezTo>
                  <a:cubicBezTo>
                    <a:pt x="101044" y="38969"/>
                    <a:pt x="53790" y="72925"/>
                    <a:pt x="4754" y="104109"/>
                  </a:cubicBezTo>
                  <a:cubicBezTo>
                    <a:pt x="-1266" y="108104"/>
                    <a:pt x="-2948" y="116233"/>
                    <a:pt x="1055" y="122270"/>
                  </a:cubicBezTo>
                  <a:cubicBezTo>
                    <a:pt x="4889" y="128489"/>
                    <a:pt x="12960" y="130520"/>
                    <a:pt x="19283" y="12684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B5D2B80F-F074-49D8-9968-ECDBC5CA137C}"/>
                </a:ext>
              </a:extLst>
            </p:cNvPr>
            <p:cNvSpPr/>
            <p:nvPr/>
          </p:nvSpPr>
          <p:spPr>
            <a:xfrm>
              <a:off x="2821020" y="5911667"/>
              <a:ext cx="228497" cy="127160"/>
            </a:xfrm>
            <a:custGeom>
              <a:avLst/>
              <a:gdLst>
                <a:gd name="connsiteX0" fmla="*/ 16859 w 228497"/>
                <a:gd name="connsiteY0" fmla="*/ 126040 h 127160"/>
                <a:gd name="connsiteX1" fmla="*/ 69359 w 228497"/>
                <a:gd name="connsiteY1" fmla="*/ 103574 h 127160"/>
                <a:gd name="connsiteX2" fmla="*/ 120884 w 228497"/>
                <a:gd name="connsiteY2" fmla="*/ 79056 h 127160"/>
                <a:gd name="connsiteX3" fmla="*/ 221143 w 228497"/>
                <a:gd name="connsiteY3" fmla="*/ 24504 h 127160"/>
                <a:gd name="connsiteX4" fmla="*/ 225448 w 228497"/>
                <a:gd name="connsiteY4" fmla="*/ 6561 h 127160"/>
                <a:gd name="connsiteX5" fmla="*/ 225347 w 228497"/>
                <a:gd name="connsiteY5" fmla="*/ 6376 h 127160"/>
                <a:gd name="connsiteX6" fmla="*/ 207320 w 228497"/>
                <a:gd name="connsiteY6" fmla="*/ 1365 h 127160"/>
                <a:gd name="connsiteX7" fmla="*/ 108810 w 228497"/>
                <a:gd name="connsiteY7" fmla="*/ 54941 h 127160"/>
                <a:gd name="connsiteX8" fmla="*/ 58193 w 228497"/>
                <a:gd name="connsiteY8" fmla="*/ 79056 h 127160"/>
                <a:gd name="connsiteX9" fmla="*/ 6635 w 228497"/>
                <a:gd name="connsiteY9" fmla="*/ 101085 h 127160"/>
                <a:gd name="connsiteX10" fmla="*/ -92 w 228497"/>
                <a:gd name="connsiteY10" fmla="*/ 118439 h 127160"/>
                <a:gd name="connsiteX11" fmla="*/ -92 w 228497"/>
                <a:gd name="connsiteY11" fmla="*/ 118439 h 127160"/>
                <a:gd name="connsiteX12" fmla="*/ 16859 w 228497"/>
                <a:gd name="connsiteY12" fmla="*/ 126040 h 127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8497" h="127160">
                  <a:moveTo>
                    <a:pt x="16859" y="126040"/>
                  </a:moveTo>
                  <a:cubicBezTo>
                    <a:pt x="34583" y="119045"/>
                    <a:pt x="51904" y="111175"/>
                    <a:pt x="69359" y="103574"/>
                  </a:cubicBezTo>
                  <a:cubicBezTo>
                    <a:pt x="86814" y="95973"/>
                    <a:pt x="103934" y="87666"/>
                    <a:pt x="120884" y="79056"/>
                  </a:cubicBezTo>
                  <a:cubicBezTo>
                    <a:pt x="154954" y="62239"/>
                    <a:pt x="188485" y="44044"/>
                    <a:pt x="221143" y="24504"/>
                  </a:cubicBezTo>
                  <a:cubicBezTo>
                    <a:pt x="227297" y="20744"/>
                    <a:pt x="229214" y="12709"/>
                    <a:pt x="225448" y="6561"/>
                  </a:cubicBezTo>
                  <a:cubicBezTo>
                    <a:pt x="225414" y="6500"/>
                    <a:pt x="225380" y="6437"/>
                    <a:pt x="225347" y="6376"/>
                  </a:cubicBezTo>
                  <a:cubicBezTo>
                    <a:pt x="221680" y="117"/>
                    <a:pt x="213710" y="-2103"/>
                    <a:pt x="207320" y="1365"/>
                  </a:cubicBezTo>
                  <a:cubicBezTo>
                    <a:pt x="175234" y="20569"/>
                    <a:pt x="142308" y="38361"/>
                    <a:pt x="108810" y="54941"/>
                  </a:cubicBezTo>
                  <a:cubicBezTo>
                    <a:pt x="91994" y="63417"/>
                    <a:pt x="75178" y="71152"/>
                    <a:pt x="58193" y="79056"/>
                  </a:cubicBezTo>
                  <a:cubicBezTo>
                    <a:pt x="41209" y="86959"/>
                    <a:pt x="24023" y="94258"/>
                    <a:pt x="6635" y="101085"/>
                  </a:cubicBezTo>
                  <a:cubicBezTo>
                    <a:pt x="110" y="104136"/>
                    <a:pt x="-2849" y="111787"/>
                    <a:pt x="-92" y="118439"/>
                  </a:cubicBezTo>
                  <a:lnTo>
                    <a:pt x="-92" y="118439"/>
                  </a:lnTo>
                  <a:cubicBezTo>
                    <a:pt x="2498" y="125200"/>
                    <a:pt x="10065" y="128593"/>
                    <a:pt x="16859" y="12604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3708F089-878F-4C23-9944-051C97F3D975}"/>
                </a:ext>
              </a:extLst>
            </p:cNvPr>
            <p:cNvSpPr/>
            <p:nvPr/>
          </p:nvSpPr>
          <p:spPr>
            <a:xfrm>
              <a:off x="3179902" y="5854469"/>
              <a:ext cx="55270" cy="48079"/>
            </a:xfrm>
            <a:custGeom>
              <a:avLst/>
              <a:gdLst>
                <a:gd name="connsiteX0" fmla="*/ 20367 w 55270"/>
                <a:gd name="connsiteY0" fmla="*/ 45177 h 48079"/>
                <a:gd name="connsiteX1" fmla="*/ 48989 w 55270"/>
                <a:gd name="connsiteY1" fmla="*/ 23754 h 48079"/>
                <a:gd name="connsiteX2" fmla="*/ 51376 w 55270"/>
                <a:gd name="connsiteY2" fmla="*/ 4987 h 48079"/>
                <a:gd name="connsiteX3" fmla="*/ 51376 w 55270"/>
                <a:gd name="connsiteY3" fmla="*/ 4987 h 48079"/>
                <a:gd name="connsiteX4" fmla="*/ 32475 w 55270"/>
                <a:gd name="connsiteY4" fmla="*/ 2397 h 48079"/>
                <a:gd name="connsiteX5" fmla="*/ 4358 w 55270"/>
                <a:gd name="connsiteY5" fmla="*/ 23451 h 48079"/>
                <a:gd name="connsiteX6" fmla="*/ 1500 w 55270"/>
                <a:gd name="connsiteY6" fmla="*/ 42319 h 48079"/>
                <a:gd name="connsiteX7" fmla="*/ 20367 w 55270"/>
                <a:gd name="connsiteY7" fmla="*/ 45177 h 48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5270" h="48079">
                  <a:moveTo>
                    <a:pt x="20367" y="45177"/>
                  </a:moveTo>
                  <a:cubicBezTo>
                    <a:pt x="30087" y="38283"/>
                    <a:pt x="39504" y="31018"/>
                    <a:pt x="48989" y="23754"/>
                  </a:cubicBezTo>
                  <a:cubicBezTo>
                    <a:pt x="54807" y="19210"/>
                    <a:pt x="55849" y="10839"/>
                    <a:pt x="51376" y="4987"/>
                  </a:cubicBezTo>
                  <a:lnTo>
                    <a:pt x="51376" y="4987"/>
                  </a:lnTo>
                  <a:cubicBezTo>
                    <a:pt x="46802" y="-849"/>
                    <a:pt x="38428" y="-1996"/>
                    <a:pt x="32475" y="2397"/>
                  </a:cubicBezTo>
                  <a:cubicBezTo>
                    <a:pt x="23192" y="9527"/>
                    <a:pt x="13910" y="16691"/>
                    <a:pt x="4358" y="23451"/>
                  </a:cubicBezTo>
                  <a:cubicBezTo>
                    <a:pt x="-1628" y="27870"/>
                    <a:pt x="-2907" y="36319"/>
                    <a:pt x="1500" y="42319"/>
                  </a:cubicBezTo>
                  <a:cubicBezTo>
                    <a:pt x="5905" y="48319"/>
                    <a:pt x="14381" y="49597"/>
                    <a:pt x="20367" y="4517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65037D24-0C06-4297-BF27-DC5E6654F3D0}"/>
                </a:ext>
              </a:extLst>
            </p:cNvPr>
            <p:cNvSpPr/>
            <p:nvPr/>
          </p:nvSpPr>
          <p:spPr>
            <a:xfrm>
              <a:off x="2936202" y="5844804"/>
              <a:ext cx="401278" cy="267129"/>
            </a:xfrm>
            <a:custGeom>
              <a:avLst/>
              <a:gdLst>
                <a:gd name="connsiteX0" fmla="*/ 17978 w 401278"/>
                <a:gd name="connsiteY0" fmla="*/ 265650 h 267129"/>
                <a:gd name="connsiteX1" fmla="*/ 395200 w 401278"/>
                <a:gd name="connsiteY1" fmla="*/ 23497 h 267129"/>
                <a:gd name="connsiteX2" fmla="*/ 397150 w 401278"/>
                <a:gd name="connsiteY2" fmla="*/ 4572 h 267129"/>
                <a:gd name="connsiteX3" fmla="*/ 396915 w 401278"/>
                <a:gd name="connsiteY3" fmla="*/ 4293 h 267129"/>
                <a:gd name="connsiteX4" fmla="*/ 377610 w 401278"/>
                <a:gd name="connsiteY4" fmla="*/ 3048 h 267129"/>
                <a:gd name="connsiteX5" fmla="*/ 6644 w 401278"/>
                <a:gd name="connsiteY5" fmla="*/ 241166 h 267129"/>
                <a:gd name="connsiteX6" fmla="*/ 153 w 401278"/>
                <a:gd name="connsiteY6" fmla="*/ 259092 h 267129"/>
                <a:gd name="connsiteX7" fmla="*/ 18079 w 401278"/>
                <a:gd name="connsiteY7" fmla="*/ 265583 h 267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1278" h="267129">
                  <a:moveTo>
                    <a:pt x="17978" y="265650"/>
                  </a:moveTo>
                  <a:cubicBezTo>
                    <a:pt x="154089" y="202388"/>
                    <a:pt x="281017" y="120927"/>
                    <a:pt x="395200" y="23497"/>
                  </a:cubicBezTo>
                  <a:cubicBezTo>
                    <a:pt x="400951" y="18808"/>
                    <a:pt x="401825" y="10336"/>
                    <a:pt x="397150" y="4572"/>
                  </a:cubicBezTo>
                  <a:cubicBezTo>
                    <a:pt x="397083" y="4477"/>
                    <a:pt x="396982" y="4383"/>
                    <a:pt x="396915" y="4293"/>
                  </a:cubicBezTo>
                  <a:cubicBezTo>
                    <a:pt x="391870" y="-1270"/>
                    <a:pt x="383327" y="-1822"/>
                    <a:pt x="377610" y="3048"/>
                  </a:cubicBezTo>
                  <a:cubicBezTo>
                    <a:pt x="265311" y="98843"/>
                    <a:pt x="140501" y="178946"/>
                    <a:pt x="6644" y="241166"/>
                  </a:cubicBezTo>
                  <a:cubicBezTo>
                    <a:pt x="-83" y="244324"/>
                    <a:pt x="-3009" y="252349"/>
                    <a:pt x="153" y="259092"/>
                  </a:cubicBezTo>
                  <a:cubicBezTo>
                    <a:pt x="3314" y="265835"/>
                    <a:pt x="11353" y="268741"/>
                    <a:pt x="18079" y="26558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AE8690A1-043B-4DED-B70E-34D817FC9319}"/>
                </a:ext>
              </a:extLst>
            </p:cNvPr>
            <p:cNvSpPr/>
            <p:nvPr/>
          </p:nvSpPr>
          <p:spPr>
            <a:xfrm>
              <a:off x="3077749" y="5968487"/>
              <a:ext cx="194224" cy="134325"/>
            </a:xfrm>
            <a:custGeom>
              <a:avLst/>
              <a:gdLst>
                <a:gd name="connsiteX0" fmla="*/ 19470 w 194224"/>
                <a:gd name="connsiteY0" fmla="*/ 132113 h 134325"/>
                <a:gd name="connsiteX1" fmla="*/ 187061 w 194224"/>
                <a:gd name="connsiteY1" fmla="*/ 24321 h 134325"/>
                <a:gd name="connsiteX2" fmla="*/ 190727 w 194224"/>
                <a:gd name="connsiteY2" fmla="*/ 5171 h 134325"/>
                <a:gd name="connsiteX3" fmla="*/ 190660 w 194224"/>
                <a:gd name="connsiteY3" fmla="*/ 5050 h 134325"/>
                <a:gd name="connsiteX4" fmla="*/ 171085 w 194224"/>
                <a:gd name="connsiteY4" fmla="*/ 2595 h 134325"/>
                <a:gd name="connsiteX5" fmla="*/ 6286 w 194224"/>
                <a:gd name="connsiteY5" fmla="*/ 108672 h 134325"/>
                <a:gd name="connsiteX6" fmla="*/ 434 w 194224"/>
                <a:gd name="connsiteY6" fmla="*/ 127371 h 134325"/>
                <a:gd name="connsiteX7" fmla="*/ 434 w 194224"/>
                <a:gd name="connsiteY7" fmla="*/ 127371 h 134325"/>
                <a:gd name="connsiteX8" fmla="*/ 19470 w 194224"/>
                <a:gd name="connsiteY8" fmla="*/ 132113 h 13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4224" h="134325">
                  <a:moveTo>
                    <a:pt x="19470" y="132113"/>
                  </a:moveTo>
                  <a:cubicBezTo>
                    <a:pt x="77419" y="99517"/>
                    <a:pt x="133384" y="63523"/>
                    <a:pt x="187061" y="24321"/>
                  </a:cubicBezTo>
                  <a:cubicBezTo>
                    <a:pt x="193350" y="20050"/>
                    <a:pt x="194998" y="11477"/>
                    <a:pt x="190727" y="5171"/>
                  </a:cubicBezTo>
                  <a:cubicBezTo>
                    <a:pt x="190727" y="5131"/>
                    <a:pt x="190693" y="5090"/>
                    <a:pt x="190660" y="5050"/>
                  </a:cubicBezTo>
                  <a:cubicBezTo>
                    <a:pt x="185884" y="-943"/>
                    <a:pt x="177207" y="-2033"/>
                    <a:pt x="171085" y="2595"/>
                  </a:cubicBezTo>
                  <a:cubicBezTo>
                    <a:pt x="118283" y="41158"/>
                    <a:pt x="63260" y="76580"/>
                    <a:pt x="6286" y="108672"/>
                  </a:cubicBezTo>
                  <a:cubicBezTo>
                    <a:pt x="-474" y="112247"/>
                    <a:pt x="-3064" y="120587"/>
                    <a:pt x="434" y="127371"/>
                  </a:cubicBezTo>
                  <a:lnTo>
                    <a:pt x="434" y="127371"/>
                  </a:lnTo>
                  <a:cubicBezTo>
                    <a:pt x="4437" y="133882"/>
                    <a:pt x="12878" y="135991"/>
                    <a:pt x="19470" y="13211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3ECB57FD-BA4A-44C6-B814-6A64912C34D6}"/>
                </a:ext>
              </a:extLst>
            </p:cNvPr>
            <p:cNvSpPr/>
            <p:nvPr/>
          </p:nvSpPr>
          <p:spPr>
            <a:xfrm>
              <a:off x="3023762" y="5992863"/>
              <a:ext cx="310334" cy="202633"/>
            </a:xfrm>
            <a:custGeom>
              <a:avLst/>
              <a:gdLst>
                <a:gd name="connsiteX0" fmla="*/ 18400 w 310334"/>
                <a:gd name="connsiteY0" fmla="*/ 200933 h 202633"/>
                <a:gd name="connsiteX1" fmla="*/ 303099 w 310334"/>
                <a:gd name="connsiteY1" fmla="*/ 24396 h 202633"/>
                <a:gd name="connsiteX2" fmla="*/ 306731 w 310334"/>
                <a:gd name="connsiteY2" fmla="*/ 4798 h 202633"/>
                <a:gd name="connsiteX3" fmla="*/ 306664 w 310334"/>
                <a:gd name="connsiteY3" fmla="*/ 4721 h 202633"/>
                <a:gd name="connsiteX4" fmla="*/ 286720 w 310334"/>
                <a:gd name="connsiteY4" fmla="*/ 2972 h 202633"/>
                <a:gd name="connsiteX5" fmla="*/ 6326 w 310334"/>
                <a:gd name="connsiteY5" fmla="*/ 176818 h 202633"/>
                <a:gd name="connsiteX6" fmla="*/ 306 w 310334"/>
                <a:gd name="connsiteY6" fmla="*/ 194913 h 202633"/>
                <a:gd name="connsiteX7" fmla="*/ 18400 w 310334"/>
                <a:gd name="connsiteY7" fmla="*/ 200933 h 202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0334" h="202633">
                  <a:moveTo>
                    <a:pt x="18400" y="200933"/>
                  </a:moveTo>
                  <a:cubicBezTo>
                    <a:pt x="118659" y="151187"/>
                    <a:pt x="213973" y="92081"/>
                    <a:pt x="303099" y="24396"/>
                  </a:cubicBezTo>
                  <a:cubicBezTo>
                    <a:pt x="309523" y="19983"/>
                    <a:pt x="311137" y="11209"/>
                    <a:pt x="306731" y="4798"/>
                  </a:cubicBezTo>
                  <a:cubicBezTo>
                    <a:pt x="306698" y="4771"/>
                    <a:pt x="306698" y="4748"/>
                    <a:pt x="306664" y="4721"/>
                  </a:cubicBezTo>
                  <a:cubicBezTo>
                    <a:pt x="301585" y="-1181"/>
                    <a:pt x="292740" y="-1958"/>
                    <a:pt x="286720" y="2972"/>
                  </a:cubicBezTo>
                  <a:cubicBezTo>
                    <a:pt x="198939" y="69615"/>
                    <a:pt x="105038" y="127823"/>
                    <a:pt x="6326" y="176818"/>
                  </a:cubicBezTo>
                  <a:cubicBezTo>
                    <a:pt x="-333" y="180151"/>
                    <a:pt x="-3023" y="188253"/>
                    <a:pt x="306" y="194913"/>
                  </a:cubicBezTo>
                  <a:cubicBezTo>
                    <a:pt x="3636" y="201572"/>
                    <a:pt x="11741" y="204266"/>
                    <a:pt x="18400" y="20093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350EB557-3F8D-4C17-BEBA-95FAC7002A5E}"/>
                </a:ext>
              </a:extLst>
            </p:cNvPr>
            <p:cNvSpPr/>
            <p:nvPr/>
          </p:nvSpPr>
          <p:spPr>
            <a:xfrm>
              <a:off x="2417108" y="5982536"/>
              <a:ext cx="349184" cy="103003"/>
            </a:xfrm>
            <a:custGeom>
              <a:avLst/>
              <a:gdLst>
                <a:gd name="connsiteX0" fmla="*/ 13987 w 349184"/>
                <a:gd name="connsiteY0" fmla="*/ 102425 h 103003"/>
                <a:gd name="connsiteX1" fmla="*/ 339986 w 349184"/>
                <a:gd name="connsiteY1" fmla="*/ 25541 h 103003"/>
                <a:gd name="connsiteX2" fmla="*/ 347150 w 349184"/>
                <a:gd name="connsiteY2" fmla="*/ 8897 h 103003"/>
                <a:gd name="connsiteX3" fmla="*/ 347083 w 349184"/>
                <a:gd name="connsiteY3" fmla="*/ 8725 h 103003"/>
                <a:gd name="connsiteX4" fmla="*/ 347083 w 349184"/>
                <a:gd name="connsiteY4" fmla="*/ 8725 h 103003"/>
                <a:gd name="connsiteX5" fmla="*/ 330838 w 349184"/>
                <a:gd name="connsiteY5" fmla="*/ 283 h 103003"/>
                <a:gd name="connsiteX6" fmla="*/ 10758 w 349184"/>
                <a:gd name="connsiteY6" fmla="*/ 75721 h 103003"/>
                <a:gd name="connsiteX7" fmla="*/ -1013 w 349184"/>
                <a:gd name="connsiteY7" fmla="*/ 90856 h 103003"/>
                <a:gd name="connsiteX8" fmla="*/ 14122 w 349184"/>
                <a:gd name="connsiteY8" fmla="*/ 102627 h 103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9184" h="103003">
                  <a:moveTo>
                    <a:pt x="13987" y="102425"/>
                  </a:moveTo>
                  <a:cubicBezTo>
                    <a:pt x="125210" y="89157"/>
                    <a:pt x="234549" y="63364"/>
                    <a:pt x="339986" y="25541"/>
                  </a:cubicBezTo>
                  <a:cubicBezTo>
                    <a:pt x="346545" y="22925"/>
                    <a:pt x="349774" y="15472"/>
                    <a:pt x="347150" y="8897"/>
                  </a:cubicBezTo>
                  <a:cubicBezTo>
                    <a:pt x="347116" y="8840"/>
                    <a:pt x="347116" y="8782"/>
                    <a:pt x="347083" y="8725"/>
                  </a:cubicBezTo>
                  <a:lnTo>
                    <a:pt x="347083" y="8725"/>
                  </a:lnTo>
                  <a:cubicBezTo>
                    <a:pt x="344829" y="1985"/>
                    <a:pt x="337632" y="-1752"/>
                    <a:pt x="330838" y="283"/>
                  </a:cubicBezTo>
                  <a:cubicBezTo>
                    <a:pt x="227318" y="37410"/>
                    <a:pt x="119963" y="62715"/>
                    <a:pt x="10758" y="75721"/>
                  </a:cubicBezTo>
                  <a:cubicBezTo>
                    <a:pt x="3326" y="76649"/>
                    <a:pt x="-1955" y="83426"/>
                    <a:pt x="-1013" y="90856"/>
                  </a:cubicBezTo>
                  <a:cubicBezTo>
                    <a:pt x="-71" y="98285"/>
                    <a:pt x="6689" y="103555"/>
                    <a:pt x="14122" y="10262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CC7F7623-D0C2-4370-BE79-6895BD595F6C}"/>
                </a:ext>
              </a:extLst>
            </p:cNvPr>
            <p:cNvSpPr/>
            <p:nvPr/>
          </p:nvSpPr>
          <p:spPr>
            <a:xfrm>
              <a:off x="2309125" y="6063196"/>
              <a:ext cx="87475" cy="31184"/>
            </a:xfrm>
            <a:custGeom>
              <a:avLst/>
              <a:gdLst>
                <a:gd name="connsiteX0" fmla="*/ 11521 w 87475"/>
                <a:gd name="connsiteY0" fmla="*/ 30914 h 31184"/>
                <a:gd name="connsiteX1" fmla="*/ 43471 w 87475"/>
                <a:gd name="connsiteY1" fmla="*/ 29064 h 31184"/>
                <a:gd name="connsiteX2" fmla="*/ 75389 w 87475"/>
                <a:gd name="connsiteY2" fmla="*/ 26575 h 31184"/>
                <a:gd name="connsiteX3" fmla="*/ 86252 w 87475"/>
                <a:gd name="connsiteY3" fmla="*/ 12554 h 31184"/>
                <a:gd name="connsiteX4" fmla="*/ 86252 w 87475"/>
                <a:gd name="connsiteY4" fmla="*/ 12517 h 31184"/>
                <a:gd name="connsiteX5" fmla="*/ 86252 w 87475"/>
                <a:gd name="connsiteY5" fmla="*/ 11676 h 31184"/>
                <a:gd name="connsiteX6" fmla="*/ 73102 w 87475"/>
                <a:gd name="connsiteY6" fmla="*/ -264 h 31184"/>
                <a:gd name="connsiteX7" fmla="*/ 41756 w 87475"/>
                <a:gd name="connsiteY7" fmla="*/ 2192 h 31184"/>
                <a:gd name="connsiteX8" fmla="*/ 10377 w 87475"/>
                <a:gd name="connsiteY8" fmla="*/ 3974 h 31184"/>
                <a:gd name="connsiteX9" fmla="*/ -1092 w 87475"/>
                <a:gd name="connsiteY9" fmla="*/ 17427 h 31184"/>
                <a:gd name="connsiteX10" fmla="*/ -1092 w 87475"/>
                <a:gd name="connsiteY10" fmla="*/ 18234 h 31184"/>
                <a:gd name="connsiteX11" fmla="*/ 11521 w 87475"/>
                <a:gd name="connsiteY11" fmla="*/ 30914 h 3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7475" h="31184">
                  <a:moveTo>
                    <a:pt x="11521" y="30914"/>
                  </a:moveTo>
                  <a:cubicBezTo>
                    <a:pt x="22182" y="30611"/>
                    <a:pt x="32810" y="29636"/>
                    <a:pt x="43471" y="29064"/>
                  </a:cubicBezTo>
                  <a:cubicBezTo>
                    <a:pt x="54133" y="28492"/>
                    <a:pt x="64761" y="27550"/>
                    <a:pt x="75389" y="26575"/>
                  </a:cubicBezTo>
                  <a:cubicBezTo>
                    <a:pt x="82250" y="25704"/>
                    <a:pt x="87126" y="19425"/>
                    <a:pt x="86252" y="12554"/>
                  </a:cubicBezTo>
                  <a:cubicBezTo>
                    <a:pt x="86252" y="12540"/>
                    <a:pt x="86252" y="12530"/>
                    <a:pt x="86252" y="12517"/>
                  </a:cubicBezTo>
                  <a:lnTo>
                    <a:pt x="86252" y="11676"/>
                  </a:lnTo>
                  <a:cubicBezTo>
                    <a:pt x="85815" y="4795"/>
                    <a:pt x="79996" y="-496"/>
                    <a:pt x="73102" y="-264"/>
                  </a:cubicBezTo>
                  <a:cubicBezTo>
                    <a:pt x="62642" y="678"/>
                    <a:pt x="52216" y="1653"/>
                    <a:pt x="41756" y="2192"/>
                  </a:cubicBezTo>
                  <a:cubicBezTo>
                    <a:pt x="31296" y="2730"/>
                    <a:pt x="20837" y="3705"/>
                    <a:pt x="10377" y="3974"/>
                  </a:cubicBezTo>
                  <a:cubicBezTo>
                    <a:pt x="3516" y="4580"/>
                    <a:pt x="-1562" y="10566"/>
                    <a:pt x="-1092" y="17427"/>
                  </a:cubicBezTo>
                  <a:lnTo>
                    <a:pt x="-1092" y="18234"/>
                  </a:lnTo>
                  <a:cubicBezTo>
                    <a:pt x="-1092" y="25210"/>
                    <a:pt x="4559" y="30877"/>
                    <a:pt x="11521" y="3091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DF6D2C70-1A2D-4754-BD3C-F6F93CBFA2CC}"/>
                </a:ext>
              </a:extLst>
            </p:cNvPr>
            <p:cNvSpPr/>
            <p:nvPr/>
          </p:nvSpPr>
          <p:spPr>
            <a:xfrm>
              <a:off x="2609400" y="6028839"/>
              <a:ext cx="194918" cy="78788"/>
            </a:xfrm>
            <a:custGeom>
              <a:avLst/>
              <a:gdLst>
                <a:gd name="connsiteX0" fmla="*/ 15518 w 194918"/>
                <a:gd name="connsiteY0" fmla="*/ 78152 h 78788"/>
                <a:gd name="connsiteX1" fmla="*/ 58467 w 194918"/>
                <a:gd name="connsiteY1" fmla="*/ 66952 h 78788"/>
                <a:gd name="connsiteX2" fmla="*/ 101079 w 194918"/>
                <a:gd name="connsiteY2" fmla="*/ 54508 h 78788"/>
                <a:gd name="connsiteX3" fmla="*/ 143288 w 194918"/>
                <a:gd name="connsiteY3" fmla="*/ 40786 h 78788"/>
                <a:gd name="connsiteX4" fmla="*/ 164208 w 194918"/>
                <a:gd name="connsiteY4" fmla="*/ 33420 h 78788"/>
                <a:gd name="connsiteX5" fmla="*/ 174667 w 194918"/>
                <a:gd name="connsiteY5" fmla="*/ 29754 h 78788"/>
                <a:gd name="connsiteX6" fmla="*/ 185060 w 194918"/>
                <a:gd name="connsiteY6" fmla="*/ 25819 h 78788"/>
                <a:gd name="connsiteX7" fmla="*/ 192929 w 194918"/>
                <a:gd name="connsiteY7" fmla="*/ 8465 h 78788"/>
                <a:gd name="connsiteX8" fmla="*/ 175575 w 194918"/>
                <a:gd name="connsiteY8" fmla="*/ 595 h 78788"/>
                <a:gd name="connsiteX9" fmla="*/ 165486 w 194918"/>
                <a:gd name="connsiteY9" fmla="*/ 4463 h 78788"/>
                <a:gd name="connsiteX10" fmla="*/ 155194 w 194918"/>
                <a:gd name="connsiteY10" fmla="*/ 8061 h 78788"/>
                <a:gd name="connsiteX11" fmla="*/ 134611 w 194918"/>
                <a:gd name="connsiteY11" fmla="*/ 15293 h 78788"/>
                <a:gd name="connsiteX12" fmla="*/ 93176 w 194918"/>
                <a:gd name="connsiteY12" fmla="*/ 28745 h 78788"/>
                <a:gd name="connsiteX13" fmla="*/ 51303 w 194918"/>
                <a:gd name="connsiteY13" fmla="*/ 40954 h 78788"/>
                <a:gd name="connsiteX14" fmla="*/ 9128 w 194918"/>
                <a:gd name="connsiteY14" fmla="*/ 51952 h 78788"/>
                <a:gd name="connsiteX15" fmla="*/ -726 w 194918"/>
                <a:gd name="connsiteY15" fmla="*/ 68280 h 78788"/>
                <a:gd name="connsiteX16" fmla="*/ 15619 w 194918"/>
                <a:gd name="connsiteY16" fmla="*/ 78118 h 7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4918" h="78788">
                  <a:moveTo>
                    <a:pt x="15518" y="78152"/>
                  </a:moveTo>
                  <a:cubicBezTo>
                    <a:pt x="29947" y="74788"/>
                    <a:pt x="44173" y="70719"/>
                    <a:pt x="58467" y="66952"/>
                  </a:cubicBezTo>
                  <a:cubicBezTo>
                    <a:pt x="72761" y="63185"/>
                    <a:pt x="86853" y="58611"/>
                    <a:pt x="101079" y="54508"/>
                  </a:cubicBezTo>
                  <a:cubicBezTo>
                    <a:pt x="115306" y="50405"/>
                    <a:pt x="129263" y="45562"/>
                    <a:pt x="143288" y="40786"/>
                  </a:cubicBezTo>
                  <a:lnTo>
                    <a:pt x="164208" y="33420"/>
                  </a:lnTo>
                  <a:lnTo>
                    <a:pt x="174667" y="29754"/>
                  </a:lnTo>
                  <a:lnTo>
                    <a:pt x="185060" y="25819"/>
                  </a:lnTo>
                  <a:cubicBezTo>
                    <a:pt x="192021" y="23200"/>
                    <a:pt x="195553" y="15430"/>
                    <a:pt x="192929" y="8465"/>
                  </a:cubicBezTo>
                  <a:cubicBezTo>
                    <a:pt x="190306" y="1500"/>
                    <a:pt x="182537" y="-2025"/>
                    <a:pt x="175575" y="595"/>
                  </a:cubicBezTo>
                  <a:lnTo>
                    <a:pt x="165486" y="4463"/>
                  </a:lnTo>
                  <a:lnTo>
                    <a:pt x="155194" y="8061"/>
                  </a:lnTo>
                  <a:lnTo>
                    <a:pt x="134611" y="15293"/>
                  </a:lnTo>
                  <a:cubicBezTo>
                    <a:pt x="120889" y="20001"/>
                    <a:pt x="106999" y="24306"/>
                    <a:pt x="93176" y="28745"/>
                  </a:cubicBezTo>
                  <a:cubicBezTo>
                    <a:pt x="79353" y="33185"/>
                    <a:pt x="65362" y="37187"/>
                    <a:pt x="51303" y="40954"/>
                  </a:cubicBezTo>
                  <a:cubicBezTo>
                    <a:pt x="37245" y="44721"/>
                    <a:pt x="23288" y="48723"/>
                    <a:pt x="9128" y="51952"/>
                  </a:cubicBezTo>
                  <a:cubicBezTo>
                    <a:pt x="1897" y="53744"/>
                    <a:pt x="-2509" y="61056"/>
                    <a:pt x="-726" y="68280"/>
                  </a:cubicBezTo>
                  <a:cubicBezTo>
                    <a:pt x="1090" y="75505"/>
                    <a:pt x="8388" y="79911"/>
                    <a:pt x="15619" y="7811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726970B1-7810-4CDE-8F47-5FAD62E22A2D}"/>
                </a:ext>
              </a:extLst>
            </p:cNvPr>
            <p:cNvSpPr/>
            <p:nvPr/>
          </p:nvSpPr>
          <p:spPr>
            <a:xfrm>
              <a:off x="2101216" y="6119614"/>
              <a:ext cx="198197" cy="32911"/>
            </a:xfrm>
            <a:custGeom>
              <a:avLst/>
              <a:gdLst>
                <a:gd name="connsiteX0" fmla="*/ 10505 w 198197"/>
                <a:gd name="connsiteY0" fmla="*/ 26592 h 32911"/>
                <a:gd name="connsiteX1" fmla="*/ 184586 w 198197"/>
                <a:gd name="connsiteY1" fmla="*/ 32275 h 32911"/>
                <a:gd name="connsiteX2" fmla="*/ 197064 w 198197"/>
                <a:gd name="connsiteY2" fmla="*/ 18749 h 32911"/>
                <a:gd name="connsiteX3" fmla="*/ 197064 w 198197"/>
                <a:gd name="connsiteY3" fmla="*/ 18587 h 32911"/>
                <a:gd name="connsiteX4" fmla="*/ 197064 w 198197"/>
                <a:gd name="connsiteY4" fmla="*/ 18352 h 32911"/>
                <a:gd name="connsiteX5" fmla="*/ 183981 w 198197"/>
                <a:gd name="connsiteY5" fmla="*/ 5369 h 32911"/>
                <a:gd name="connsiteX6" fmla="*/ 12893 w 198197"/>
                <a:gd name="connsiteY6" fmla="*/ -247 h 32911"/>
                <a:gd name="connsiteX7" fmla="*/ -1031 w 198197"/>
                <a:gd name="connsiteY7" fmla="*/ 11827 h 32911"/>
                <a:gd name="connsiteX8" fmla="*/ -1031 w 198197"/>
                <a:gd name="connsiteY8" fmla="*/ 12096 h 32911"/>
                <a:gd name="connsiteX9" fmla="*/ 10404 w 198197"/>
                <a:gd name="connsiteY9" fmla="*/ 26582 h 32911"/>
                <a:gd name="connsiteX10" fmla="*/ 10505 w 198197"/>
                <a:gd name="connsiteY10" fmla="*/ 26592 h 32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8197" h="32911">
                  <a:moveTo>
                    <a:pt x="10505" y="26592"/>
                  </a:moveTo>
                  <a:cubicBezTo>
                    <a:pt x="68386" y="31613"/>
                    <a:pt x="126503" y="33510"/>
                    <a:pt x="184586" y="32275"/>
                  </a:cubicBezTo>
                  <a:cubicBezTo>
                    <a:pt x="191784" y="31990"/>
                    <a:pt x="197366" y="25932"/>
                    <a:pt x="197064" y="18749"/>
                  </a:cubicBezTo>
                  <a:cubicBezTo>
                    <a:pt x="197064" y="18695"/>
                    <a:pt x="197064" y="18641"/>
                    <a:pt x="197064" y="18587"/>
                  </a:cubicBezTo>
                  <a:lnTo>
                    <a:pt x="197064" y="18352"/>
                  </a:lnTo>
                  <a:cubicBezTo>
                    <a:pt x="196963" y="11188"/>
                    <a:pt x="191145" y="5423"/>
                    <a:pt x="183981" y="5369"/>
                  </a:cubicBezTo>
                  <a:cubicBezTo>
                    <a:pt x="126907" y="6577"/>
                    <a:pt x="69765" y="4704"/>
                    <a:pt x="12893" y="-247"/>
                  </a:cubicBezTo>
                  <a:cubicBezTo>
                    <a:pt x="5729" y="-674"/>
                    <a:pt x="-426" y="4687"/>
                    <a:pt x="-1031" y="11827"/>
                  </a:cubicBezTo>
                  <a:lnTo>
                    <a:pt x="-1031" y="12096"/>
                  </a:lnTo>
                  <a:cubicBezTo>
                    <a:pt x="-1872" y="19253"/>
                    <a:pt x="3240" y="25737"/>
                    <a:pt x="10404" y="26582"/>
                  </a:cubicBezTo>
                  <a:cubicBezTo>
                    <a:pt x="10437" y="26585"/>
                    <a:pt x="10471" y="26588"/>
                    <a:pt x="10505" y="2659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319E2020-7E27-4370-8325-C9E6F3B40BFE}"/>
                </a:ext>
              </a:extLst>
            </p:cNvPr>
            <p:cNvSpPr/>
            <p:nvPr/>
          </p:nvSpPr>
          <p:spPr>
            <a:xfrm>
              <a:off x="2339766" y="6091386"/>
              <a:ext cx="250162" cy="57859"/>
            </a:xfrm>
            <a:custGeom>
              <a:avLst/>
              <a:gdLst>
                <a:gd name="connsiteX0" fmla="*/ 12696 w 250162"/>
                <a:gd name="connsiteY0" fmla="*/ 57578 h 57859"/>
                <a:gd name="connsiteX1" fmla="*/ 69670 w 250162"/>
                <a:gd name="connsiteY1" fmla="*/ 52970 h 57859"/>
                <a:gd name="connsiteX2" fmla="*/ 126374 w 250162"/>
                <a:gd name="connsiteY2" fmla="*/ 46042 h 57859"/>
                <a:gd name="connsiteX3" fmla="*/ 182843 w 250162"/>
                <a:gd name="connsiteY3" fmla="*/ 37298 h 57859"/>
                <a:gd name="connsiteX4" fmla="*/ 210893 w 250162"/>
                <a:gd name="connsiteY4" fmla="*/ 31984 h 57859"/>
                <a:gd name="connsiteX5" fmla="*/ 224918 w 250162"/>
                <a:gd name="connsiteY5" fmla="*/ 29293 h 57859"/>
                <a:gd name="connsiteX6" fmla="*/ 238875 w 250162"/>
                <a:gd name="connsiteY6" fmla="*/ 26266 h 57859"/>
                <a:gd name="connsiteX7" fmla="*/ 248695 w 250162"/>
                <a:gd name="connsiteY7" fmla="*/ 10469 h 57859"/>
                <a:gd name="connsiteX8" fmla="*/ 248662 w 250162"/>
                <a:gd name="connsiteY8" fmla="*/ 10358 h 57859"/>
                <a:gd name="connsiteX9" fmla="*/ 233191 w 250162"/>
                <a:gd name="connsiteY9" fmla="*/ -68 h 57859"/>
                <a:gd name="connsiteX10" fmla="*/ 219502 w 250162"/>
                <a:gd name="connsiteY10" fmla="*/ 2891 h 57859"/>
                <a:gd name="connsiteX11" fmla="*/ 205713 w 250162"/>
                <a:gd name="connsiteY11" fmla="*/ 5549 h 57859"/>
                <a:gd name="connsiteX12" fmla="*/ 178135 w 250162"/>
                <a:gd name="connsiteY12" fmla="*/ 10762 h 57859"/>
                <a:gd name="connsiteX13" fmla="*/ 122675 w 250162"/>
                <a:gd name="connsiteY13" fmla="*/ 19371 h 57859"/>
                <a:gd name="connsiteX14" fmla="*/ 66946 w 250162"/>
                <a:gd name="connsiteY14" fmla="*/ 26098 h 57859"/>
                <a:gd name="connsiteX15" fmla="*/ 10947 w 250162"/>
                <a:gd name="connsiteY15" fmla="*/ 30605 h 57859"/>
                <a:gd name="connsiteX16" fmla="*/ -1093 w 250162"/>
                <a:gd name="connsiteY16" fmla="*/ 44865 h 57859"/>
                <a:gd name="connsiteX17" fmla="*/ -1093 w 250162"/>
                <a:gd name="connsiteY17" fmla="*/ 44865 h 57859"/>
                <a:gd name="connsiteX18" fmla="*/ 12663 w 250162"/>
                <a:gd name="connsiteY18" fmla="*/ 57578 h 57859"/>
                <a:gd name="connsiteX19" fmla="*/ 12696 w 250162"/>
                <a:gd name="connsiteY19" fmla="*/ 57578 h 57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50162" h="57859">
                  <a:moveTo>
                    <a:pt x="12696" y="57578"/>
                  </a:moveTo>
                  <a:cubicBezTo>
                    <a:pt x="31732" y="56603"/>
                    <a:pt x="50668" y="54551"/>
                    <a:pt x="69670" y="52970"/>
                  </a:cubicBezTo>
                  <a:cubicBezTo>
                    <a:pt x="88571" y="50751"/>
                    <a:pt x="107540" y="48901"/>
                    <a:pt x="126374" y="46042"/>
                  </a:cubicBezTo>
                  <a:cubicBezTo>
                    <a:pt x="145208" y="43183"/>
                    <a:pt x="164042" y="40358"/>
                    <a:pt x="182843" y="37298"/>
                  </a:cubicBezTo>
                  <a:cubicBezTo>
                    <a:pt x="192226" y="35616"/>
                    <a:pt x="201543" y="33733"/>
                    <a:pt x="210893" y="31984"/>
                  </a:cubicBezTo>
                  <a:cubicBezTo>
                    <a:pt x="215568" y="31075"/>
                    <a:pt x="220276" y="30268"/>
                    <a:pt x="224918" y="29293"/>
                  </a:cubicBezTo>
                  <a:lnTo>
                    <a:pt x="238875" y="26266"/>
                  </a:lnTo>
                  <a:cubicBezTo>
                    <a:pt x="245938" y="24615"/>
                    <a:pt x="250343" y="17542"/>
                    <a:pt x="248695" y="10469"/>
                  </a:cubicBezTo>
                  <a:cubicBezTo>
                    <a:pt x="248695" y="10432"/>
                    <a:pt x="248662" y="10395"/>
                    <a:pt x="248662" y="10358"/>
                  </a:cubicBezTo>
                  <a:cubicBezTo>
                    <a:pt x="247149" y="3292"/>
                    <a:pt x="240321" y="-1313"/>
                    <a:pt x="233191" y="-68"/>
                  </a:cubicBezTo>
                  <a:lnTo>
                    <a:pt x="219502" y="2891"/>
                  </a:lnTo>
                  <a:cubicBezTo>
                    <a:pt x="214895" y="3867"/>
                    <a:pt x="210287" y="4674"/>
                    <a:pt x="205713" y="5549"/>
                  </a:cubicBezTo>
                  <a:cubicBezTo>
                    <a:pt x="196532" y="7298"/>
                    <a:pt x="187350" y="9114"/>
                    <a:pt x="178135" y="10762"/>
                  </a:cubicBezTo>
                  <a:cubicBezTo>
                    <a:pt x="159670" y="13789"/>
                    <a:pt x="141139" y="17017"/>
                    <a:pt x="122675" y="19371"/>
                  </a:cubicBezTo>
                  <a:cubicBezTo>
                    <a:pt x="104211" y="21726"/>
                    <a:pt x="85511" y="23979"/>
                    <a:pt x="66946" y="26098"/>
                  </a:cubicBezTo>
                  <a:cubicBezTo>
                    <a:pt x="48280" y="27645"/>
                    <a:pt x="29647" y="29663"/>
                    <a:pt x="10947" y="30605"/>
                  </a:cubicBezTo>
                  <a:cubicBezTo>
                    <a:pt x="3750" y="31348"/>
                    <a:pt x="-1564" y="37647"/>
                    <a:pt x="-1093" y="44865"/>
                  </a:cubicBezTo>
                  <a:lnTo>
                    <a:pt x="-1093" y="44865"/>
                  </a:lnTo>
                  <a:cubicBezTo>
                    <a:pt x="-790" y="52177"/>
                    <a:pt x="5365" y="57871"/>
                    <a:pt x="12663" y="57578"/>
                  </a:cubicBezTo>
                  <a:cubicBezTo>
                    <a:pt x="12696" y="57578"/>
                    <a:pt x="12696" y="57578"/>
                    <a:pt x="12696" y="5757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4E27184D-FDC2-4DB3-A011-6C3354FF3D85}"/>
                </a:ext>
              </a:extLst>
            </p:cNvPr>
            <p:cNvSpPr/>
            <p:nvPr/>
          </p:nvSpPr>
          <p:spPr>
            <a:xfrm>
              <a:off x="2723475" y="6096130"/>
              <a:ext cx="60703" cy="38121"/>
            </a:xfrm>
            <a:custGeom>
              <a:avLst/>
              <a:gdLst>
                <a:gd name="connsiteX0" fmla="*/ 16668 w 60703"/>
                <a:gd name="connsiteY0" fmla="*/ 37128 h 38121"/>
                <a:gd name="connsiteX1" fmla="*/ 33687 w 60703"/>
                <a:gd name="connsiteY1" fmla="*/ 31646 h 38121"/>
                <a:gd name="connsiteX2" fmla="*/ 50503 w 60703"/>
                <a:gd name="connsiteY2" fmla="*/ 25928 h 38121"/>
                <a:gd name="connsiteX3" fmla="*/ 58844 w 60703"/>
                <a:gd name="connsiteY3" fmla="*/ 8809 h 38121"/>
                <a:gd name="connsiteX4" fmla="*/ 41725 w 60703"/>
                <a:gd name="connsiteY4" fmla="*/ 468 h 38121"/>
                <a:gd name="connsiteX5" fmla="*/ 24909 w 60703"/>
                <a:gd name="connsiteY5" fmla="*/ 6085 h 38121"/>
                <a:gd name="connsiteX6" fmla="*/ 8092 w 60703"/>
                <a:gd name="connsiteY6" fmla="*/ 11466 h 38121"/>
                <a:gd name="connsiteX7" fmla="*/ -551 w 60703"/>
                <a:gd name="connsiteY7" fmla="*/ 28282 h 38121"/>
                <a:gd name="connsiteX8" fmla="*/ 16231 w 60703"/>
                <a:gd name="connsiteY8" fmla="*/ 37272 h 38121"/>
                <a:gd name="connsiteX9" fmla="*/ 16668 w 60703"/>
                <a:gd name="connsiteY9" fmla="*/ 37128 h 38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0703" h="38121">
                  <a:moveTo>
                    <a:pt x="16668" y="37128"/>
                  </a:moveTo>
                  <a:lnTo>
                    <a:pt x="33687" y="31646"/>
                  </a:lnTo>
                  <a:cubicBezTo>
                    <a:pt x="39404" y="29873"/>
                    <a:pt x="45021" y="27970"/>
                    <a:pt x="50503" y="25928"/>
                  </a:cubicBezTo>
                  <a:cubicBezTo>
                    <a:pt x="57532" y="23503"/>
                    <a:pt x="61265" y="15838"/>
                    <a:pt x="58844" y="8809"/>
                  </a:cubicBezTo>
                  <a:cubicBezTo>
                    <a:pt x="56422" y="1780"/>
                    <a:pt x="48754" y="-1956"/>
                    <a:pt x="41725" y="468"/>
                  </a:cubicBezTo>
                  <a:cubicBezTo>
                    <a:pt x="36209" y="2453"/>
                    <a:pt x="30660" y="4302"/>
                    <a:pt x="24909" y="6085"/>
                  </a:cubicBezTo>
                  <a:lnTo>
                    <a:pt x="8092" y="11466"/>
                  </a:lnTo>
                  <a:cubicBezTo>
                    <a:pt x="1164" y="13861"/>
                    <a:pt x="-2637" y="21267"/>
                    <a:pt x="-551" y="28282"/>
                  </a:cubicBezTo>
                  <a:cubicBezTo>
                    <a:pt x="1601" y="35396"/>
                    <a:pt x="9101" y="39421"/>
                    <a:pt x="16231" y="37272"/>
                  </a:cubicBezTo>
                  <a:cubicBezTo>
                    <a:pt x="16366" y="37229"/>
                    <a:pt x="16534" y="37178"/>
                    <a:pt x="16668" y="3712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76C36724-9AAC-4A94-8527-FE22E4892403}"/>
                </a:ext>
              </a:extLst>
            </p:cNvPr>
            <p:cNvSpPr/>
            <p:nvPr/>
          </p:nvSpPr>
          <p:spPr>
            <a:xfrm>
              <a:off x="2196818" y="6181720"/>
              <a:ext cx="62460" cy="27414"/>
            </a:xfrm>
            <a:custGeom>
              <a:avLst/>
              <a:gdLst>
                <a:gd name="connsiteX0" fmla="*/ 12101 w 62460"/>
                <a:gd name="connsiteY0" fmla="*/ 26639 h 27414"/>
                <a:gd name="connsiteX1" fmla="*/ 47886 w 62460"/>
                <a:gd name="connsiteY1" fmla="*/ 27144 h 27414"/>
                <a:gd name="connsiteX2" fmla="*/ 61339 w 62460"/>
                <a:gd name="connsiteY2" fmla="*/ 13691 h 27414"/>
                <a:gd name="connsiteX3" fmla="*/ 47886 w 62460"/>
                <a:gd name="connsiteY3" fmla="*/ 238 h 27414"/>
                <a:gd name="connsiteX4" fmla="*/ 12672 w 62460"/>
                <a:gd name="connsiteY4" fmla="*/ -267 h 27414"/>
                <a:gd name="connsiteX5" fmla="*/ -1117 w 62460"/>
                <a:gd name="connsiteY5" fmla="*/ 12850 h 27414"/>
                <a:gd name="connsiteX6" fmla="*/ 12000 w 62460"/>
                <a:gd name="connsiteY6" fmla="*/ 26639 h 27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0" h="27414">
                  <a:moveTo>
                    <a:pt x="12101" y="26639"/>
                  </a:moveTo>
                  <a:cubicBezTo>
                    <a:pt x="24007" y="26976"/>
                    <a:pt x="35946" y="26976"/>
                    <a:pt x="47886" y="27144"/>
                  </a:cubicBezTo>
                  <a:cubicBezTo>
                    <a:pt x="55319" y="27144"/>
                    <a:pt x="61339" y="21120"/>
                    <a:pt x="61339" y="13691"/>
                  </a:cubicBezTo>
                  <a:cubicBezTo>
                    <a:pt x="61339" y="6261"/>
                    <a:pt x="55319" y="238"/>
                    <a:pt x="47886" y="238"/>
                  </a:cubicBezTo>
                  <a:cubicBezTo>
                    <a:pt x="36148" y="238"/>
                    <a:pt x="24343" y="238"/>
                    <a:pt x="12672" y="-267"/>
                  </a:cubicBezTo>
                  <a:cubicBezTo>
                    <a:pt x="5240" y="-452"/>
                    <a:pt x="-915" y="5421"/>
                    <a:pt x="-1117" y="12850"/>
                  </a:cubicBezTo>
                  <a:cubicBezTo>
                    <a:pt x="-1318" y="20279"/>
                    <a:pt x="4567" y="26454"/>
                    <a:pt x="12000" y="26639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C699B3B7-7168-418A-8B3B-452CD19D0233}"/>
                </a:ext>
              </a:extLst>
            </p:cNvPr>
            <p:cNvSpPr/>
            <p:nvPr/>
          </p:nvSpPr>
          <p:spPr>
            <a:xfrm>
              <a:off x="2286280" y="6121966"/>
              <a:ext cx="415469" cy="86467"/>
            </a:xfrm>
            <a:custGeom>
              <a:avLst/>
              <a:gdLst>
                <a:gd name="connsiteX0" fmla="*/ 12673 w 415469"/>
                <a:gd name="connsiteY0" fmla="*/ 86191 h 86467"/>
                <a:gd name="connsiteX1" fmla="*/ 404625 w 415469"/>
                <a:gd name="connsiteY1" fmla="*/ 26191 h 86467"/>
                <a:gd name="connsiteX2" fmla="*/ 413807 w 415469"/>
                <a:gd name="connsiteY2" fmla="*/ 9536 h 86467"/>
                <a:gd name="connsiteX3" fmla="*/ 413774 w 415469"/>
                <a:gd name="connsiteY3" fmla="*/ 9375 h 86467"/>
                <a:gd name="connsiteX4" fmla="*/ 397260 w 415469"/>
                <a:gd name="connsiteY4" fmla="*/ 227 h 86467"/>
                <a:gd name="connsiteX5" fmla="*/ 11866 w 415469"/>
                <a:gd name="connsiteY5" fmla="*/ 59184 h 86467"/>
                <a:gd name="connsiteX6" fmla="*/ -1117 w 415469"/>
                <a:gd name="connsiteY6" fmla="*/ 72974 h 86467"/>
                <a:gd name="connsiteX7" fmla="*/ 12572 w 415469"/>
                <a:gd name="connsiteY7" fmla="*/ 86195 h 86467"/>
                <a:gd name="connsiteX8" fmla="*/ 12673 w 415469"/>
                <a:gd name="connsiteY8" fmla="*/ 86191 h 86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5469" h="86467">
                  <a:moveTo>
                    <a:pt x="12673" y="86191"/>
                  </a:moveTo>
                  <a:cubicBezTo>
                    <a:pt x="145285" y="82418"/>
                    <a:pt x="276957" y="62265"/>
                    <a:pt x="404625" y="26191"/>
                  </a:cubicBezTo>
                  <a:cubicBezTo>
                    <a:pt x="411755" y="24129"/>
                    <a:pt x="415892" y="16673"/>
                    <a:pt x="413807" y="9536"/>
                  </a:cubicBezTo>
                  <a:cubicBezTo>
                    <a:pt x="413807" y="9482"/>
                    <a:pt x="413774" y="9429"/>
                    <a:pt x="413774" y="9375"/>
                  </a:cubicBezTo>
                  <a:cubicBezTo>
                    <a:pt x="411688" y="2325"/>
                    <a:pt x="404323" y="-1748"/>
                    <a:pt x="397260" y="227"/>
                  </a:cubicBezTo>
                  <a:cubicBezTo>
                    <a:pt x="271710" y="35665"/>
                    <a:pt x="142258" y="55468"/>
                    <a:pt x="11866" y="59184"/>
                  </a:cubicBezTo>
                  <a:cubicBezTo>
                    <a:pt x="4500" y="59440"/>
                    <a:pt x="-1318" y="65595"/>
                    <a:pt x="-1117" y="72974"/>
                  </a:cubicBezTo>
                  <a:cubicBezTo>
                    <a:pt x="-982" y="80403"/>
                    <a:pt x="5139" y="86323"/>
                    <a:pt x="12572" y="86195"/>
                  </a:cubicBezTo>
                  <a:cubicBezTo>
                    <a:pt x="12606" y="86195"/>
                    <a:pt x="12639" y="86191"/>
                    <a:pt x="12673" y="86191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91D387AB-9817-420D-8BCF-12A5A9827808}"/>
                </a:ext>
              </a:extLst>
            </p:cNvPr>
            <p:cNvSpPr/>
            <p:nvPr/>
          </p:nvSpPr>
          <p:spPr>
            <a:xfrm>
              <a:off x="2425204" y="6119281"/>
              <a:ext cx="459150" cy="135944"/>
            </a:xfrm>
            <a:custGeom>
              <a:avLst/>
              <a:gdLst>
                <a:gd name="connsiteX0" fmla="*/ 14232 w 459150"/>
                <a:gd name="connsiteY0" fmla="*/ 135558 h 135944"/>
                <a:gd name="connsiteX1" fmla="*/ 449301 w 459150"/>
                <a:gd name="connsiteY1" fmla="*/ 25748 h 135944"/>
                <a:gd name="connsiteX2" fmla="*/ 457104 w 459150"/>
                <a:gd name="connsiteY2" fmla="*/ 8142 h 135944"/>
                <a:gd name="connsiteX3" fmla="*/ 457070 w 459150"/>
                <a:gd name="connsiteY3" fmla="*/ 8024 h 135944"/>
                <a:gd name="connsiteX4" fmla="*/ 457070 w 459150"/>
                <a:gd name="connsiteY4" fmla="*/ 8024 h 135944"/>
                <a:gd name="connsiteX5" fmla="*/ 439144 w 459150"/>
                <a:gd name="connsiteY5" fmla="*/ 759 h 135944"/>
                <a:gd name="connsiteX6" fmla="*/ 11205 w 459150"/>
                <a:gd name="connsiteY6" fmla="*/ 108787 h 135944"/>
                <a:gd name="connsiteX7" fmla="*/ -1071 w 459150"/>
                <a:gd name="connsiteY7" fmla="*/ 123720 h 135944"/>
                <a:gd name="connsiteX8" fmla="*/ 14165 w 459150"/>
                <a:gd name="connsiteY8" fmla="*/ 135565 h 135944"/>
                <a:gd name="connsiteX9" fmla="*/ 14232 w 459150"/>
                <a:gd name="connsiteY9" fmla="*/ 135558 h 135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9150" h="135944">
                  <a:moveTo>
                    <a:pt x="14232" y="135558"/>
                  </a:moveTo>
                  <a:cubicBezTo>
                    <a:pt x="163560" y="118890"/>
                    <a:pt x="309928" y="81948"/>
                    <a:pt x="449301" y="25748"/>
                  </a:cubicBezTo>
                  <a:cubicBezTo>
                    <a:pt x="456330" y="23044"/>
                    <a:pt x="459828" y="15161"/>
                    <a:pt x="457104" y="8142"/>
                  </a:cubicBezTo>
                  <a:cubicBezTo>
                    <a:pt x="457104" y="8101"/>
                    <a:pt x="457070" y="8064"/>
                    <a:pt x="457070" y="8024"/>
                  </a:cubicBezTo>
                  <a:lnTo>
                    <a:pt x="457070" y="8024"/>
                  </a:lnTo>
                  <a:cubicBezTo>
                    <a:pt x="454043" y="1143"/>
                    <a:pt x="446106" y="-2079"/>
                    <a:pt x="439144" y="759"/>
                  </a:cubicBezTo>
                  <a:cubicBezTo>
                    <a:pt x="302058" y="56048"/>
                    <a:pt x="158111" y="92394"/>
                    <a:pt x="11205" y="108787"/>
                  </a:cubicBezTo>
                  <a:cubicBezTo>
                    <a:pt x="3738" y="109601"/>
                    <a:pt x="-1710" y="116233"/>
                    <a:pt x="-1071" y="123720"/>
                  </a:cubicBezTo>
                  <a:cubicBezTo>
                    <a:pt x="-129" y="131203"/>
                    <a:pt x="6698" y="136507"/>
                    <a:pt x="14165" y="135565"/>
                  </a:cubicBezTo>
                  <a:cubicBezTo>
                    <a:pt x="14198" y="135562"/>
                    <a:pt x="14198" y="135562"/>
                    <a:pt x="14232" y="13555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C11FB23E-5FA5-4077-80C6-760E7762AE66}"/>
                </a:ext>
              </a:extLst>
            </p:cNvPr>
            <p:cNvSpPr/>
            <p:nvPr/>
          </p:nvSpPr>
          <p:spPr>
            <a:xfrm>
              <a:off x="2563236" y="6216083"/>
              <a:ext cx="219533" cy="75563"/>
            </a:xfrm>
            <a:custGeom>
              <a:avLst/>
              <a:gdLst>
                <a:gd name="connsiteX0" fmla="*/ 14900 w 219533"/>
                <a:gd name="connsiteY0" fmla="*/ 75045 h 75563"/>
                <a:gd name="connsiteX1" fmla="*/ 208286 w 219533"/>
                <a:gd name="connsiteY1" fmla="*/ 26177 h 75563"/>
                <a:gd name="connsiteX2" fmla="*/ 217871 w 219533"/>
                <a:gd name="connsiteY2" fmla="*/ 8924 h 75563"/>
                <a:gd name="connsiteX3" fmla="*/ 217871 w 219533"/>
                <a:gd name="connsiteY3" fmla="*/ 8924 h 75563"/>
                <a:gd name="connsiteX4" fmla="*/ 200113 w 219533"/>
                <a:gd name="connsiteY4" fmla="*/ 515 h 75563"/>
                <a:gd name="connsiteX5" fmla="*/ 9787 w 219533"/>
                <a:gd name="connsiteY5" fmla="*/ 48610 h 75563"/>
                <a:gd name="connsiteX6" fmla="*/ -874 w 219533"/>
                <a:gd name="connsiteY6" fmla="*/ 64383 h 75563"/>
                <a:gd name="connsiteX7" fmla="*/ 14900 w 219533"/>
                <a:gd name="connsiteY7" fmla="*/ 75045 h 75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533" h="75563">
                  <a:moveTo>
                    <a:pt x="14900" y="75045"/>
                  </a:moveTo>
                  <a:cubicBezTo>
                    <a:pt x="80281" y="62601"/>
                    <a:pt x="144855" y="46282"/>
                    <a:pt x="208286" y="26177"/>
                  </a:cubicBezTo>
                  <a:cubicBezTo>
                    <a:pt x="215685" y="24058"/>
                    <a:pt x="219990" y="16336"/>
                    <a:pt x="217871" y="8924"/>
                  </a:cubicBezTo>
                  <a:lnTo>
                    <a:pt x="217871" y="8924"/>
                  </a:lnTo>
                  <a:cubicBezTo>
                    <a:pt x="215248" y="1736"/>
                    <a:pt x="207344" y="-2007"/>
                    <a:pt x="200113" y="515"/>
                  </a:cubicBezTo>
                  <a:cubicBezTo>
                    <a:pt x="137658" y="20281"/>
                    <a:pt x="74126" y="36341"/>
                    <a:pt x="9787" y="48610"/>
                  </a:cubicBezTo>
                  <a:cubicBezTo>
                    <a:pt x="2489" y="50022"/>
                    <a:pt x="-2287" y="57085"/>
                    <a:pt x="-874" y="64383"/>
                  </a:cubicBezTo>
                  <a:cubicBezTo>
                    <a:pt x="538" y="71682"/>
                    <a:pt x="7601" y="76457"/>
                    <a:pt x="14900" y="75045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25DDED8C-A55D-48C3-A9F5-DAFE6F670CB9}"/>
                </a:ext>
              </a:extLst>
            </p:cNvPr>
            <p:cNvSpPr/>
            <p:nvPr/>
          </p:nvSpPr>
          <p:spPr>
            <a:xfrm>
              <a:off x="2262171" y="6273702"/>
              <a:ext cx="275899" cy="48349"/>
            </a:xfrm>
            <a:custGeom>
              <a:avLst/>
              <a:gdLst>
                <a:gd name="connsiteX0" fmla="*/ 13374 w 275899"/>
                <a:gd name="connsiteY0" fmla="*/ 48065 h 48349"/>
                <a:gd name="connsiteX1" fmla="*/ 76132 w 275899"/>
                <a:gd name="connsiteY1" fmla="*/ 46182 h 48349"/>
                <a:gd name="connsiteX2" fmla="*/ 107477 w 275899"/>
                <a:gd name="connsiteY2" fmla="*/ 44231 h 48349"/>
                <a:gd name="connsiteX3" fmla="*/ 138755 w 275899"/>
                <a:gd name="connsiteY3" fmla="*/ 41810 h 48349"/>
                <a:gd name="connsiteX4" fmla="*/ 263464 w 275899"/>
                <a:gd name="connsiteY4" fmla="*/ 26507 h 48349"/>
                <a:gd name="connsiteX5" fmla="*/ 274597 w 275899"/>
                <a:gd name="connsiteY5" fmla="*/ 11053 h 48349"/>
                <a:gd name="connsiteX6" fmla="*/ 259160 w 275899"/>
                <a:gd name="connsiteY6" fmla="*/ -96 h 48349"/>
                <a:gd name="connsiteX7" fmla="*/ 136435 w 275899"/>
                <a:gd name="connsiteY7" fmla="*/ 14971 h 48349"/>
                <a:gd name="connsiteX8" fmla="*/ 105628 w 275899"/>
                <a:gd name="connsiteY8" fmla="*/ 17359 h 48349"/>
                <a:gd name="connsiteX9" fmla="*/ 74786 w 275899"/>
                <a:gd name="connsiteY9" fmla="*/ 19276 h 48349"/>
                <a:gd name="connsiteX10" fmla="*/ 13004 w 275899"/>
                <a:gd name="connsiteY10" fmla="*/ 21126 h 48349"/>
                <a:gd name="connsiteX11" fmla="*/ -1122 w 275899"/>
                <a:gd name="connsiteY11" fmla="*/ 34781 h 48349"/>
                <a:gd name="connsiteX12" fmla="*/ 13340 w 275899"/>
                <a:gd name="connsiteY12" fmla="*/ 48065 h 48349"/>
                <a:gd name="connsiteX13" fmla="*/ 13374 w 275899"/>
                <a:gd name="connsiteY13" fmla="*/ 48065 h 48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899" h="48349">
                  <a:moveTo>
                    <a:pt x="13374" y="48065"/>
                  </a:moveTo>
                  <a:cubicBezTo>
                    <a:pt x="34326" y="48065"/>
                    <a:pt x="55213" y="46888"/>
                    <a:pt x="76132" y="46182"/>
                  </a:cubicBezTo>
                  <a:lnTo>
                    <a:pt x="107477" y="44231"/>
                  </a:lnTo>
                  <a:cubicBezTo>
                    <a:pt x="117903" y="43660"/>
                    <a:pt x="128329" y="42752"/>
                    <a:pt x="138755" y="41810"/>
                  </a:cubicBezTo>
                  <a:cubicBezTo>
                    <a:pt x="180493" y="38447"/>
                    <a:pt x="222063" y="33032"/>
                    <a:pt x="263464" y="26507"/>
                  </a:cubicBezTo>
                  <a:cubicBezTo>
                    <a:pt x="270796" y="25320"/>
                    <a:pt x="275808" y="18398"/>
                    <a:pt x="274597" y="11053"/>
                  </a:cubicBezTo>
                  <a:cubicBezTo>
                    <a:pt x="273420" y="3708"/>
                    <a:pt x="266491" y="-1283"/>
                    <a:pt x="259160" y="-96"/>
                  </a:cubicBezTo>
                  <a:cubicBezTo>
                    <a:pt x="218431" y="6361"/>
                    <a:pt x="177534" y="11608"/>
                    <a:pt x="136435" y="14971"/>
                  </a:cubicBezTo>
                  <a:cubicBezTo>
                    <a:pt x="126345" y="15913"/>
                    <a:pt x="115919" y="16821"/>
                    <a:pt x="105628" y="17359"/>
                  </a:cubicBezTo>
                  <a:lnTo>
                    <a:pt x="74786" y="19276"/>
                  </a:lnTo>
                  <a:cubicBezTo>
                    <a:pt x="54170" y="19982"/>
                    <a:pt x="33587" y="21092"/>
                    <a:pt x="13004" y="21126"/>
                  </a:cubicBezTo>
                  <a:cubicBezTo>
                    <a:pt x="5369" y="21069"/>
                    <a:pt x="-920" y="27139"/>
                    <a:pt x="-1122" y="34781"/>
                  </a:cubicBezTo>
                  <a:cubicBezTo>
                    <a:pt x="-786" y="42446"/>
                    <a:pt x="5672" y="48392"/>
                    <a:pt x="13340" y="48065"/>
                  </a:cubicBezTo>
                  <a:cubicBezTo>
                    <a:pt x="13340" y="48065"/>
                    <a:pt x="13374" y="48065"/>
                    <a:pt x="13374" y="48065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0483688A-FD9D-43ED-98EC-82878F270BF4}"/>
                </a:ext>
              </a:extLst>
            </p:cNvPr>
            <p:cNvSpPr/>
            <p:nvPr/>
          </p:nvSpPr>
          <p:spPr>
            <a:xfrm>
              <a:off x="2480632" y="6259024"/>
              <a:ext cx="352208" cy="103252"/>
            </a:xfrm>
            <a:custGeom>
              <a:avLst/>
              <a:gdLst>
                <a:gd name="connsiteX0" fmla="*/ 15441 w 352208"/>
                <a:gd name="connsiteY0" fmla="*/ 102732 h 103252"/>
                <a:gd name="connsiteX1" fmla="*/ 341978 w 352208"/>
                <a:gd name="connsiteY1" fmla="*/ 25949 h 103252"/>
                <a:gd name="connsiteX2" fmla="*/ 350352 w 352208"/>
                <a:gd name="connsiteY2" fmla="*/ 8847 h 103252"/>
                <a:gd name="connsiteX3" fmla="*/ 333267 w 352208"/>
                <a:gd name="connsiteY3" fmla="*/ 456 h 103252"/>
                <a:gd name="connsiteX4" fmla="*/ 11741 w 352208"/>
                <a:gd name="connsiteY4" fmla="*/ 76062 h 103252"/>
                <a:gd name="connsiteX5" fmla="*/ -1073 w 352208"/>
                <a:gd name="connsiteY5" fmla="*/ 91432 h 103252"/>
                <a:gd name="connsiteX6" fmla="*/ 15407 w 352208"/>
                <a:gd name="connsiteY6" fmla="*/ 102742 h 103252"/>
                <a:gd name="connsiteX7" fmla="*/ 15441 w 352208"/>
                <a:gd name="connsiteY7" fmla="*/ 102732 h 103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2208" h="103252">
                  <a:moveTo>
                    <a:pt x="15441" y="102732"/>
                  </a:moveTo>
                  <a:cubicBezTo>
                    <a:pt x="126461" y="87497"/>
                    <a:pt x="235800" y="61788"/>
                    <a:pt x="341978" y="25949"/>
                  </a:cubicBezTo>
                  <a:cubicBezTo>
                    <a:pt x="349007" y="23545"/>
                    <a:pt x="352774" y="15886"/>
                    <a:pt x="350352" y="8847"/>
                  </a:cubicBezTo>
                  <a:cubicBezTo>
                    <a:pt x="347965" y="1808"/>
                    <a:pt x="340296" y="-1949"/>
                    <a:pt x="333267" y="456"/>
                  </a:cubicBezTo>
                  <a:cubicBezTo>
                    <a:pt x="228704" y="35740"/>
                    <a:pt x="121047" y="61052"/>
                    <a:pt x="11741" y="76062"/>
                  </a:cubicBezTo>
                  <a:cubicBezTo>
                    <a:pt x="4005" y="76842"/>
                    <a:pt x="-1712" y="83673"/>
                    <a:pt x="-1073" y="91432"/>
                  </a:cubicBezTo>
                  <a:cubicBezTo>
                    <a:pt x="340" y="99103"/>
                    <a:pt x="7739" y="104165"/>
                    <a:pt x="15407" y="102742"/>
                  </a:cubicBezTo>
                  <a:cubicBezTo>
                    <a:pt x="15407" y="102739"/>
                    <a:pt x="15441" y="102736"/>
                    <a:pt x="15441" y="10273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7FA8F7EE-AF5F-4CA6-9F05-A30AA92CBAE3}"/>
                </a:ext>
              </a:extLst>
            </p:cNvPr>
            <p:cNvSpPr/>
            <p:nvPr/>
          </p:nvSpPr>
          <p:spPr>
            <a:xfrm>
              <a:off x="2292407" y="6342761"/>
              <a:ext cx="155031" cy="35254"/>
            </a:xfrm>
            <a:custGeom>
              <a:avLst/>
              <a:gdLst>
                <a:gd name="connsiteX0" fmla="*/ 14013 w 155031"/>
                <a:gd name="connsiteY0" fmla="*/ 34938 h 35254"/>
                <a:gd name="connsiteX1" fmla="*/ 45661 w 155031"/>
                <a:gd name="connsiteY1" fmla="*/ 33761 h 35254"/>
                <a:gd name="connsiteX2" fmla="*/ 77275 w 155031"/>
                <a:gd name="connsiteY2" fmla="*/ 31877 h 35254"/>
                <a:gd name="connsiteX3" fmla="*/ 93083 w 155031"/>
                <a:gd name="connsiteY3" fmla="*/ 30868 h 35254"/>
                <a:gd name="connsiteX4" fmla="*/ 108890 w 155031"/>
                <a:gd name="connsiteY4" fmla="*/ 29523 h 35254"/>
                <a:gd name="connsiteX5" fmla="*/ 140437 w 155031"/>
                <a:gd name="connsiteY5" fmla="*/ 26698 h 35254"/>
                <a:gd name="connsiteX6" fmla="*/ 153890 w 155031"/>
                <a:gd name="connsiteY6" fmla="*/ 11630 h 35254"/>
                <a:gd name="connsiteX7" fmla="*/ 137780 w 155031"/>
                <a:gd name="connsiteY7" fmla="*/ -107 h 35254"/>
                <a:gd name="connsiteX8" fmla="*/ 106704 w 155031"/>
                <a:gd name="connsiteY8" fmla="*/ 2684 h 35254"/>
                <a:gd name="connsiteX9" fmla="*/ 91132 w 155031"/>
                <a:gd name="connsiteY9" fmla="*/ 3996 h 35254"/>
                <a:gd name="connsiteX10" fmla="*/ 75560 w 155031"/>
                <a:gd name="connsiteY10" fmla="*/ 4971 h 35254"/>
                <a:gd name="connsiteX11" fmla="*/ 44417 w 155031"/>
                <a:gd name="connsiteY11" fmla="*/ 6855 h 35254"/>
                <a:gd name="connsiteX12" fmla="*/ 13239 w 155031"/>
                <a:gd name="connsiteY12" fmla="*/ 8032 h 35254"/>
                <a:gd name="connsiteX13" fmla="*/ -1122 w 155031"/>
                <a:gd name="connsiteY13" fmla="*/ 21922 h 35254"/>
                <a:gd name="connsiteX14" fmla="*/ 13912 w 155031"/>
                <a:gd name="connsiteY14" fmla="*/ 34948 h 35254"/>
                <a:gd name="connsiteX15" fmla="*/ 14013 w 155031"/>
                <a:gd name="connsiteY15" fmla="*/ 34938 h 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5031" h="35254">
                  <a:moveTo>
                    <a:pt x="14013" y="34938"/>
                  </a:moveTo>
                  <a:lnTo>
                    <a:pt x="45661" y="33761"/>
                  </a:lnTo>
                  <a:cubicBezTo>
                    <a:pt x="56221" y="33290"/>
                    <a:pt x="66748" y="32482"/>
                    <a:pt x="77275" y="31877"/>
                  </a:cubicBezTo>
                  <a:lnTo>
                    <a:pt x="93083" y="30868"/>
                  </a:lnTo>
                  <a:lnTo>
                    <a:pt x="108890" y="29523"/>
                  </a:lnTo>
                  <a:lnTo>
                    <a:pt x="140437" y="26698"/>
                  </a:lnTo>
                  <a:cubicBezTo>
                    <a:pt x="148307" y="26210"/>
                    <a:pt x="154294" y="19490"/>
                    <a:pt x="153890" y="11630"/>
                  </a:cubicBezTo>
                  <a:cubicBezTo>
                    <a:pt x="152646" y="3959"/>
                    <a:pt x="145448" y="-1278"/>
                    <a:pt x="137780" y="-107"/>
                  </a:cubicBezTo>
                  <a:lnTo>
                    <a:pt x="106704" y="2684"/>
                  </a:lnTo>
                  <a:lnTo>
                    <a:pt x="91132" y="3996"/>
                  </a:lnTo>
                  <a:lnTo>
                    <a:pt x="75560" y="4971"/>
                  </a:lnTo>
                  <a:cubicBezTo>
                    <a:pt x="65201" y="5610"/>
                    <a:pt x="54809" y="6384"/>
                    <a:pt x="44417" y="6855"/>
                  </a:cubicBezTo>
                  <a:lnTo>
                    <a:pt x="13239" y="8032"/>
                  </a:lnTo>
                  <a:cubicBezTo>
                    <a:pt x="5504" y="8028"/>
                    <a:pt x="-853" y="14176"/>
                    <a:pt x="-1122" y="21922"/>
                  </a:cubicBezTo>
                  <a:cubicBezTo>
                    <a:pt x="-584" y="29667"/>
                    <a:pt x="6143" y="35496"/>
                    <a:pt x="13912" y="34948"/>
                  </a:cubicBezTo>
                  <a:cubicBezTo>
                    <a:pt x="13945" y="34944"/>
                    <a:pt x="13979" y="34941"/>
                    <a:pt x="14013" y="3493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F3CB6D2A-7162-41B4-AD52-0E43A04C143A}"/>
                </a:ext>
              </a:extLst>
            </p:cNvPr>
            <p:cNvSpPr/>
            <p:nvPr/>
          </p:nvSpPr>
          <p:spPr>
            <a:xfrm>
              <a:off x="1993615" y="6278043"/>
              <a:ext cx="218409" cy="43424"/>
            </a:xfrm>
            <a:custGeom>
              <a:avLst/>
              <a:gdLst>
                <a:gd name="connsiteX0" fmla="*/ 10448 w 218409"/>
                <a:gd name="connsiteY0" fmla="*/ 26539 h 43424"/>
                <a:gd name="connsiteX1" fmla="*/ -987 w 218409"/>
                <a:gd name="connsiteY1" fmla="*/ 11286 h 43424"/>
                <a:gd name="connsiteX2" fmla="*/ 14282 w 218409"/>
                <a:gd name="connsiteY2" fmla="*/ -132 h 43424"/>
                <a:gd name="connsiteX3" fmla="*/ 203398 w 218409"/>
                <a:gd name="connsiteY3" fmla="*/ 16213 h 43424"/>
                <a:gd name="connsiteX4" fmla="*/ 217288 w 218409"/>
                <a:gd name="connsiteY4" fmla="*/ 30171 h 43424"/>
                <a:gd name="connsiteX5" fmla="*/ 202725 w 218409"/>
                <a:gd name="connsiteY5" fmla="*/ 43129 h 43424"/>
                <a:gd name="connsiteX6" fmla="*/ 202557 w 218409"/>
                <a:gd name="connsiteY6" fmla="*/ 43119 h 43424"/>
                <a:gd name="connsiteX7" fmla="*/ 10448 w 218409"/>
                <a:gd name="connsiteY7" fmla="*/ 26539 h 43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8409" h="43424">
                  <a:moveTo>
                    <a:pt x="10448" y="26539"/>
                  </a:moveTo>
                  <a:cubicBezTo>
                    <a:pt x="3083" y="25479"/>
                    <a:pt x="-2029" y="18652"/>
                    <a:pt x="-987" y="11286"/>
                  </a:cubicBezTo>
                  <a:cubicBezTo>
                    <a:pt x="89" y="3921"/>
                    <a:pt x="6917" y="-1191"/>
                    <a:pt x="14282" y="-132"/>
                  </a:cubicBezTo>
                  <a:cubicBezTo>
                    <a:pt x="76973" y="8861"/>
                    <a:pt x="140101" y="14317"/>
                    <a:pt x="203398" y="16213"/>
                  </a:cubicBezTo>
                  <a:cubicBezTo>
                    <a:pt x="211066" y="16321"/>
                    <a:pt x="217220" y="22519"/>
                    <a:pt x="217288" y="30171"/>
                  </a:cubicBezTo>
                  <a:cubicBezTo>
                    <a:pt x="216851" y="37775"/>
                    <a:pt x="210326" y="43577"/>
                    <a:pt x="202725" y="43129"/>
                  </a:cubicBezTo>
                  <a:cubicBezTo>
                    <a:pt x="202658" y="43126"/>
                    <a:pt x="202624" y="43123"/>
                    <a:pt x="202557" y="43119"/>
                  </a:cubicBezTo>
                  <a:cubicBezTo>
                    <a:pt x="138251" y="41192"/>
                    <a:pt x="74115" y="35656"/>
                    <a:pt x="10448" y="26539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69912123-3AA6-4A02-9816-300A3AD9765F}"/>
                </a:ext>
              </a:extLst>
            </p:cNvPr>
            <p:cNvSpPr/>
            <p:nvPr/>
          </p:nvSpPr>
          <p:spPr>
            <a:xfrm>
              <a:off x="1668620" y="6013445"/>
              <a:ext cx="674127" cy="365424"/>
            </a:xfrm>
            <a:custGeom>
              <a:avLst/>
              <a:gdLst>
                <a:gd name="connsiteX0" fmla="*/ 294647 w 674127"/>
                <a:gd name="connsiteY0" fmla="*/ 26954 h 365424"/>
                <a:gd name="connsiteX1" fmla="*/ 294647 w 674127"/>
                <a:gd name="connsiteY1" fmla="*/ 27324 h 365424"/>
                <a:gd name="connsiteX2" fmla="*/ 443841 w 674127"/>
                <a:gd name="connsiteY2" fmla="*/ 48983 h 365424"/>
                <a:gd name="connsiteX3" fmla="*/ 594783 w 674127"/>
                <a:gd name="connsiteY3" fmla="*/ 55205 h 365424"/>
                <a:gd name="connsiteX4" fmla="*/ 607866 w 674127"/>
                <a:gd name="connsiteY4" fmla="*/ 67145 h 365424"/>
                <a:gd name="connsiteX5" fmla="*/ 596801 w 674127"/>
                <a:gd name="connsiteY5" fmla="*/ 82027 h 365424"/>
                <a:gd name="connsiteX6" fmla="*/ 595624 w 674127"/>
                <a:gd name="connsiteY6" fmla="*/ 82144 h 365424"/>
                <a:gd name="connsiteX7" fmla="*/ 244232 w 674127"/>
                <a:gd name="connsiteY7" fmla="*/ 44207 h 365424"/>
                <a:gd name="connsiteX8" fmla="*/ 227181 w 674127"/>
                <a:gd name="connsiteY8" fmla="*/ 56496 h 365424"/>
                <a:gd name="connsiteX9" fmla="*/ 237506 w 674127"/>
                <a:gd name="connsiteY9" fmla="*/ 73097 h 365424"/>
                <a:gd name="connsiteX10" fmla="*/ 389625 w 674127"/>
                <a:gd name="connsiteY10" fmla="*/ 100003 h 365424"/>
                <a:gd name="connsiteX11" fmla="*/ 401464 w 674127"/>
                <a:gd name="connsiteY11" fmla="*/ 113692 h 365424"/>
                <a:gd name="connsiteX12" fmla="*/ 388280 w 674127"/>
                <a:gd name="connsiteY12" fmla="*/ 126882 h 365424"/>
                <a:gd name="connsiteX13" fmla="*/ 386868 w 674127"/>
                <a:gd name="connsiteY13" fmla="*/ 126808 h 365424"/>
                <a:gd name="connsiteX14" fmla="*/ 292293 w 674127"/>
                <a:gd name="connsiteY14" fmla="*/ 112077 h 365424"/>
                <a:gd name="connsiteX15" fmla="*/ 275410 w 674127"/>
                <a:gd name="connsiteY15" fmla="*/ 124525 h 365424"/>
                <a:gd name="connsiteX16" fmla="*/ 286777 w 674127"/>
                <a:gd name="connsiteY16" fmla="*/ 141203 h 365424"/>
                <a:gd name="connsiteX17" fmla="*/ 385152 w 674127"/>
                <a:gd name="connsiteY17" fmla="*/ 156472 h 365424"/>
                <a:gd name="connsiteX18" fmla="*/ 434626 w 674127"/>
                <a:gd name="connsiteY18" fmla="*/ 161887 h 365424"/>
                <a:gd name="connsiteX19" fmla="*/ 459446 w 674127"/>
                <a:gd name="connsiteY19" fmla="*/ 163905 h 365424"/>
                <a:gd name="connsiteX20" fmla="*/ 471857 w 674127"/>
                <a:gd name="connsiteY20" fmla="*/ 164880 h 365424"/>
                <a:gd name="connsiteX21" fmla="*/ 484301 w 674127"/>
                <a:gd name="connsiteY21" fmla="*/ 165587 h 365424"/>
                <a:gd name="connsiteX22" fmla="*/ 497485 w 674127"/>
                <a:gd name="connsiteY22" fmla="*/ 178468 h 365424"/>
                <a:gd name="connsiteX23" fmla="*/ 484671 w 674127"/>
                <a:gd name="connsiteY23" fmla="*/ 192533 h 365424"/>
                <a:gd name="connsiteX24" fmla="*/ 483292 w 674127"/>
                <a:gd name="connsiteY24" fmla="*/ 192526 h 365424"/>
                <a:gd name="connsiteX25" fmla="*/ 366756 w 674127"/>
                <a:gd name="connsiteY25" fmla="*/ 181327 h 365424"/>
                <a:gd name="connsiteX26" fmla="*/ 251329 w 674127"/>
                <a:gd name="connsiteY26" fmla="*/ 161685 h 365424"/>
                <a:gd name="connsiteX27" fmla="*/ 233504 w 674127"/>
                <a:gd name="connsiteY27" fmla="*/ 172757 h 365424"/>
                <a:gd name="connsiteX28" fmla="*/ 244602 w 674127"/>
                <a:gd name="connsiteY28" fmla="*/ 190572 h 365424"/>
                <a:gd name="connsiteX29" fmla="*/ 245241 w 674127"/>
                <a:gd name="connsiteY29" fmla="*/ 190710 h 365424"/>
                <a:gd name="connsiteX30" fmla="*/ 657878 w 674127"/>
                <a:gd name="connsiteY30" fmla="*/ 223434 h 365424"/>
                <a:gd name="connsiteX31" fmla="*/ 672844 w 674127"/>
                <a:gd name="connsiteY31" fmla="*/ 234802 h 365424"/>
                <a:gd name="connsiteX32" fmla="*/ 661611 w 674127"/>
                <a:gd name="connsiteY32" fmla="*/ 250152 h 365424"/>
                <a:gd name="connsiteX33" fmla="*/ 659761 w 674127"/>
                <a:gd name="connsiteY33" fmla="*/ 250307 h 365424"/>
                <a:gd name="connsiteX34" fmla="*/ 144378 w 674127"/>
                <a:gd name="connsiteY34" fmla="*/ 194241 h 365424"/>
                <a:gd name="connsiteX35" fmla="*/ 125510 w 674127"/>
                <a:gd name="connsiteY35" fmla="*/ 204331 h 365424"/>
                <a:gd name="connsiteX36" fmla="*/ 136205 w 674127"/>
                <a:gd name="connsiteY36" fmla="*/ 222600 h 365424"/>
                <a:gd name="connsiteX37" fmla="*/ 136575 w 674127"/>
                <a:gd name="connsiteY37" fmla="*/ 222695 h 365424"/>
                <a:gd name="connsiteX38" fmla="*/ 279815 w 674127"/>
                <a:gd name="connsiteY38" fmla="*/ 254881 h 365424"/>
                <a:gd name="connsiteX39" fmla="*/ 292394 w 674127"/>
                <a:gd name="connsiteY39" fmla="*/ 269309 h 365424"/>
                <a:gd name="connsiteX40" fmla="*/ 277192 w 674127"/>
                <a:gd name="connsiteY40" fmla="*/ 281740 h 365424"/>
                <a:gd name="connsiteX41" fmla="*/ 275578 w 674127"/>
                <a:gd name="connsiteY41" fmla="*/ 281484 h 365424"/>
                <a:gd name="connsiteX42" fmla="*/ 260578 w 674127"/>
                <a:gd name="connsiteY42" fmla="*/ 278760 h 365424"/>
                <a:gd name="connsiteX43" fmla="*/ 242652 w 674127"/>
                <a:gd name="connsiteY43" fmla="*/ 289747 h 365424"/>
                <a:gd name="connsiteX44" fmla="*/ 253650 w 674127"/>
                <a:gd name="connsiteY44" fmla="*/ 307670 h 365424"/>
                <a:gd name="connsiteX45" fmla="*/ 255163 w 674127"/>
                <a:gd name="connsiteY45" fmla="*/ 307953 h 365424"/>
                <a:gd name="connsiteX46" fmla="*/ 560983 w 674127"/>
                <a:gd name="connsiteY46" fmla="*/ 338222 h 365424"/>
                <a:gd name="connsiteX47" fmla="*/ 575613 w 674127"/>
                <a:gd name="connsiteY47" fmla="*/ 351675 h 365424"/>
                <a:gd name="connsiteX48" fmla="*/ 560848 w 674127"/>
                <a:gd name="connsiteY48" fmla="*/ 365138 h 365424"/>
                <a:gd name="connsiteX49" fmla="*/ 560646 w 674127"/>
                <a:gd name="connsiteY49" fmla="*/ 365128 h 365424"/>
                <a:gd name="connsiteX50" fmla="*/ 234008 w 674127"/>
                <a:gd name="connsiteY50" fmla="*/ 331496 h 365424"/>
                <a:gd name="connsiteX51" fmla="*/ 234008 w 674127"/>
                <a:gd name="connsiteY51" fmla="*/ 331496 h 365424"/>
                <a:gd name="connsiteX52" fmla="*/ 117438 w 674127"/>
                <a:gd name="connsiteY52" fmla="*/ 304354 h 365424"/>
                <a:gd name="connsiteX53" fmla="*/ 15969 w 674127"/>
                <a:gd name="connsiteY53" fmla="*/ 225822 h 365424"/>
                <a:gd name="connsiteX54" fmla="*/ -847 w 674127"/>
                <a:gd name="connsiteY54" fmla="*/ 167504 h 365424"/>
                <a:gd name="connsiteX55" fmla="*/ 8536 w 674127"/>
                <a:gd name="connsiteY55" fmla="*/ 106629 h 365424"/>
                <a:gd name="connsiteX56" fmla="*/ 8536 w 674127"/>
                <a:gd name="connsiteY56" fmla="*/ 106629 h 365424"/>
                <a:gd name="connsiteX57" fmla="*/ 41092 w 674127"/>
                <a:gd name="connsiteY57" fmla="*/ 54196 h 365424"/>
                <a:gd name="connsiteX58" fmla="*/ 63122 w 674127"/>
                <a:gd name="connsiteY58" fmla="*/ 34016 h 365424"/>
                <a:gd name="connsiteX59" fmla="*/ 87740 w 674127"/>
                <a:gd name="connsiteY59" fmla="*/ 18310 h 365424"/>
                <a:gd name="connsiteX60" fmla="*/ 198425 w 674127"/>
                <a:gd name="connsiteY60" fmla="*/ 4689 h 365424"/>
                <a:gd name="connsiteX61" fmla="*/ 294647 w 674127"/>
                <a:gd name="connsiteY61" fmla="*/ 26954 h 365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674127" h="365424">
                  <a:moveTo>
                    <a:pt x="294647" y="26954"/>
                  </a:moveTo>
                  <a:lnTo>
                    <a:pt x="294647" y="27324"/>
                  </a:lnTo>
                  <a:cubicBezTo>
                    <a:pt x="343986" y="37047"/>
                    <a:pt x="393762" y="44278"/>
                    <a:pt x="443841" y="48983"/>
                  </a:cubicBezTo>
                  <a:cubicBezTo>
                    <a:pt x="494021" y="53648"/>
                    <a:pt x="544402" y="55723"/>
                    <a:pt x="594783" y="55205"/>
                  </a:cubicBezTo>
                  <a:cubicBezTo>
                    <a:pt x="601510" y="55346"/>
                    <a:pt x="607127" y="60451"/>
                    <a:pt x="607866" y="67145"/>
                  </a:cubicBezTo>
                  <a:cubicBezTo>
                    <a:pt x="608909" y="74312"/>
                    <a:pt x="603965" y="80974"/>
                    <a:pt x="596801" y="82027"/>
                  </a:cubicBezTo>
                  <a:cubicBezTo>
                    <a:pt x="596398" y="82084"/>
                    <a:pt x="596028" y="82121"/>
                    <a:pt x="595624" y="82144"/>
                  </a:cubicBezTo>
                  <a:cubicBezTo>
                    <a:pt x="477406" y="83298"/>
                    <a:pt x="359491" y="70565"/>
                    <a:pt x="244232" y="44207"/>
                  </a:cubicBezTo>
                  <a:cubicBezTo>
                    <a:pt x="236127" y="42889"/>
                    <a:pt x="228492" y="48391"/>
                    <a:pt x="227181" y="56496"/>
                  </a:cubicBezTo>
                  <a:cubicBezTo>
                    <a:pt x="225970" y="63835"/>
                    <a:pt x="230409" y="70925"/>
                    <a:pt x="237506" y="73097"/>
                  </a:cubicBezTo>
                  <a:cubicBezTo>
                    <a:pt x="287719" y="84600"/>
                    <a:pt x="338504" y="93580"/>
                    <a:pt x="389625" y="100003"/>
                  </a:cubicBezTo>
                  <a:cubicBezTo>
                    <a:pt x="396486" y="100905"/>
                    <a:pt x="401565" y="106787"/>
                    <a:pt x="401464" y="113692"/>
                  </a:cubicBezTo>
                  <a:cubicBezTo>
                    <a:pt x="401464" y="120973"/>
                    <a:pt x="395578" y="126879"/>
                    <a:pt x="388280" y="126882"/>
                  </a:cubicBezTo>
                  <a:cubicBezTo>
                    <a:pt x="387809" y="126886"/>
                    <a:pt x="387339" y="126859"/>
                    <a:pt x="386868" y="126808"/>
                  </a:cubicBezTo>
                  <a:cubicBezTo>
                    <a:pt x="355186" y="123008"/>
                    <a:pt x="323672" y="117862"/>
                    <a:pt x="292293" y="112077"/>
                  </a:cubicBezTo>
                  <a:cubicBezTo>
                    <a:pt x="284188" y="110853"/>
                    <a:pt x="276620" y="116426"/>
                    <a:pt x="275410" y="124525"/>
                  </a:cubicBezTo>
                  <a:cubicBezTo>
                    <a:pt x="274266" y="132203"/>
                    <a:pt x="279210" y="139474"/>
                    <a:pt x="286777" y="141203"/>
                  </a:cubicBezTo>
                  <a:cubicBezTo>
                    <a:pt x="319401" y="147223"/>
                    <a:pt x="352192" y="152571"/>
                    <a:pt x="385152" y="156472"/>
                  </a:cubicBezTo>
                  <a:cubicBezTo>
                    <a:pt x="401599" y="158726"/>
                    <a:pt x="418146" y="160138"/>
                    <a:pt x="434626" y="161887"/>
                  </a:cubicBezTo>
                  <a:lnTo>
                    <a:pt x="459446" y="163905"/>
                  </a:lnTo>
                  <a:lnTo>
                    <a:pt x="471857" y="164880"/>
                  </a:lnTo>
                  <a:lnTo>
                    <a:pt x="484301" y="165587"/>
                  </a:lnTo>
                  <a:cubicBezTo>
                    <a:pt x="491330" y="165926"/>
                    <a:pt x="496980" y="171455"/>
                    <a:pt x="497485" y="178468"/>
                  </a:cubicBezTo>
                  <a:cubicBezTo>
                    <a:pt x="497821" y="185890"/>
                    <a:pt x="492103" y="192186"/>
                    <a:pt x="484671" y="192533"/>
                  </a:cubicBezTo>
                  <a:cubicBezTo>
                    <a:pt x="484200" y="192553"/>
                    <a:pt x="483763" y="192553"/>
                    <a:pt x="483292" y="192526"/>
                  </a:cubicBezTo>
                  <a:cubicBezTo>
                    <a:pt x="444345" y="190071"/>
                    <a:pt x="405433" y="186607"/>
                    <a:pt x="366756" y="181327"/>
                  </a:cubicBezTo>
                  <a:cubicBezTo>
                    <a:pt x="328078" y="176046"/>
                    <a:pt x="289401" y="169555"/>
                    <a:pt x="251329" y="161685"/>
                  </a:cubicBezTo>
                  <a:cubicBezTo>
                    <a:pt x="243358" y="159825"/>
                    <a:pt x="235387" y="164783"/>
                    <a:pt x="233504" y="172757"/>
                  </a:cubicBezTo>
                  <a:cubicBezTo>
                    <a:pt x="231654" y="180735"/>
                    <a:pt x="236598" y="188712"/>
                    <a:pt x="244602" y="190572"/>
                  </a:cubicBezTo>
                  <a:cubicBezTo>
                    <a:pt x="244804" y="190623"/>
                    <a:pt x="245006" y="190670"/>
                    <a:pt x="245241" y="190710"/>
                  </a:cubicBezTo>
                  <a:cubicBezTo>
                    <a:pt x="380881" y="218746"/>
                    <a:pt x="519514" y="229737"/>
                    <a:pt x="657878" y="223434"/>
                  </a:cubicBezTo>
                  <a:cubicBezTo>
                    <a:pt x="665008" y="222964"/>
                    <a:pt x="671398" y="227813"/>
                    <a:pt x="672844" y="234802"/>
                  </a:cubicBezTo>
                  <a:cubicBezTo>
                    <a:pt x="673988" y="242144"/>
                    <a:pt x="668943" y="249015"/>
                    <a:pt x="661611" y="250152"/>
                  </a:cubicBezTo>
                  <a:cubicBezTo>
                    <a:pt x="661006" y="250246"/>
                    <a:pt x="660367" y="250297"/>
                    <a:pt x="659761" y="250307"/>
                  </a:cubicBezTo>
                  <a:cubicBezTo>
                    <a:pt x="486083" y="258412"/>
                    <a:pt x="312237" y="239501"/>
                    <a:pt x="144378" y="194241"/>
                  </a:cubicBezTo>
                  <a:cubicBezTo>
                    <a:pt x="136406" y="191938"/>
                    <a:pt x="128032" y="196411"/>
                    <a:pt x="125510" y="204331"/>
                  </a:cubicBezTo>
                  <a:cubicBezTo>
                    <a:pt x="123424" y="212329"/>
                    <a:pt x="128200" y="220508"/>
                    <a:pt x="136205" y="222600"/>
                  </a:cubicBezTo>
                  <a:cubicBezTo>
                    <a:pt x="136306" y="222634"/>
                    <a:pt x="136440" y="222664"/>
                    <a:pt x="136575" y="222695"/>
                  </a:cubicBezTo>
                  <a:cubicBezTo>
                    <a:pt x="183829" y="235475"/>
                    <a:pt x="231553" y="246204"/>
                    <a:pt x="279815" y="254881"/>
                  </a:cubicBezTo>
                  <a:cubicBezTo>
                    <a:pt x="287046" y="255829"/>
                    <a:pt x="292427" y="262014"/>
                    <a:pt x="292394" y="269309"/>
                  </a:cubicBezTo>
                  <a:cubicBezTo>
                    <a:pt x="291620" y="276940"/>
                    <a:pt x="284826" y="282507"/>
                    <a:pt x="277192" y="281740"/>
                  </a:cubicBezTo>
                  <a:cubicBezTo>
                    <a:pt x="276654" y="281686"/>
                    <a:pt x="276116" y="281602"/>
                    <a:pt x="275578" y="281484"/>
                  </a:cubicBezTo>
                  <a:cubicBezTo>
                    <a:pt x="270566" y="280677"/>
                    <a:pt x="265488" y="279735"/>
                    <a:pt x="260578" y="278760"/>
                  </a:cubicBezTo>
                  <a:cubicBezTo>
                    <a:pt x="252607" y="276846"/>
                    <a:pt x="244569" y="281763"/>
                    <a:pt x="242652" y="289747"/>
                  </a:cubicBezTo>
                  <a:cubicBezTo>
                    <a:pt x="240734" y="297732"/>
                    <a:pt x="245645" y="305757"/>
                    <a:pt x="253650" y="307670"/>
                  </a:cubicBezTo>
                  <a:cubicBezTo>
                    <a:pt x="254154" y="307791"/>
                    <a:pt x="254658" y="307885"/>
                    <a:pt x="255163" y="307953"/>
                  </a:cubicBezTo>
                  <a:cubicBezTo>
                    <a:pt x="356027" y="326895"/>
                    <a:pt x="458370" y="337021"/>
                    <a:pt x="560983" y="338222"/>
                  </a:cubicBezTo>
                  <a:cubicBezTo>
                    <a:pt x="568685" y="338027"/>
                    <a:pt x="575176" y="343980"/>
                    <a:pt x="575613" y="351675"/>
                  </a:cubicBezTo>
                  <a:cubicBezTo>
                    <a:pt x="575243" y="359468"/>
                    <a:pt x="568651" y="365495"/>
                    <a:pt x="560848" y="365138"/>
                  </a:cubicBezTo>
                  <a:cubicBezTo>
                    <a:pt x="560781" y="365135"/>
                    <a:pt x="560714" y="365131"/>
                    <a:pt x="560646" y="365128"/>
                  </a:cubicBezTo>
                  <a:cubicBezTo>
                    <a:pt x="450971" y="363934"/>
                    <a:pt x="341632" y="352677"/>
                    <a:pt x="234008" y="331496"/>
                  </a:cubicBezTo>
                  <a:lnTo>
                    <a:pt x="234008" y="331496"/>
                  </a:lnTo>
                  <a:cubicBezTo>
                    <a:pt x="194860" y="323726"/>
                    <a:pt x="155947" y="314679"/>
                    <a:pt x="117438" y="304354"/>
                  </a:cubicBezTo>
                  <a:cubicBezTo>
                    <a:pt x="71462" y="291910"/>
                    <a:pt x="35341" y="262347"/>
                    <a:pt x="15969" y="225822"/>
                  </a:cubicBezTo>
                  <a:cubicBezTo>
                    <a:pt x="6215" y="207826"/>
                    <a:pt x="464" y="187929"/>
                    <a:pt x="-847" y="167504"/>
                  </a:cubicBezTo>
                  <a:cubicBezTo>
                    <a:pt x="-2125" y="146773"/>
                    <a:pt x="1069" y="126011"/>
                    <a:pt x="8536" y="106629"/>
                  </a:cubicBezTo>
                  <a:lnTo>
                    <a:pt x="8536" y="106629"/>
                  </a:lnTo>
                  <a:cubicBezTo>
                    <a:pt x="15969" y="87240"/>
                    <a:pt x="27000" y="69445"/>
                    <a:pt x="41092" y="54196"/>
                  </a:cubicBezTo>
                  <a:cubicBezTo>
                    <a:pt x="47819" y="46840"/>
                    <a:pt x="55218" y="40091"/>
                    <a:pt x="63122" y="34016"/>
                  </a:cubicBezTo>
                  <a:cubicBezTo>
                    <a:pt x="70890" y="28148"/>
                    <a:pt x="79131" y="22898"/>
                    <a:pt x="87740" y="18310"/>
                  </a:cubicBezTo>
                  <a:cubicBezTo>
                    <a:pt x="121978" y="552"/>
                    <a:pt x="160757" y="-5535"/>
                    <a:pt x="198425" y="4689"/>
                  </a:cubicBezTo>
                  <a:cubicBezTo>
                    <a:pt x="230342" y="13265"/>
                    <a:pt x="262428" y="20563"/>
                    <a:pt x="294647" y="2695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BE061586-526E-40FB-8614-6169C4A80279}"/>
                </a:ext>
              </a:extLst>
            </p:cNvPr>
            <p:cNvSpPr/>
            <p:nvPr/>
          </p:nvSpPr>
          <p:spPr>
            <a:xfrm>
              <a:off x="3711366" y="4269807"/>
              <a:ext cx="316777" cy="634371"/>
            </a:xfrm>
            <a:custGeom>
              <a:avLst/>
              <a:gdLst>
                <a:gd name="connsiteX0" fmla="*/ 93379 w 316777"/>
                <a:gd name="connsiteY0" fmla="*/ 617906 h 634371"/>
                <a:gd name="connsiteX1" fmla="*/ 112550 w 316777"/>
                <a:gd name="connsiteY1" fmla="*/ 469923 h 634371"/>
                <a:gd name="connsiteX2" fmla="*/ 116888 w 316777"/>
                <a:gd name="connsiteY2" fmla="*/ 395360 h 634371"/>
                <a:gd name="connsiteX3" fmla="*/ 117729 w 316777"/>
                <a:gd name="connsiteY3" fmla="*/ 357994 h 634371"/>
                <a:gd name="connsiteX4" fmla="*/ 117964 w 316777"/>
                <a:gd name="connsiteY4" fmla="*/ 339328 h 634371"/>
                <a:gd name="connsiteX5" fmla="*/ 117964 w 316777"/>
                <a:gd name="connsiteY5" fmla="*/ 320158 h 634371"/>
                <a:gd name="connsiteX6" fmla="*/ 104511 w 316777"/>
                <a:gd name="connsiteY6" fmla="*/ 304619 h 634371"/>
                <a:gd name="connsiteX7" fmla="*/ 88233 w 316777"/>
                <a:gd name="connsiteY7" fmla="*/ 318072 h 634371"/>
                <a:gd name="connsiteX8" fmla="*/ 88166 w 316777"/>
                <a:gd name="connsiteY8" fmla="*/ 319485 h 634371"/>
                <a:gd name="connsiteX9" fmla="*/ 87661 w 316777"/>
                <a:gd name="connsiteY9" fmla="*/ 380023 h 634371"/>
                <a:gd name="connsiteX10" fmla="*/ 84836 w 316777"/>
                <a:gd name="connsiteY10" fmla="*/ 439687 h 634371"/>
                <a:gd name="connsiteX11" fmla="*/ 79994 w 316777"/>
                <a:gd name="connsiteY11" fmla="*/ 499183 h 634371"/>
                <a:gd name="connsiteX12" fmla="*/ 72628 w 316777"/>
                <a:gd name="connsiteY12" fmla="*/ 558410 h 634371"/>
                <a:gd name="connsiteX13" fmla="*/ 57594 w 316777"/>
                <a:gd name="connsiteY13" fmla="*/ 570282 h 634371"/>
                <a:gd name="connsiteX14" fmla="*/ 45722 w 316777"/>
                <a:gd name="connsiteY14" fmla="*/ 555249 h 634371"/>
                <a:gd name="connsiteX15" fmla="*/ 60722 w 316777"/>
                <a:gd name="connsiteY15" fmla="*/ 366234 h 634371"/>
                <a:gd name="connsiteX16" fmla="*/ 46159 w 316777"/>
                <a:gd name="connsiteY16" fmla="*/ 352071 h 634371"/>
                <a:gd name="connsiteX17" fmla="*/ 46024 w 316777"/>
                <a:gd name="connsiteY17" fmla="*/ 352075 h 634371"/>
                <a:gd name="connsiteX18" fmla="*/ 46024 w 316777"/>
                <a:gd name="connsiteY18" fmla="*/ 352075 h 634371"/>
                <a:gd name="connsiteX19" fmla="*/ 30957 w 316777"/>
                <a:gd name="connsiteY19" fmla="*/ 365730 h 634371"/>
                <a:gd name="connsiteX20" fmla="*/ 30957 w 316777"/>
                <a:gd name="connsiteY20" fmla="*/ 378611 h 634371"/>
                <a:gd name="connsiteX21" fmla="*/ 30453 w 316777"/>
                <a:gd name="connsiteY21" fmla="*/ 391492 h 634371"/>
                <a:gd name="connsiteX22" fmla="*/ 29478 w 316777"/>
                <a:gd name="connsiteY22" fmla="*/ 417288 h 634371"/>
                <a:gd name="connsiteX23" fmla="*/ 27830 w 316777"/>
                <a:gd name="connsiteY23" fmla="*/ 443017 h 634371"/>
                <a:gd name="connsiteX24" fmla="*/ 26989 w 316777"/>
                <a:gd name="connsiteY24" fmla="*/ 455865 h 634371"/>
                <a:gd name="connsiteX25" fmla="*/ 25812 w 316777"/>
                <a:gd name="connsiteY25" fmla="*/ 468712 h 634371"/>
                <a:gd name="connsiteX26" fmla="*/ 11484 w 316777"/>
                <a:gd name="connsiteY26" fmla="*/ 481291 h 634371"/>
                <a:gd name="connsiteX27" fmla="*/ -1094 w 316777"/>
                <a:gd name="connsiteY27" fmla="*/ 466963 h 634371"/>
                <a:gd name="connsiteX28" fmla="*/ 318 w 316777"/>
                <a:gd name="connsiteY28" fmla="*/ 450551 h 634371"/>
                <a:gd name="connsiteX29" fmla="*/ 1327 w 316777"/>
                <a:gd name="connsiteY29" fmla="*/ 434071 h 634371"/>
                <a:gd name="connsiteX30" fmla="*/ 2336 w 316777"/>
                <a:gd name="connsiteY30" fmla="*/ 417591 h 634371"/>
                <a:gd name="connsiteX31" fmla="*/ 3009 w 316777"/>
                <a:gd name="connsiteY31" fmla="*/ 401111 h 634371"/>
                <a:gd name="connsiteX32" fmla="*/ 3984 w 316777"/>
                <a:gd name="connsiteY32" fmla="*/ 368084 h 634371"/>
                <a:gd name="connsiteX33" fmla="*/ 4320 w 316777"/>
                <a:gd name="connsiteY33" fmla="*/ 334451 h 634371"/>
                <a:gd name="connsiteX34" fmla="*/ 4119 w 316777"/>
                <a:gd name="connsiteY34" fmla="*/ 188588 h 634371"/>
                <a:gd name="connsiteX35" fmla="*/ 4488 w 316777"/>
                <a:gd name="connsiteY35" fmla="*/ 188588 h 634371"/>
                <a:gd name="connsiteX36" fmla="*/ 4488 w 316777"/>
                <a:gd name="connsiteY36" fmla="*/ 83856 h 634371"/>
                <a:gd name="connsiteX37" fmla="*/ 16630 w 316777"/>
                <a:gd name="connsiteY37" fmla="*/ 69730 h 634371"/>
                <a:gd name="connsiteX38" fmla="*/ 31462 w 316777"/>
                <a:gd name="connsiteY38" fmla="*/ 81660 h 634371"/>
                <a:gd name="connsiteX39" fmla="*/ 31529 w 316777"/>
                <a:gd name="connsiteY39" fmla="*/ 83183 h 634371"/>
                <a:gd name="connsiteX40" fmla="*/ 31529 w 316777"/>
                <a:gd name="connsiteY40" fmla="*/ 154215 h 634371"/>
                <a:gd name="connsiteX41" fmla="*/ 44982 w 316777"/>
                <a:gd name="connsiteY41" fmla="*/ 169720 h 634371"/>
                <a:gd name="connsiteX42" fmla="*/ 61260 w 316777"/>
                <a:gd name="connsiteY42" fmla="*/ 156337 h 634371"/>
                <a:gd name="connsiteX43" fmla="*/ 61327 w 316777"/>
                <a:gd name="connsiteY43" fmla="*/ 154854 h 634371"/>
                <a:gd name="connsiteX44" fmla="*/ 61327 w 316777"/>
                <a:gd name="connsiteY44" fmla="*/ 63912 h 634371"/>
                <a:gd name="connsiteX45" fmla="*/ 73469 w 316777"/>
                <a:gd name="connsiteY45" fmla="*/ 49786 h 634371"/>
                <a:gd name="connsiteX46" fmla="*/ 88301 w 316777"/>
                <a:gd name="connsiteY46" fmla="*/ 61716 h 634371"/>
                <a:gd name="connsiteX47" fmla="*/ 88368 w 316777"/>
                <a:gd name="connsiteY47" fmla="*/ 63239 h 634371"/>
                <a:gd name="connsiteX48" fmla="*/ 88368 w 316777"/>
                <a:gd name="connsiteY48" fmla="*/ 197769 h 634371"/>
                <a:gd name="connsiteX49" fmla="*/ 101821 w 316777"/>
                <a:gd name="connsiteY49" fmla="*/ 213274 h 634371"/>
                <a:gd name="connsiteX50" fmla="*/ 118099 w 316777"/>
                <a:gd name="connsiteY50" fmla="*/ 199891 h 634371"/>
                <a:gd name="connsiteX51" fmla="*/ 118166 w 316777"/>
                <a:gd name="connsiteY51" fmla="*/ 198408 h 634371"/>
                <a:gd name="connsiteX52" fmla="*/ 118166 w 316777"/>
                <a:gd name="connsiteY52" fmla="*/ 98856 h 634371"/>
                <a:gd name="connsiteX53" fmla="*/ 130308 w 316777"/>
                <a:gd name="connsiteY53" fmla="*/ 84697 h 634371"/>
                <a:gd name="connsiteX54" fmla="*/ 145140 w 316777"/>
                <a:gd name="connsiteY54" fmla="*/ 96626 h 634371"/>
                <a:gd name="connsiteX55" fmla="*/ 145207 w 316777"/>
                <a:gd name="connsiteY55" fmla="*/ 98150 h 634371"/>
                <a:gd name="connsiteX56" fmla="*/ 145207 w 316777"/>
                <a:gd name="connsiteY56" fmla="*/ 184585 h 634371"/>
                <a:gd name="connsiteX57" fmla="*/ 158660 w 316777"/>
                <a:gd name="connsiteY57" fmla="*/ 200090 h 634371"/>
                <a:gd name="connsiteX58" fmla="*/ 174938 w 316777"/>
                <a:gd name="connsiteY58" fmla="*/ 186707 h 634371"/>
                <a:gd name="connsiteX59" fmla="*/ 175005 w 316777"/>
                <a:gd name="connsiteY59" fmla="*/ 185224 h 634371"/>
                <a:gd name="connsiteX60" fmla="*/ 175005 w 316777"/>
                <a:gd name="connsiteY60" fmla="*/ 13934 h 634371"/>
                <a:gd name="connsiteX61" fmla="*/ 187146 w 316777"/>
                <a:gd name="connsiteY61" fmla="*/ -191 h 634371"/>
                <a:gd name="connsiteX62" fmla="*/ 201979 w 316777"/>
                <a:gd name="connsiteY62" fmla="*/ 11738 h 634371"/>
                <a:gd name="connsiteX63" fmla="*/ 202045 w 316777"/>
                <a:gd name="connsiteY63" fmla="*/ 13261 h 634371"/>
                <a:gd name="connsiteX64" fmla="*/ 202045 w 316777"/>
                <a:gd name="connsiteY64" fmla="*/ 164809 h 634371"/>
                <a:gd name="connsiteX65" fmla="*/ 216205 w 316777"/>
                <a:gd name="connsiteY65" fmla="*/ 180398 h 634371"/>
                <a:gd name="connsiteX66" fmla="*/ 231810 w 316777"/>
                <a:gd name="connsiteY66" fmla="*/ 166225 h 634371"/>
                <a:gd name="connsiteX67" fmla="*/ 231810 w 316777"/>
                <a:gd name="connsiteY67" fmla="*/ 164809 h 634371"/>
                <a:gd name="connsiteX68" fmla="*/ 231810 w 316777"/>
                <a:gd name="connsiteY68" fmla="*/ 141872 h 634371"/>
                <a:gd name="connsiteX69" fmla="*/ 243918 w 316777"/>
                <a:gd name="connsiteY69" fmla="*/ 127746 h 634371"/>
                <a:gd name="connsiteX70" fmla="*/ 258783 w 316777"/>
                <a:gd name="connsiteY70" fmla="*/ 139639 h 634371"/>
                <a:gd name="connsiteX71" fmla="*/ 258851 w 316777"/>
                <a:gd name="connsiteY71" fmla="*/ 141199 h 634371"/>
                <a:gd name="connsiteX72" fmla="*/ 258851 w 316777"/>
                <a:gd name="connsiteY72" fmla="*/ 205101 h 634371"/>
                <a:gd name="connsiteX73" fmla="*/ 272304 w 316777"/>
                <a:gd name="connsiteY73" fmla="*/ 220606 h 634371"/>
                <a:gd name="connsiteX74" fmla="*/ 288548 w 316777"/>
                <a:gd name="connsiteY74" fmla="*/ 207186 h 634371"/>
                <a:gd name="connsiteX75" fmla="*/ 288615 w 316777"/>
                <a:gd name="connsiteY75" fmla="*/ 205740 h 634371"/>
                <a:gd name="connsiteX76" fmla="*/ 288615 w 316777"/>
                <a:gd name="connsiteY76" fmla="*/ 75112 h 634371"/>
                <a:gd name="connsiteX77" fmla="*/ 300757 w 316777"/>
                <a:gd name="connsiteY77" fmla="*/ 60952 h 634371"/>
                <a:gd name="connsiteX78" fmla="*/ 315589 w 316777"/>
                <a:gd name="connsiteY78" fmla="*/ 72882 h 634371"/>
                <a:gd name="connsiteX79" fmla="*/ 315656 w 316777"/>
                <a:gd name="connsiteY79" fmla="*/ 74405 h 634371"/>
                <a:gd name="connsiteX80" fmla="*/ 315656 w 316777"/>
                <a:gd name="connsiteY80" fmla="*/ 188756 h 634371"/>
                <a:gd name="connsiteX81" fmla="*/ 315656 w 316777"/>
                <a:gd name="connsiteY81" fmla="*/ 188756 h 634371"/>
                <a:gd name="connsiteX82" fmla="*/ 315656 w 316777"/>
                <a:gd name="connsiteY82" fmla="*/ 338958 h 634371"/>
                <a:gd name="connsiteX83" fmla="*/ 315656 w 316777"/>
                <a:gd name="connsiteY83" fmla="*/ 338958 h 634371"/>
                <a:gd name="connsiteX84" fmla="*/ 315320 w 316777"/>
                <a:gd name="connsiteY84" fmla="*/ 369631 h 634371"/>
                <a:gd name="connsiteX85" fmla="*/ 315084 w 316777"/>
                <a:gd name="connsiteY85" fmla="*/ 385001 h 634371"/>
                <a:gd name="connsiteX86" fmla="*/ 314445 w 316777"/>
                <a:gd name="connsiteY86" fmla="*/ 400237 h 634371"/>
                <a:gd name="connsiteX87" fmla="*/ 313235 w 316777"/>
                <a:gd name="connsiteY87" fmla="*/ 430943 h 634371"/>
                <a:gd name="connsiteX88" fmla="*/ 311284 w 316777"/>
                <a:gd name="connsiteY88" fmla="*/ 461649 h 634371"/>
                <a:gd name="connsiteX89" fmla="*/ 298167 w 316777"/>
                <a:gd name="connsiteY89" fmla="*/ 476179 h 634371"/>
                <a:gd name="connsiteX90" fmla="*/ 284210 w 316777"/>
                <a:gd name="connsiteY90" fmla="*/ 461693 h 634371"/>
                <a:gd name="connsiteX91" fmla="*/ 284277 w 316777"/>
                <a:gd name="connsiteY91" fmla="*/ 460506 h 634371"/>
                <a:gd name="connsiteX92" fmla="*/ 286463 w 316777"/>
                <a:gd name="connsiteY92" fmla="*/ 423510 h 634371"/>
                <a:gd name="connsiteX93" fmla="*/ 287876 w 316777"/>
                <a:gd name="connsiteY93" fmla="*/ 386515 h 634371"/>
                <a:gd name="connsiteX94" fmla="*/ 288414 w 316777"/>
                <a:gd name="connsiteY94" fmla="*/ 349519 h 634371"/>
                <a:gd name="connsiteX95" fmla="*/ 288414 w 316777"/>
                <a:gd name="connsiteY95" fmla="*/ 340236 h 634371"/>
                <a:gd name="connsiteX96" fmla="*/ 288414 w 316777"/>
                <a:gd name="connsiteY96" fmla="*/ 314407 h 634371"/>
                <a:gd name="connsiteX97" fmla="*/ 274961 w 316777"/>
                <a:gd name="connsiteY97" fmla="*/ 298902 h 634371"/>
                <a:gd name="connsiteX98" fmla="*/ 258683 w 316777"/>
                <a:gd name="connsiteY98" fmla="*/ 312284 h 634371"/>
                <a:gd name="connsiteX99" fmla="*/ 258615 w 316777"/>
                <a:gd name="connsiteY99" fmla="*/ 313768 h 634371"/>
                <a:gd name="connsiteX100" fmla="*/ 258615 w 316777"/>
                <a:gd name="connsiteY100" fmla="*/ 339698 h 634371"/>
                <a:gd name="connsiteX101" fmla="*/ 258246 w 316777"/>
                <a:gd name="connsiteY101" fmla="*/ 367344 h 634371"/>
                <a:gd name="connsiteX102" fmla="*/ 245936 w 316777"/>
                <a:gd name="connsiteY102" fmla="*/ 382041 h 634371"/>
                <a:gd name="connsiteX103" fmla="*/ 231205 w 316777"/>
                <a:gd name="connsiteY103" fmla="*/ 368817 h 634371"/>
                <a:gd name="connsiteX104" fmla="*/ 231205 w 316777"/>
                <a:gd name="connsiteY104" fmla="*/ 367613 h 634371"/>
                <a:gd name="connsiteX105" fmla="*/ 231575 w 316777"/>
                <a:gd name="connsiteY105" fmla="*/ 334788 h 634371"/>
                <a:gd name="connsiteX106" fmla="*/ 218122 w 316777"/>
                <a:gd name="connsiteY106" fmla="*/ 319283 h 634371"/>
                <a:gd name="connsiteX107" fmla="*/ 201844 w 316777"/>
                <a:gd name="connsiteY107" fmla="*/ 332666 h 634371"/>
                <a:gd name="connsiteX108" fmla="*/ 201777 w 316777"/>
                <a:gd name="connsiteY108" fmla="*/ 334149 h 634371"/>
                <a:gd name="connsiteX109" fmla="*/ 194444 w 316777"/>
                <a:gd name="connsiteY109" fmla="*/ 495147 h 634371"/>
                <a:gd name="connsiteX110" fmla="*/ 180991 w 316777"/>
                <a:gd name="connsiteY110" fmla="*/ 508365 h 634371"/>
                <a:gd name="connsiteX111" fmla="*/ 167472 w 316777"/>
                <a:gd name="connsiteY111" fmla="*/ 494233 h 634371"/>
                <a:gd name="connsiteX112" fmla="*/ 167538 w 316777"/>
                <a:gd name="connsiteY112" fmla="*/ 493298 h 634371"/>
                <a:gd name="connsiteX113" fmla="*/ 174265 w 316777"/>
                <a:gd name="connsiteY113" fmla="*/ 373667 h 634371"/>
                <a:gd name="connsiteX114" fmla="*/ 161048 w 316777"/>
                <a:gd name="connsiteY114" fmla="*/ 357860 h 634371"/>
                <a:gd name="connsiteX115" fmla="*/ 144635 w 316777"/>
                <a:gd name="connsiteY115" fmla="*/ 370983 h 634371"/>
                <a:gd name="connsiteX116" fmla="*/ 144534 w 316777"/>
                <a:gd name="connsiteY116" fmla="*/ 372423 h 634371"/>
                <a:gd name="connsiteX117" fmla="*/ 137101 w 316777"/>
                <a:gd name="connsiteY117" fmla="*/ 498342 h 634371"/>
                <a:gd name="connsiteX118" fmla="*/ 119814 w 316777"/>
                <a:gd name="connsiteY118" fmla="*/ 623253 h 634371"/>
                <a:gd name="connsiteX119" fmla="*/ 103906 w 316777"/>
                <a:gd name="connsiteY119" fmla="*/ 633831 h 634371"/>
                <a:gd name="connsiteX120" fmla="*/ 93312 w 316777"/>
                <a:gd name="connsiteY120" fmla="*/ 617906 h 634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316777" h="634371">
                  <a:moveTo>
                    <a:pt x="93379" y="617906"/>
                  </a:moveTo>
                  <a:cubicBezTo>
                    <a:pt x="102124" y="568903"/>
                    <a:pt x="108514" y="519430"/>
                    <a:pt x="112550" y="469923"/>
                  </a:cubicBezTo>
                  <a:cubicBezTo>
                    <a:pt x="114534" y="445102"/>
                    <a:pt x="116115" y="420248"/>
                    <a:pt x="116888" y="395360"/>
                  </a:cubicBezTo>
                  <a:cubicBezTo>
                    <a:pt x="117493" y="382916"/>
                    <a:pt x="117594" y="370472"/>
                    <a:pt x="117729" y="357994"/>
                  </a:cubicBezTo>
                  <a:lnTo>
                    <a:pt x="117964" y="339328"/>
                  </a:lnTo>
                  <a:lnTo>
                    <a:pt x="117964" y="320158"/>
                  </a:lnTo>
                  <a:cubicBezTo>
                    <a:pt x="118099" y="312301"/>
                    <a:pt x="112314" y="305598"/>
                    <a:pt x="104511" y="304619"/>
                  </a:cubicBezTo>
                  <a:cubicBezTo>
                    <a:pt x="96305" y="303839"/>
                    <a:pt x="89007" y="309863"/>
                    <a:pt x="88233" y="318072"/>
                  </a:cubicBezTo>
                  <a:cubicBezTo>
                    <a:pt x="88200" y="318543"/>
                    <a:pt x="88166" y="319014"/>
                    <a:pt x="88166" y="319485"/>
                  </a:cubicBezTo>
                  <a:cubicBezTo>
                    <a:pt x="88166" y="340707"/>
                    <a:pt x="87863" y="360079"/>
                    <a:pt x="87661" y="380023"/>
                  </a:cubicBezTo>
                  <a:cubicBezTo>
                    <a:pt x="86821" y="399900"/>
                    <a:pt x="86350" y="419811"/>
                    <a:pt x="84836" y="439687"/>
                  </a:cubicBezTo>
                  <a:cubicBezTo>
                    <a:pt x="83323" y="459564"/>
                    <a:pt x="81742" y="479374"/>
                    <a:pt x="79994" y="499183"/>
                  </a:cubicBezTo>
                  <a:cubicBezTo>
                    <a:pt x="77706" y="518959"/>
                    <a:pt x="75621" y="538735"/>
                    <a:pt x="72628" y="558410"/>
                  </a:cubicBezTo>
                  <a:cubicBezTo>
                    <a:pt x="71753" y="565839"/>
                    <a:pt x="65027" y="571157"/>
                    <a:pt x="57594" y="570282"/>
                  </a:cubicBezTo>
                  <a:cubicBezTo>
                    <a:pt x="50162" y="569408"/>
                    <a:pt x="44847" y="562678"/>
                    <a:pt x="45722" y="555249"/>
                  </a:cubicBezTo>
                  <a:cubicBezTo>
                    <a:pt x="54702" y="492625"/>
                    <a:pt x="59713" y="429493"/>
                    <a:pt x="60722" y="366234"/>
                  </a:cubicBezTo>
                  <a:cubicBezTo>
                    <a:pt x="60621" y="358304"/>
                    <a:pt x="54096" y="351964"/>
                    <a:pt x="46159" y="352071"/>
                  </a:cubicBezTo>
                  <a:cubicBezTo>
                    <a:pt x="46125" y="352071"/>
                    <a:pt x="46058" y="352075"/>
                    <a:pt x="46024" y="352075"/>
                  </a:cubicBezTo>
                  <a:lnTo>
                    <a:pt x="46024" y="352075"/>
                  </a:lnTo>
                  <a:cubicBezTo>
                    <a:pt x="38121" y="351732"/>
                    <a:pt x="31394" y="357819"/>
                    <a:pt x="30957" y="365730"/>
                  </a:cubicBezTo>
                  <a:lnTo>
                    <a:pt x="30957" y="378611"/>
                  </a:lnTo>
                  <a:lnTo>
                    <a:pt x="30453" y="391492"/>
                  </a:lnTo>
                  <a:lnTo>
                    <a:pt x="29478" y="417288"/>
                  </a:lnTo>
                  <a:lnTo>
                    <a:pt x="27830" y="443017"/>
                  </a:lnTo>
                  <a:cubicBezTo>
                    <a:pt x="27527" y="447288"/>
                    <a:pt x="27325" y="451593"/>
                    <a:pt x="26989" y="455865"/>
                  </a:cubicBezTo>
                  <a:lnTo>
                    <a:pt x="25812" y="468712"/>
                  </a:lnTo>
                  <a:cubicBezTo>
                    <a:pt x="25341" y="476142"/>
                    <a:pt x="18917" y="481775"/>
                    <a:pt x="11484" y="481291"/>
                  </a:cubicBezTo>
                  <a:cubicBezTo>
                    <a:pt x="4051" y="480806"/>
                    <a:pt x="-1565" y="474393"/>
                    <a:pt x="-1094" y="466963"/>
                  </a:cubicBezTo>
                  <a:lnTo>
                    <a:pt x="318" y="450551"/>
                  </a:lnTo>
                  <a:lnTo>
                    <a:pt x="1327" y="434071"/>
                  </a:lnTo>
                  <a:lnTo>
                    <a:pt x="2336" y="417591"/>
                  </a:lnTo>
                  <a:cubicBezTo>
                    <a:pt x="2706" y="412109"/>
                    <a:pt x="2773" y="406593"/>
                    <a:pt x="3009" y="401111"/>
                  </a:cubicBezTo>
                  <a:cubicBezTo>
                    <a:pt x="3345" y="390113"/>
                    <a:pt x="4018" y="379115"/>
                    <a:pt x="3984" y="368084"/>
                  </a:cubicBezTo>
                  <a:lnTo>
                    <a:pt x="4320" y="334451"/>
                  </a:lnTo>
                  <a:lnTo>
                    <a:pt x="4119" y="188588"/>
                  </a:lnTo>
                  <a:lnTo>
                    <a:pt x="4488" y="188588"/>
                  </a:lnTo>
                  <a:lnTo>
                    <a:pt x="4488" y="83856"/>
                  </a:lnTo>
                  <a:cubicBezTo>
                    <a:pt x="4354" y="76746"/>
                    <a:pt x="9567" y="70669"/>
                    <a:pt x="16630" y="69730"/>
                  </a:cubicBezTo>
                  <a:cubicBezTo>
                    <a:pt x="24029" y="68930"/>
                    <a:pt x="30655" y="74271"/>
                    <a:pt x="31462" y="81660"/>
                  </a:cubicBezTo>
                  <a:cubicBezTo>
                    <a:pt x="31495" y="82164"/>
                    <a:pt x="31529" y="82676"/>
                    <a:pt x="31529" y="83183"/>
                  </a:cubicBezTo>
                  <a:lnTo>
                    <a:pt x="31529" y="154215"/>
                  </a:lnTo>
                  <a:cubicBezTo>
                    <a:pt x="31394" y="162065"/>
                    <a:pt x="37179" y="168758"/>
                    <a:pt x="44982" y="169720"/>
                  </a:cubicBezTo>
                  <a:cubicBezTo>
                    <a:pt x="53188" y="170517"/>
                    <a:pt x="60453" y="164527"/>
                    <a:pt x="61260" y="156337"/>
                  </a:cubicBezTo>
                  <a:cubicBezTo>
                    <a:pt x="61294" y="155843"/>
                    <a:pt x="61327" y="155349"/>
                    <a:pt x="61327" y="154854"/>
                  </a:cubicBezTo>
                  <a:lnTo>
                    <a:pt x="61327" y="63912"/>
                  </a:lnTo>
                  <a:cubicBezTo>
                    <a:pt x="61193" y="56802"/>
                    <a:pt x="66406" y="50725"/>
                    <a:pt x="73469" y="49786"/>
                  </a:cubicBezTo>
                  <a:cubicBezTo>
                    <a:pt x="80868" y="48986"/>
                    <a:pt x="87493" y="54327"/>
                    <a:pt x="88301" y="61716"/>
                  </a:cubicBezTo>
                  <a:cubicBezTo>
                    <a:pt x="88334" y="62220"/>
                    <a:pt x="88368" y="62731"/>
                    <a:pt x="88368" y="63239"/>
                  </a:cubicBezTo>
                  <a:lnTo>
                    <a:pt x="88368" y="197769"/>
                  </a:lnTo>
                  <a:cubicBezTo>
                    <a:pt x="88233" y="205619"/>
                    <a:pt x="94018" y="212312"/>
                    <a:pt x="101821" y="213274"/>
                  </a:cubicBezTo>
                  <a:cubicBezTo>
                    <a:pt x="110027" y="214071"/>
                    <a:pt x="117292" y="208081"/>
                    <a:pt x="118099" y="199891"/>
                  </a:cubicBezTo>
                  <a:cubicBezTo>
                    <a:pt x="118133" y="199397"/>
                    <a:pt x="118166" y="198903"/>
                    <a:pt x="118166" y="198408"/>
                  </a:cubicBezTo>
                  <a:lnTo>
                    <a:pt x="118166" y="98856"/>
                  </a:lnTo>
                  <a:cubicBezTo>
                    <a:pt x="118032" y="91733"/>
                    <a:pt x="123245" y="85638"/>
                    <a:pt x="130308" y="84697"/>
                  </a:cubicBezTo>
                  <a:cubicBezTo>
                    <a:pt x="137707" y="83900"/>
                    <a:pt x="144332" y="89237"/>
                    <a:pt x="145140" y="96626"/>
                  </a:cubicBezTo>
                  <a:cubicBezTo>
                    <a:pt x="145173" y="97131"/>
                    <a:pt x="145207" y="97642"/>
                    <a:pt x="145207" y="98150"/>
                  </a:cubicBezTo>
                  <a:lnTo>
                    <a:pt x="145207" y="184585"/>
                  </a:lnTo>
                  <a:cubicBezTo>
                    <a:pt x="145072" y="192435"/>
                    <a:pt x="150857" y="199128"/>
                    <a:pt x="158660" y="200090"/>
                  </a:cubicBezTo>
                  <a:cubicBezTo>
                    <a:pt x="166866" y="200887"/>
                    <a:pt x="174131" y="194897"/>
                    <a:pt x="174938" y="186707"/>
                  </a:cubicBezTo>
                  <a:cubicBezTo>
                    <a:pt x="174972" y="186213"/>
                    <a:pt x="175005" y="185719"/>
                    <a:pt x="175005" y="185224"/>
                  </a:cubicBezTo>
                  <a:lnTo>
                    <a:pt x="175005" y="13934"/>
                  </a:lnTo>
                  <a:cubicBezTo>
                    <a:pt x="174871" y="6824"/>
                    <a:pt x="180084" y="747"/>
                    <a:pt x="187146" y="-191"/>
                  </a:cubicBezTo>
                  <a:cubicBezTo>
                    <a:pt x="194545" y="-992"/>
                    <a:pt x="201171" y="4349"/>
                    <a:pt x="201979" y="11738"/>
                  </a:cubicBezTo>
                  <a:cubicBezTo>
                    <a:pt x="202012" y="12242"/>
                    <a:pt x="202045" y="12754"/>
                    <a:pt x="202045" y="13261"/>
                  </a:cubicBezTo>
                  <a:lnTo>
                    <a:pt x="202045" y="164809"/>
                  </a:lnTo>
                  <a:cubicBezTo>
                    <a:pt x="201642" y="173029"/>
                    <a:pt x="207998" y="180008"/>
                    <a:pt x="216205" y="180398"/>
                  </a:cubicBezTo>
                  <a:cubicBezTo>
                    <a:pt x="224445" y="180792"/>
                    <a:pt x="231407" y="174445"/>
                    <a:pt x="231810" y="166225"/>
                  </a:cubicBezTo>
                  <a:cubicBezTo>
                    <a:pt x="231844" y="165754"/>
                    <a:pt x="231844" y="165280"/>
                    <a:pt x="231810" y="164809"/>
                  </a:cubicBezTo>
                  <a:lnTo>
                    <a:pt x="231810" y="141872"/>
                  </a:lnTo>
                  <a:cubicBezTo>
                    <a:pt x="231676" y="134772"/>
                    <a:pt x="236889" y="128702"/>
                    <a:pt x="243918" y="127746"/>
                  </a:cubicBezTo>
                  <a:cubicBezTo>
                    <a:pt x="251317" y="126929"/>
                    <a:pt x="257943" y="132253"/>
                    <a:pt x="258783" y="139639"/>
                  </a:cubicBezTo>
                  <a:cubicBezTo>
                    <a:pt x="258817" y="140157"/>
                    <a:pt x="258851" y="140678"/>
                    <a:pt x="258851" y="141199"/>
                  </a:cubicBezTo>
                  <a:lnTo>
                    <a:pt x="258851" y="205101"/>
                  </a:lnTo>
                  <a:cubicBezTo>
                    <a:pt x="258716" y="212951"/>
                    <a:pt x="264501" y="219644"/>
                    <a:pt x="272304" y="220606"/>
                  </a:cubicBezTo>
                  <a:cubicBezTo>
                    <a:pt x="280510" y="221386"/>
                    <a:pt x="287775" y="215379"/>
                    <a:pt x="288548" y="207186"/>
                  </a:cubicBezTo>
                  <a:cubicBezTo>
                    <a:pt x="288582" y="206705"/>
                    <a:pt x="288615" y="206224"/>
                    <a:pt x="288615" y="205740"/>
                  </a:cubicBezTo>
                  <a:lnTo>
                    <a:pt x="288615" y="75112"/>
                  </a:lnTo>
                  <a:cubicBezTo>
                    <a:pt x="288481" y="67995"/>
                    <a:pt x="293694" y="61907"/>
                    <a:pt x="300757" y="60952"/>
                  </a:cubicBezTo>
                  <a:cubicBezTo>
                    <a:pt x="308156" y="60152"/>
                    <a:pt x="314781" y="65493"/>
                    <a:pt x="315589" y="72882"/>
                  </a:cubicBezTo>
                  <a:cubicBezTo>
                    <a:pt x="315622" y="73386"/>
                    <a:pt x="315656" y="73897"/>
                    <a:pt x="315656" y="74405"/>
                  </a:cubicBezTo>
                  <a:lnTo>
                    <a:pt x="315656" y="188756"/>
                  </a:lnTo>
                  <a:lnTo>
                    <a:pt x="315656" y="188756"/>
                  </a:lnTo>
                  <a:lnTo>
                    <a:pt x="315656" y="338958"/>
                  </a:lnTo>
                  <a:lnTo>
                    <a:pt x="315656" y="338958"/>
                  </a:lnTo>
                  <a:lnTo>
                    <a:pt x="315320" y="369631"/>
                  </a:lnTo>
                  <a:lnTo>
                    <a:pt x="315084" y="385001"/>
                  </a:lnTo>
                  <a:lnTo>
                    <a:pt x="314445" y="400237"/>
                  </a:lnTo>
                  <a:lnTo>
                    <a:pt x="313235" y="430943"/>
                  </a:lnTo>
                  <a:lnTo>
                    <a:pt x="311284" y="461649"/>
                  </a:lnTo>
                  <a:cubicBezTo>
                    <a:pt x="310779" y="469385"/>
                    <a:pt x="305297" y="475977"/>
                    <a:pt x="298167" y="476179"/>
                  </a:cubicBezTo>
                  <a:cubicBezTo>
                    <a:pt x="290297" y="476034"/>
                    <a:pt x="284075" y="469546"/>
                    <a:pt x="284210" y="461693"/>
                  </a:cubicBezTo>
                  <a:cubicBezTo>
                    <a:pt x="284210" y="461296"/>
                    <a:pt x="284243" y="460899"/>
                    <a:pt x="284277" y="460506"/>
                  </a:cubicBezTo>
                  <a:cubicBezTo>
                    <a:pt x="285017" y="448163"/>
                    <a:pt x="285959" y="435820"/>
                    <a:pt x="286463" y="423510"/>
                  </a:cubicBezTo>
                  <a:lnTo>
                    <a:pt x="287876" y="386515"/>
                  </a:lnTo>
                  <a:lnTo>
                    <a:pt x="288414" y="349519"/>
                  </a:lnTo>
                  <a:lnTo>
                    <a:pt x="288414" y="340236"/>
                  </a:lnTo>
                  <a:lnTo>
                    <a:pt x="288414" y="314407"/>
                  </a:lnTo>
                  <a:cubicBezTo>
                    <a:pt x="288548" y="306557"/>
                    <a:pt x="282763" y="299864"/>
                    <a:pt x="274961" y="298902"/>
                  </a:cubicBezTo>
                  <a:cubicBezTo>
                    <a:pt x="266754" y="298105"/>
                    <a:pt x="259490" y="304095"/>
                    <a:pt x="258683" y="312284"/>
                  </a:cubicBezTo>
                  <a:cubicBezTo>
                    <a:pt x="258649" y="312779"/>
                    <a:pt x="258615" y="313273"/>
                    <a:pt x="258615" y="313768"/>
                  </a:cubicBezTo>
                  <a:lnTo>
                    <a:pt x="258615" y="339698"/>
                  </a:lnTo>
                  <a:lnTo>
                    <a:pt x="258246" y="367344"/>
                  </a:lnTo>
                  <a:cubicBezTo>
                    <a:pt x="258514" y="374672"/>
                    <a:pt x="253201" y="381012"/>
                    <a:pt x="245936" y="382041"/>
                  </a:cubicBezTo>
                  <a:cubicBezTo>
                    <a:pt x="238234" y="382455"/>
                    <a:pt x="231642" y="376532"/>
                    <a:pt x="231205" y="368817"/>
                  </a:cubicBezTo>
                  <a:cubicBezTo>
                    <a:pt x="231205" y="368417"/>
                    <a:pt x="231205" y="368013"/>
                    <a:pt x="231205" y="367613"/>
                  </a:cubicBezTo>
                  <a:lnTo>
                    <a:pt x="231575" y="334788"/>
                  </a:lnTo>
                  <a:cubicBezTo>
                    <a:pt x="231709" y="326938"/>
                    <a:pt x="225925" y="320245"/>
                    <a:pt x="218122" y="319283"/>
                  </a:cubicBezTo>
                  <a:cubicBezTo>
                    <a:pt x="209916" y="318486"/>
                    <a:pt x="202651" y="324476"/>
                    <a:pt x="201844" y="332666"/>
                  </a:cubicBezTo>
                  <a:cubicBezTo>
                    <a:pt x="201810" y="333160"/>
                    <a:pt x="201777" y="333654"/>
                    <a:pt x="201777" y="334149"/>
                  </a:cubicBezTo>
                  <a:cubicBezTo>
                    <a:pt x="201777" y="387658"/>
                    <a:pt x="199489" y="441773"/>
                    <a:pt x="194444" y="495147"/>
                  </a:cubicBezTo>
                  <a:cubicBezTo>
                    <a:pt x="194007" y="502355"/>
                    <a:pt x="188189" y="508066"/>
                    <a:pt x="180991" y="508365"/>
                  </a:cubicBezTo>
                  <a:cubicBezTo>
                    <a:pt x="173357" y="508193"/>
                    <a:pt x="167303" y="501864"/>
                    <a:pt x="167472" y="494233"/>
                  </a:cubicBezTo>
                  <a:cubicBezTo>
                    <a:pt x="167505" y="493920"/>
                    <a:pt x="167505" y="493607"/>
                    <a:pt x="167538" y="493298"/>
                  </a:cubicBezTo>
                  <a:cubicBezTo>
                    <a:pt x="171541" y="453544"/>
                    <a:pt x="173357" y="413589"/>
                    <a:pt x="174265" y="373667"/>
                  </a:cubicBezTo>
                  <a:cubicBezTo>
                    <a:pt x="174568" y="365787"/>
                    <a:pt x="168850" y="358959"/>
                    <a:pt x="161048" y="357860"/>
                  </a:cubicBezTo>
                  <a:cubicBezTo>
                    <a:pt x="152875" y="356948"/>
                    <a:pt x="145543" y="362824"/>
                    <a:pt x="144635" y="370983"/>
                  </a:cubicBezTo>
                  <a:cubicBezTo>
                    <a:pt x="144568" y="371461"/>
                    <a:pt x="144534" y="371942"/>
                    <a:pt x="144534" y="372423"/>
                  </a:cubicBezTo>
                  <a:cubicBezTo>
                    <a:pt x="143525" y="414463"/>
                    <a:pt x="141171" y="456504"/>
                    <a:pt x="137101" y="498342"/>
                  </a:cubicBezTo>
                  <a:cubicBezTo>
                    <a:pt x="133032" y="540181"/>
                    <a:pt x="127012" y="581852"/>
                    <a:pt x="119814" y="623253"/>
                  </a:cubicBezTo>
                  <a:cubicBezTo>
                    <a:pt x="118334" y="630572"/>
                    <a:pt x="111204" y="635307"/>
                    <a:pt x="103906" y="633831"/>
                  </a:cubicBezTo>
                  <a:cubicBezTo>
                    <a:pt x="96574" y="632354"/>
                    <a:pt x="91832" y="625224"/>
                    <a:pt x="93312" y="617906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8" name="Rectangle 25">
            <a:extLst>
              <a:ext uri="{FF2B5EF4-FFF2-40B4-BE49-F238E27FC236}">
                <a16:creationId xmlns:a16="http://schemas.microsoft.com/office/drawing/2014/main" id="{92FF330F-DA94-4BD0-B6FF-5A9B37407F5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95976" y="936433"/>
            <a:ext cx="3315761" cy="26881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6" name="Text Placeholder 4">
            <a:extLst>
              <a:ext uri="{FF2B5EF4-FFF2-40B4-BE49-F238E27FC236}">
                <a16:creationId xmlns:a16="http://schemas.microsoft.com/office/drawing/2014/main" id="{157154D4-5E50-4962-820B-464300B9EF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6661" y="513087"/>
            <a:ext cx="7416607" cy="5875942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79440064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9_Title and Content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88497" y="0"/>
            <a:ext cx="4903503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9A3B8EB5-0B9C-41D1-8394-79999F444241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B1593ACC-19D8-4077-BA12-6BCF256C1F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6F662A34-1F8B-4454-B1A5-23C8B15C6D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0" name="Rectangle 10">
              <a:extLst>
                <a:ext uri="{FF2B5EF4-FFF2-40B4-BE49-F238E27FC236}">
                  <a16:creationId xmlns:a16="http://schemas.microsoft.com/office/drawing/2014/main" id="{AE9E099C-839E-48B3-820F-2A28F7F1D9C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56092466-76BA-46C8-9F42-903B262B4C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2" name="Rectangle 12">
              <a:extLst>
                <a:ext uri="{FF2B5EF4-FFF2-40B4-BE49-F238E27FC236}">
                  <a16:creationId xmlns:a16="http://schemas.microsoft.com/office/drawing/2014/main" id="{CE8F34D8-93EE-4E47-9A80-DF0DB9BC8CB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" name="Rectangle 13">
              <a:extLst>
                <a:ext uri="{FF2B5EF4-FFF2-40B4-BE49-F238E27FC236}">
                  <a16:creationId xmlns:a16="http://schemas.microsoft.com/office/drawing/2014/main" id="{1847F37E-512E-458C-A94F-92F8782ABB1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" name="Rectangle 14">
              <a:extLst>
                <a:ext uri="{FF2B5EF4-FFF2-40B4-BE49-F238E27FC236}">
                  <a16:creationId xmlns:a16="http://schemas.microsoft.com/office/drawing/2014/main" id="{1B4A229A-CD34-43CE-BB76-911304D064D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55C6BEC-417D-4C85-B8CC-FFCB25F765B0}"/>
              </a:ext>
            </a:extLst>
          </p:cNvPr>
          <p:cNvCxnSpPr>
            <a:cxnSpLocks/>
          </p:cNvCxnSpPr>
          <p:nvPr/>
        </p:nvCxnSpPr>
        <p:spPr>
          <a:xfrm flipH="1">
            <a:off x="80953" y="0"/>
            <a:ext cx="41080" cy="6858000"/>
          </a:xfrm>
          <a:prstGeom prst="line">
            <a:avLst/>
          </a:prstGeom>
          <a:ln w="269875">
            <a:solidFill>
              <a:schemeClr val="accent4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6" name="Rectangle 25">
            <a:extLst>
              <a:ext uri="{FF2B5EF4-FFF2-40B4-BE49-F238E27FC236}">
                <a16:creationId xmlns:a16="http://schemas.microsoft.com/office/drawing/2014/main" id="{402FFC99-8508-4BB0-AC21-75C1134EB8F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08983" y="469680"/>
            <a:ext cx="6725368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AD63983-DACC-45FF-9232-6261939FFE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2259" y="1168193"/>
            <a:ext cx="6736737" cy="5220127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49150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2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508982" y="469680"/>
            <a:ext cx="7429363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CF3F124-1521-4022-A52C-C462F6CC4BB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73813" y="0"/>
            <a:ext cx="4118187" cy="6817122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8DD50AF-A448-47B7-80B7-C65848457E4F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1FE93C4D-7B33-48A4-962E-DD2E16A1B5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F42EF55E-F766-41B8-A9ED-CA8EDB297C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" name="Rectangle 10">
              <a:extLst>
                <a:ext uri="{FF2B5EF4-FFF2-40B4-BE49-F238E27FC236}">
                  <a16:creationId xmlns:a16="http://schemas.microsoft.com/office/drawing/2014/main" id="{D82E8D3E-A573-4739-AD8C-67A65182825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283BABD3-BBDD-42C6-BB47-C3404DD417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1" name="Rectangle 12">
              <a:extLst>
                <a:ext uri="{FF2B5EF4-FFF2-40B4-BE49-F238E27FC236}">
                  <a16:creationId xmlns:a16="http://schemas.microsoft.com/office/drawing/2014/main" id="{FEE3817E-CC21-49FC-B17E-607F9147128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2" name="Rectangle 13">
              <a:extLst>
                <a:ext uri="{FF2B5EF4-FFF2-40B4-BE49-F238E27FC236}">
                  <a16:creationId xmlns:a16="http://schemas.microsoft.com/office/drawing/2014/main" id="{96E53900-625A-4EA6-8FE0-E3AEDB0247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" name="Rectangle 14">
              <a:extLst>
                <a:ext uri="{FF2B5EF4-FFF2-40B4-BE49-F238E27FC236}">
                  <a16:creationId xmlns:a16="http://schemas.microsoft.com/office/drawing/2014/main" id="{0248215C-9D4B-4D66-96AE-6A47CC9ED75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FA9874-E868-440E-AA3E-A7A83DA7EB3F}"/>
              </a:ext>
            </a:extLst>
          </p:cNvPr>
          <p:cNvCxnSpPr>
            <a:cxnSpLocks/>
          </p:cNvCxnSpPr>
          <p:nvPr/>
        </p:nvCxnSpPr>
        <p:spPr>
          <a:xfrm flipH="1">
            <a:off x="80953" y="0"/>
            <a:ext cx="41080" cy="6858000"/>
          </a:xfrm>
          <a:prstGeom prst="line">
            <a:avLst/>
          </a:prstGeom>
          <a:ln w="269875">
            <a:solidFill>
              <a:schemeClr val="accent4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36EBA617-714A-4E94-B3F8-573367ABA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2259" y="1168193"/>
            <a:ext cx="7452957" cy="5220127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68634326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3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1426347"/>
            <a:ext cx="12192000" cy="4005306"/>
          </a:xfrm>
          <a:prstGeom prst="rect">
            <a:avLst/>
          </a:prstGeom>
          <a:gradFill flip="none" rotWithShape="1">
            <a:gsLst>
              <a:gs pos="100000">
                <a:schemeClr val="tx1"/>
              </a:gs>
              <a:gs pos="3000">
                <a:schemeClr val="tx1"/>
              </a:gs>
            </a:gsLst>
            <a:lin ang="9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>
              <a:solidFill>
                <a:schemeClr val="bg1"/>
              </a:solidFill>
            </a:endParaRPr>
          </a:p>
        </p:txBody>
      </p:sp>
      <p:sp>
        <p:nvSpPr>
          <p:cNvPr id="34" name="Freeform: Shape 201">
            <a:extLst>
              <a:ext uri="{FF2B5EF4-FFF2-40B4-BE49-F238E27FC236}">
                <a16:creationId xmlns:a16="http://schemas.microsoft.com/office/drawing/2014/main" id="{68EE6D10-B140-4410-95BB-33C54AAD0B1B}"/>
              </a:ext>
            </a:extLst>
          </p:cNvPr>
          <p:cNvSpPr/>
          <p:nvPr/>
        </p:nvSpPr>
        <p:spPr>
          <a:xfrm>
            <a:off x="7947885" y="1039006"/>
            <a:ext cx="969842" cy="969842"/>
          </a:xfrm>
          <a:custGeom>
            <a:avLst/>
            <a:gdLst>
              <a:gd name="connsiteX0" fmla="*/ 0 w 839784"/>
              <a:gd name="connsiteY0" fmla="*/ 0 h 839784"/>
              <a:gd name="connsiteX1" fmla="*/ 839785 w 839784"/>
              <a:gd name="connsiteY1" fmla="*/ 0 h 839784"/>
              <a:gd name="connsiteX2" fmla="*/ 839785 w 839784"/>
              <a:gd name="connsiteY2" fmla="*/ 839785 h 839784"/>
              <a:gd name="connsiteX3" fmla="*/ 0 w 839784"/>
              <a:gd name="connsiteY3" fmla="*/ 839785 h 8397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9784" h="839784">
                <a:moveTo>
                  <a:pt x="0" y="0"/>
                </a:moveTo>
                <a:lnTo>
                  <a:pt x="839785" y="0"/>
                </a:lnTo>
                <a:lnTo>
                  <a:pt x="839785" y="839785"/>
                </a:lnTo>
                <a:lnTo>
                  <a:pt x="0" y="839785"/>
                </a:lnTo>
                <a:close/>
              </a:path>
            </a:pathLst>
          </a:custGeom>
          <a:solidFill>
            <a:schemeClr val="accent2"/>
          </a:solidFill>
          <a:ln w="6663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36" name="Freeform: Shape 200">
            <a:extLst>
              <a:ext uri="{FF2B5EF4-FFF2-40B4-BE49-F238E27FC236}">
                <a16:creationId xmlns:a16="http://schemas.microsoft.com/office/drawing/2014/main" id="{CD3B6B17-183F-4E52-9BC7-8019E01FE310}"/>
              </a:ext>
            </a:extLst>
          </p:cNvPr>
          <p:cNvSpPr/>
          <p:nvPr/>
        </p:nvSpPr>
        <p:spPr>
          <a:xfrm>
            <a:off x="6180610" y="1039006"/>
            <a:ext cx="969842" cy="969842"/>
          </a:xfrm>
          <a:custGeom>
            <a:avLst/>
            <a:gdLst>
              <a:gd name="connsiteX0" fmla="*/ 0 w 839784"/>
              <a:gd name="connsiteY0" fmla="*/ 0 h 839784"/>
              <a:gd name="connsiteX1" fmla="*/ 839785 w 839784"/>
              <a:gd name="connsiteY1" fmla="*/ 0 h 839784"/>
              <a:gd name="connsiteX2" fmla="*/ 839785 w 839784"/>
              <a:gd name="connsiteY2" fmla="*/ 839785 h 839784"/>
              <a:gd name="connsiteX3" fmla="*/ 0 w 839784"/>
              <a:gd name="connsiteY3" fmla="*/ 839785 h 8397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9784" h="839784">
                <a:moveTo>
                  <a:pt x="0" y="0"/>
                </a:moveTo>
                <a:lnTo>
                  <a:pt x="839785" y="0"/>
                </a:lnTo>
                <a:lnTo>
                  <a:pt x="839785" y="839785"/>
                </a:lnTo>
                <a:lnTo>
                  <a:pt x="0" y="839785"/>
                </a:lnTo>
                <a:close/>
              </a:path>
            </a:pathLst>
          </a:custGeom>
          <a:solidFill>
            <a:schemeClr val="accent2"/>
          </a:solidFill>
          <a:ln w="6663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33" name="Title 9">
            <a:extLst>
              <a:ext uri="{FF2B5EF4-FFF2-40B4-BE49-F238E27FC236}">
                <a16:creationId xmlns:a16="http://schemas.microsoft.com/office/drawing/2014/main" id="{9C3655E5-5E9C-4129-97FB-9CC2638DD3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7637" y="1818283"/>
            <a:ext cx="3890385" cy="2797521"/>
          </a:xfrm>
        </p:spPr>
        <p:txBody>
          <a:bodyPr/>
          <a:lstStyle>
            <a:lvl1pPr>
              <a:defRPr lang="aa-ET" sz="40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lvl="0" indent="0" algn="l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</a:pPr>
            <a:r>
              <a:rPr lang="en-US"/>
              <a:t>Click to edit Master title style</a:t>
            </a:r>
            <a:endParaRPr lang="aa-ET"/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DCC77790-6C21-489F-A57A-A17068741B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29723" y="1322"/>
            <a:ext cx="3239156" cy="6855356"/>
          </a:xfrm>
          <a:prstGeom prst="rect">
            <a:avLst/>
          </a:prstGeom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AA41A605-67D3-4B9A-B6C7-2887B5BEDE5E}"/>
              </a:ext>
            </a:extLst>
          </p:cNvPr>
          <p:cNvGrpSpPr/>
          <p:nvPr/>
        </p:nvGrpSpPr>
        <p:grpSpPr>
          <a:xfrm>
            <a:off x="5831043" y="1109095"/>
            <a:ext cx="5185825" cy="4539785"/>
            <a:chOff x="6599047" y="1827192"/>
            <a:chExt cx="4490395" cy="3930990"/>
          </a:xfrm>
          <a:gradFill>
            <a:gsLst>
              <a:gs pos="100000">
                <a:schemeClr val="accent1"/>
              </a:gs>
              <a:gs pos="2000">
                <a:schemeClr val="accent2"/>
              </a:gs>
            </a:gsLst>
            <a:lin ang="8100000" scaled="1"/>
          </a:gradFill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1A54EADA-BFDE-4791-AF76-0904126C30B9}"/>
                </a:ext>
              </a:extLst>
            </p:cNvPr>
            <p:cNvGrpSpPr/>
            <p:nvPr userDrawn="1"/>
          </p:nvGrpSpPr>
          <p:grpSpPr>
            <a:xfrm>
              <a:off x="6758990" y="1827192"/>
              <a:ext cx="4330452" cy="3930990"/>
              <a:chOff x="6758990" y="1827192"/>
              <a:chExt cx="4330452" cy="3930990"/>
            </a:xfrm>
            <a:grpFill/>
          </p:grpSpPr>
          <p:sp>
            <p:nvSpPr>
              <p:cNvPr id="43" name="Freeform: Shape 3">
                <a:extLst>
                  <a:ext uri="{FF2B5EF4-FFF2-40B4-BE49-F238E27FC236}">
                    <a16:creationId xmlns:a16="http://schemas.microsoft.com/office/drawing/2014/main" id="{280988F5-3C24-4FA0-8BB9-624DB5211819}"/>
                  </a:ext>
                </a:extLst>
              </p:cNvPr>
              <p:cNvSpPr/>
              <p:nvPr/>
            </p:nvSpPr>
            <p:spPr>
              <a:xfrm>
                <a:off x="6956884" y="5000988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4" name="Freeform: Shape 6">
                <a:extLst>
                  <a:ext uri="{FF2B5EF4-FFF2-40B4-BE49-F238E27FC236}">
                    <a16:creationId xmlns:a16="http://schemas.microsoft.com/office/drawing/2014/main" id="{0742A604-BB1B-4643-AA3D-CDF999A130D7}"/>
                  </a:ext>
                </a:extLst>
              </p:cNvPr>
              <p:cNvSpPr/>
              <p:nvPr/>
            </p:nvSpPr>
            <p:spPr>
              <a:xfrm>
                <a:off x="6906743" y="5120366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5" name="Freeform: Shape 7">
                <a:extLst>
                  <a:ext uri="{FF2B5EF4-FFF2-40B4-BE49-F238E27FC236}">
                    <a16:creationId xmlns:a16="http://schemas.microsoft.com/office/drawing/2014/main" id="{0E3096F9-C009-4D28-B5BC-D64E56CC8C2E}"/>
                  </a:ext>
                </a:extLst>
              </p:cNvPr>
              <p:cNvSpPr/>
              <p:nvPr/>
            </p:nvSpPr>
            <p:spPr>
              <a:xfrm>
                <a:off x="6858271" y="5233000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6" name="Freeform: Shape 8">
                <a:extLst>
                  <a:ext uri="{FF2B5EF4-FFF2-40B4-BE49-F238E27FC236}">
                    <a16:creationId xmlns:a16="http://schemas.microsoft.com/office/drawing/2014/main" id="{462E0B77-7D9D-40EA-959C-6C7508F79320}"/>
                  </a:ext>
                </a:extLst>
              </p:cNvPr>
              <p:cNvSpPr/>
              <p:nvPr/>
            </p:nvSpPr>
            <p:spPr>
              <a:xfrm>
                <a:off x="6806327" y="5356985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7" name="Freeform: Shape 10">
                <a:extLst>
                  <a:ext uri="{FF2B5EF4-FFF2-40B4-BE49-F238E27FC236}">
                    <a16:creationId xmlns:a16="http://schemas.microsoft.com/office/drawing/2014/main" id="{0702C632-6197-49FE-BF38-84660CAE2E61}"/>
                  </a:ext>
                </a:extLst>
              </p:cNvPr>
              <p:cNvSpPr/>
              <p:nvPr/>
            </p:nvSpPr>
            <p:spPr>
              <a:xfrm>
                <a:off x="6758990" y="5482772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8" name="Freeform: Shape 11">
                <a:extLst>
                  <a:ext uri="{FF2B5EF4-FFF2-40B4-BE49-F238E27FC236}">
                    <a16:creationId xmlns:a16="http://schemas.microsoft.com/office/drawing/2014/main" id="{9DF437A7-BCD3-4035-BF4F-FE5DC3B04A34}"/>
                  </a:ext>
                </a:extLst>
              </p:cNvPr>
              <p:cNvSpPr/>
              <p:nvPr/>
            </p:nvSpPr>
            <p:spPr>
              <a:xfrm>
                <a:off x="7105706" y="5050528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9" name="Freeform: Shape 12">
                <a:extLst>
                  <a:ext uri="{FF2B5EF4-FFF2-40B4-BE49-F238E27FC236}">
                    <a16:creationId xmlns:a16="http://schemas.microsoft.com/office/drawing/2014/main" id="{A323A5E5-1FF5-4C8E-B04C-84A7E5889D61}"/>
                  </a:ext>
                </a:extLst>
              </p:cNvPr>
              <p:cNvSpPr/>
              <p:nvPr/>
            </p:nvSpPr>
            <p:spPr>
              <a:xfrm>
                <a:off x="7064044" y="5173512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4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4"/>
                      <a:pt x="39592" y="79184"/>
                    </a:cubicBezTo>
                    <a:cubicBezTo>
                      <a:pt x="17726" y="79184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0" name="Freeform: Shape 13">
                <a:extLst>
                  <a:ext uri="{FF2B5EF4-FFF2-40B4-BE49-F238E27FC236}">
                    <a16:creationId xmlns:a16="http://schemas.microsoft.com/office/drawing/2014/main" id="{D5E64EDD-0526-4E5B-8CBA-0BE62BD15AC5}"/>
                  </a:ext>
                </a:extLst>
              </p:cNvPr>
              <p:cNvSpPr/>
              <p:nvPr/>
            </p:nvSpPr>
            <p:spPr>
              <a:xfrm>
                <a:off x="7023450" y="5289418"/>
                <a:ext cx="79184" cy="79184"/>
              </a:xfrm>
              <a:custGeom>
                <a:avLst/>
                <a:gdLst>
                  <a:gd name="connsiteX0" fmla="*/ 79185 w 79184"/>
                  <a:gd name="connsiteY0" fmla="*/ 39593 h 79184"/>
                  <a:gd name="connsiteX1" fmla="*/ 39592 w 79184"/>
                  <a:gd name="connsiteY1" fmla="*/ 79185 h 79184"/>
                  <a:gd name="connsiteX2" fmla="*/ 0 w 79184"/>
                  <a:gd name="connsiteY2" fmla="*/ 39593 h 79184"/>
                  <a:gd name="connsiteX3" fmla="*/ 39592 w 79184"/>
                  <a:gd name="connsiteY3" fmla="*/ 0 h 79184"/>
                  <a:gd name="connsiteX4" fmla="*/ 79185 w 79184"/>
                  <a:gd name="connsiteY4" fmla="*/ 39593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3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3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1" name="Freeform: Shape 14">
                <a:extLst>
                  <a:ext uri="{FF2B5EF4-FFF2-40B4-BE49-F238E27FC236}">
                    <a16:creationId xmlns:a16="http://schemas.microsoft.com/office/drawing/2014/main" id="{92946865-67A8-41C2-AAB0-CF18F6FBA7D8}"/>
                  </a:ext>
                </a:extLst>
              </p:cNvPr>
              <p:cNvSpPr/>
              <p:nvPr/>
            </p:nvSpPr>
            <p:spPr>
              <a:xfrm>
                <a:off x="6980319" y="5416540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2" name="Freeform: Shape 15">
                <a:extLst>
                  <a:ext uri="{FF2B5EF4-FFF2-40B4-BE49-F238E27FC236}">
                    <a16:creationId xmlns:a16="http://schemas.microsoft.com/office/drawing/2014/main" id="{B4BEFEA7-1026-4893-B6FC-7276C5E58B85}"/>
                  </a:ext>
                </a:extLst>
              </p:cNvPr>
              <p:cNvSpPr/>
              <p:nvPr/>
            </p:nvSpPr>
            <p:spPr>
              <a:xfrm>
                <a:off x="6941595" y="5545399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3" name="Freeform: Shape 16">
                <a:extLst>
                  <a:ext uri="{FF2B5EF4-FFF2-40B4-BE49-F238E27FC236}">
                    <a16:creationId xmlns:a16="http://schemas.microsoft.com/office/drawing/2014/main" id="{8AF9515A-1F39-4315-B8F8-05BAEB037CCB}"/>
                  </a:ext>
                </a:extLst>
              </p:cNvPr>
              <p:cNvSpPr/>
              <p:nvPr/>
            </p:nvSpPr>
            <p:spPr>
              <a:xfrm>
                <a:off x="7259268" y="5090388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4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4"/>
                      <a:pt x="39592" y="79184"/>
                    </a:cubicBezTo>
                    <a:cubicBezTo>
                      <a:pt x="17726" y="79184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4" name="Freeform: Shape 18">
                <a:extLst>
                  <a:ext uri="{FF2B5EF4-FFF2-40B4-BE49-F238E27FC236}">
                    <a16:creationId xmlns:a16="http://schemas.microsoft.com/office/drawing/2014/main" id="{6D422664-D0CC-4102-84BD-05A6CC9816C3}"/>
                  </a:ext>
                </a:extLst>
              </p:cNvPr>
              <p:cNvSpPr/>
              <p:nvPr/>
            </p:nvSpPr>
            <p:spPr>
              <a:xfrm>
                <a:off x="7226019" y="5216242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5" name="Freeform: Shape 19">
                <a:extLst>
                  <a:ext uri="{FF2B5EF4-FFF2-40B4-BE49-F238E27FC236}">
                    <a16:creationId xmlns:a16="http://schemas.microsoft.com/office/drawing/2014/main" id="{A4DF6422-C771-403C-BA40-FB5F1ECE59E3}"/>
                  </a:ext>
                </a:extLst>
              </p:cNvPr>
              <p:cNvSpPr/>
              <p:nvPr/>
            </p:nvSpPr>
            <p:spPr>
              <a:xfrm>
                <a:off x="7193170" y="5334819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6" name="Freeform: Shape 20">
                <a:extLst>
                  <a:ext uri="{FF2B5EF4-FFF2-40B4-BE49-F238E27FC236}">
                    <a16:creationId xmlns:a16="http://schemas.microsoft.com/office/drawing/2014/main" id="{0E1E6C41-56B6-4BDF-A16C-EA2B614ED9C7}"/>
                  </a:ext>
                </a:extLst>
              </p:cNvPr>
              <p:cNvSpPr/>
              <p:nvPr/>
            </p:nvSpPr>
            <p:spPr>
              <a:xfrm>
                <a:off x="7158785" y="5464345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4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4"/>
                      <a:pt x="39592" y="79184"/>
                    </a:cubicBezTo>
                    <a:cubicBezTo>
                      <a:pt x="17726" y="79184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7" name="Freeform: Shape 21">
                <a:extLst>
                  <a:ext uri="{FF2B5EF4-FFF2-40B4-BE49-F238E27FC236}">
                    <a16:creationId xmlns:a16="http://schemas.microsoft.com/office/drawing/2014/main" id="{0C631BF0-0715-4019-9EBC-75649145BE3E}"/>
                  </a:ext>
                </a:extLst>
              </p:cNvPr>
              <p:cNvSpPr/>
              <p:nvPr/>
            </p:nvSpPr>
            <p:spPr>
              <a:xfrm>
                <a:off x="7128473" y="5595674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8" name="Freeform: Shape 22">
                <a:extLst>
                  <a:ext uri="{FF2B5EF4-FFF2-40B4-BE49-F238E27FC236}">
                    <a16:creationId xmlns:a16="http://schemas.microsoft.com/office/drawing/2014/main" id="{0B1C5BCD-D1BB-4BB2-915E-456A6056F137}"/>
                  </a:ext>
                </a:extLst>
              </p:cNvPr>
              <p:cNvSpPr/>
              <p:nvPr/>
            </p:nvSpPr>
            <p:spPr>
              <a:xfrm>
                <a:off x="7417370" y="5120700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9" name="Freeform: Shape 23">
                <a:extLst>
                  <a:ext uri="{FF2B5EF4-FFF2-40B4-BE49-F238E27FC236}">
                    <a16:creationId xmlns:a16="http://schemas.microsoft.com/office/drawing/2014/main" id="{D1BB66FE-A393-479C-81A3-DD8CA1648CF3}"/>
                  </a:ext>
                </a:extLst>
              </p:cNvPr>
              <p:cNvSpPr/>
              <p:nvPr/>
            </p:nvSpPr>
            <p:spPr>
              <a:xfrm>
                <a:off x="7392333" y="5248824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0" name="Freeform: Shape 24">
                <a:extLst>
                  <a:ext uri="{FF2B5EF4-FFF2-40B4-BE49-F238E27FC236}">
                    <a16:creationId xmlns:a16="http://schemas.microsoft.com/office/drawing/2014/main" id="{073C3CED-F213-476D-97E3-D512E6C84442}"/>
                  </a:ext>
                </a:extLst>
              </p:cNvPr>
              <p:cNvSpPr/>
              <p:nvPr/>
            </p:nvSpPr>
            <p:spPr>
              <a:xfrm>
                <a:off x="7367162" y="5369470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1" name="Freeform: Shape 25">
                <a:extLst>
                  <a:ext uri="{FF2B5EF4-FFF2-40B4-BE49-F238E27FC236}">
                    <a16:creationId xmlns:a16="http://schemas.microsoft.com/office/drawing/2014/main" id="{3289F69A-A5A0-4853-8F79-2A11251DE848}"/>
                  </a:ext>
                </a:extLst>
              </p:cNvPr>
              <p:cNvSpPr/>
              <p:nvPr/>
            </p:nvSpPr>
            <p:spPr>
              <a:xfrm>
                <a:off x="7341190" y="5500733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2" name="Freeform: Shape 26">
                <a:extLst>
                  <a:ext uri="{FF2B5EF4-FFF2-40B4-BE49-F238E27FC236}">
                    <a16:creationId xmlns:a16="http://schemas.microsoft.com/office/drawing/2014/main" id="{A51A476C-41D8-41C6-9DEE-B301FF3D55C3}"/>
                  </a:ext>
                </a:extLst>
              </p:cNvPr>
              <p:cNvSpPr/>
              <p:nvPr/>
            </p:nvSpPr>
            <p:spPr>
              <a:xfrm>
                <a:off x="7319024" y="5633797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3" name="Freeform: Shape 32">
                <a:extLst>
                  <a:ext uri="{FF2B5EF4-FFF2-40B4-BE49-F238E27FC236}">
                    <a16:creationId xmlns:a16="http://schemas.microsoft.com/office/drawing/2014/main" id="{04260FFC-ED11-4C6C-B855-CB152E98EA1A}"/>
                  </a:ext>
                </a:extLst>
              </p:cNvPr>
              <p:cNvSpPr/>
              <p:nvPr/>
            </p:nvSpPr>
            <p:spPr>
              <a:xfrm>
                <a:off x="7579612" y="5141531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4" name="Freeform: Shape 34">
                <a:extLst>
                  <a:ext uri="{FF2B5EF4-FFF2-40B4-BE49-F238E27FC236}">
                    <a16:creationId xmlns:a16="http://schemas.microsoft.com/office/drawing/2014/main" id="{889A37F9-5217-4B60-A3BD-904F9B6B3B72}"/>
                  </a:ext>
                </a:extLst>
              </p:cNvPr>
              <p:cNvSpPr/>
              <p:nvPr/>
            </p:nvSpPr>
            <p:spPr>
              <a:xfrm>
                <a:off x="7562587" y="5271324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5" name="Freeform: Shape 35">
                <a:extLst>
                  <a:ext uri="{FF2B5EF4-FFF2-40B4-BE49-F238E27FC236}">
                    <a16:creationId xmlns:a16="http://schemas.microsoft.com/office/drawing/2014/main" id="{2AD73226-E5FC-4222-8DF4-FD6596EFB7FC}"/>
                  </a:ext>
                </a:extLst>
              </p:cNvPr>
              <p:cNvSpPr/>
              <p:nvPr/>
            </p:nvSpPr>
            <p:spPr>
              <a:xfrm>
                <a:off x="7544894" y="5393439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6" name="Freeform: Shape 36">
                <a:extLst>
                  <a:ext uri="{FF2B5EF4-FFF2-40B4-BE49-F238E27FC236}">
                    <a16:creationId xmlns:a16="http://schemas.microsoft.com/office/drawing/2014/main" id="{BE60DE10-4E50-45DA-8F27-704B6B68D949}"/>
                  </a:ext>
                </a:extLst>
              </p:cNvPr>
              <p:cNvSpPr/>
              <p:nvPr/>
            </p:nvSpPr>
            <p:spPr>
              <a:xfrm>
                <a:off x="7527067" y="5525837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7" name="Freeform: Shape 39">
                <a:extLst>
                  <a:ext uri="{FF2B5EF4-FFF2-40B4-BE49-F238E27FC236}">
                    <a16:creationId xmlns:a16="http://schemas.microsoft.com/office/drawing/2014/main" id="{0CAE77AF-B3F4-4473-B652-F7DB09AEF1C9}"/>
                  </a:ext>
                </a:extLst>
              </p:cNvPr>
              <p:cNvSpPr/>
              <p:nvPr/>
            </p:nvSpPr>
            <p:spPr>
              <a:xfrm>
                <a:off x="7512913" y="5660237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8" name="Freeform: Shape 40">
                <a:extLst>
                  <a:ext uri="{FF2B5EF4-FFF2-40B4-BE49-F238E27FC236}">
                    <a16:creationId xmlns:a16="http://schemas.microsoft.com/office/drawing/2014/main" id="{1E1E5E18-E198-4663-944F-BED71DCFB8C9}"/>
                  </a:ext>
                </a:extLst>
              </p:cNvPr>
              <p:cNvSpPr/>
              <p:nvPr/>
            </p:nvSpPr>
            <p:spPr>
              <a:xfrm>
                <a:off x="7745793" y="5152948"/>
                <a:ext cx="79184" cy="79184"/>
              </a:xfrm>
              <a:custGeom>
                <a:avLst/>
                <a:gdLst>
                  <a:gd name="connsiteX0" fmla="*/ 79185 w 79184"/>
                  <a:gd name="connsiteY0" fmla="*/ 39593 h 79184"/>
                  <a:gd name="connsiteX1" fmla="*/ 39592 w 79184"/>
                  <a:gd name="connsiteY1" fmla="*/ 79185 h 79184"/>
                  <a:gd name="connsiteX2" fmla="*/ 0 w 79184"/>
                  <a:gd name="connsiteY2" fmla="*/ 39593 h 79184"/>
                  <a:gd name="connsiteX3" fmla="*/ 39592 w 79184"/>
                  <a:gd name="connsiteY3" fmla="*/ 0 h 79184"/>
                  <a:gd name="connsiteX4" fmla="*/ 79185 w 79184"/>
                  <a:gd name="connsiteY4" fmla="*/ 39593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3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3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9" name="Freeform: Shape 41">
                <a:extLst>
                  <a:ext uri="{FF2B5EF4-FFF2-40B4-BE49-F238E27FC236}">
                    <a16:creationId xmlns:a16="http://schemas.microsoft.com/office/drawing/2014/main" id="{B14828C8-F395-4E13-8455-903AF028298B}"/>
                  </a:ext>
                </a:extLst>
              </p:cNvPr>
              <p:cNvSpPr/>
              <p:nvPr/>
            </p:nvSpPr>
            <p:spPr>
              <a:xfrm>
                <a:off x="7736513" y="5283876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0" name="Freeform: Shape 42">
                <a:extLst>
                  <a:ext uri="{FF2B5EF4-FFF2-40B4-BE49-F238E27FC236}">
                    <a16:creationId xmlns:a16="http://schemas.microsoft.com/office/drawing/2014/main" id="{82985E8A-B411-4A67-8E04-27F54EA81851}"/>
                  </a:ext>
                </a:extLst>
              </p:cNvPr>
              <p:cNvSpPr/>
              <p:nvPr/>
            </p:nvSpPr>
            <p:spPr>
              <a:xfrm>
                <a:off x="7725964" y="5406993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1" name="Freeform: Shape 43">
                <a:extLst>
                  <a:ext uri="{FF2B5EF4-FFF2-40B4-BE49-F238E27FC236}">
                    <a16:creationId xmlns:a16="http://schemas.microsoft.com/office/drawing/2014/main" id="{C1718CD8-8456-472E-92E2-E887C69A0A22}"/>
                  </a:ext>
                </a:extLst>
              </p:cNvPr>
              <p:cNvSpPr/>
              <p:nvPr/>
            </p:nvSpPr>
            <p:spPr>
              <a:xfrm>
                <a:off x="7715949" y="5540058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2" name="Freeform: Shape 44">
                <a:extLst>
                  <a:ext uri="{FF2B5EF4-FFF2-40B4-BE49-F238E27FC236}">
                    <a16:creationId xmlns:a16="http://schemas.microsoft.com/office/drawing/2014/main" id="{5B629385-7068-4B88-92C6-8D4E2CCA6AB1}"/>
                  </a:ext>
                </a:extLst>
              </p:cNvPr>
              <p:cNvSpPr/>
              <p:nvPr/>
            </p:nvSpPr>
            <p:spPr>
              <a:xfrm>
                <a:off x="7709406" y="5675192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3" name="Freeform: Shape 45">
                <a:extLst>
                  <a:ext uri="{FF2B5EF4-FFF2-40B4-BE49-F238E27FC236}">
                    <a16:creationId xmlns:a16="http://schemas.microsoft.com/office/drawing/2014/main" id="{57F51C06-79DB-4955-9F39-0E093BA3995B}"/>
                  </a:ext>
                </a:extLst>
              </p:cNvPr>
              <p:cNvSpPr/>
              <p:nvPr/>
            </p:nvSpPr>
            <p:spPr>
              <a:xfrm>
                <a:off x="7915980" y="5154951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4" name="Freeform: Shape 46">
                <a:extLst>
                  <a:ext uri="{FF2B5EF4-FFF2-40B4-BE49-F238E27FC236}">
                    <a16:creationId xmlns:a16="http://schemas.microsoft.com/office/drawing/2014/main" id="{93954ABB-8CD1-4E93-84C2-8B08C685981A}"/>
                  </a:ext>
                </a:extLst>
              </p:cNvPr>
              <p:cNvSpPr/>
              <p:nvPr/>
            </p:nvSpPr>
            <p:spPr>
              <a:xfrm>
                <a:off x="7914444" y="5286547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4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4"/>
                      <a:pt x="39592" y="79184"/>
                    </a:cubicBezTo>
                    <a:cubicBezTo>
                      <a:pt x="17726" y="79184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5" name="Freeform: Shape 47">
                <a:extLst>
                  <a:ext uri="{FF2B5EF4-FFF2-40B4-BE49-F238E27FC236}">
                    <a16:creationId xmlns:a16="http://schemas.microsoft.com/office/drawing/2014/main" id="{C329AEE6-936F-491F-A0DD-69EF8DF9756F}"/>
                  </a:ext>
                </a:extLst>
              </p:cNvPr>
              <p:cNvSpPr/>
              <p:nvPr/>
            </p:nvSpPr>
            <p:spPr>
              <a:xfrm>
                <a:off x="7911106" y="5410331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6" name="Freeform: Shape 48">
                <a:extLst>
                  <a:ext uri="{FF2B5EF4-FFF2-40B4-BE49-F238E27FC236}">
                    <a16:creationId xmlns:a16="http://schemas.microsoft.com/office/drawing/2014/main" id="{5B31F78A-28AD-47B5-B826-5C48EA103006}"/>
                  </a:ext>
                </a:extLst>
              </p:cNvPr>
              <p:cNvSpPr/>
              <p:nvPr/>
            </p:nvSpPr>
            <p:spPr>
              <a:xfrm>
                <a:off x="7908836" y="5543530"/>
                <a:ext cx="79184" cy="79184"/>
              </a:xfrm>
              <a:custGeom>
                <a:avLst/>
                <a:gdLst>
                  <a:gd name="connsiteX0" fmla="*/ 79185 w 79184"/>
                  <a:gd name="connsiteY0" fmla="*/ 39593 h 79184"/>
                  <a:gd name="connsiteX1" fmla="*/ 39592 w 79184"/>
                  <a:gd name="connsiteY1" fmla="*/ 79185 h 79184"/>
                  <a:gd name="connsiteX2" fmla="*/ 0 w 79184"/>
                  <a:gd name="connsiteY2" fmla="*/ 39593 h 79184"/>
                  <a:gd name="connsiteX3" fmla="*/ 39592 w 79184"/>
                  <a:gd name="connsiteY3" fmla="*/ 0 h 79184"/>
                  <a:gd name="connsiteX4" fmla="*/ 79185 w 79184"/>
                  <a:gd name="connsiteY4" fmla="*/ 39593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3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3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7" name="Freeform: Shape 49">
                <a:extLst>
                  <a:ext uri="{FF2B5EF4-FFF2-40B4-BE49-F238E27FC236}">
                    <a16:creationId xmlns:a16="http://schemas.microsoft.com/office/drawing/2014/main" id="{A8C92F24-BF72-410D-AED5-2802E68991E1}"/>
                  </a:ext>
                </a:extLst>
              </p:cNvPr>
              <p:cNvSpPr/>
              <p:nvPr/>
            </p:nvSpPr>
            <p:spPr>
              <a:xfrm>
                <a:off x="7909904" y="5678998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8" name="Freeform: Shape 50">
                <a:extLst>
                  <a:ext uri="{FF2B5EF4-FFF2-40B4-BE49-F238E27FC236}">
                    <a16:creationId xmlns:a16="http://schemas.microsoft.com/office/drawing/2014/main" id="{DF561C6E-584E-4686-A062-FBD3F70FA26D}"/>
                  </a:ext>
                </a:extLst>
              </p:cNvPr>
              <p:cNvSpPr/>
              <p:nvPr/>
            </p:nvSpPr>
            <p:spPr>
              <a:xfrm>
                <a:off x="8084698" y="5146605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9" name="Freeform: Shape 51">
                <a:extLst>
                  <a:ext uri="{FF2B5EF4-FFF2-40B4-BE49-F238E27FC236}">
                    <a16:creationId xmlns:a16="http://schemas.microsoft.com/office/drawing/2014/main" id="{26D661F3-DC29-469A-8A65-8402BDE31C1F}"/>
                  </a:ext>
                </a:extLst>
              </p:cNvPr>
              <p:cNvSpPr/>
              <p:nvPr/>
            </p:nvSpPr>
            <p:spPr>
              <a:xfrm>
                <a:off x="8091909" y="5278334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0" name="Freeform: Shape 52">
                <a:extLst>
                  <a:ext uri="{FF2B5EF4-FFF2-40B4-BE49-F238E27FC236}">
                    <a16:creationId xmlns:a16="http://schemas.microsoft.com/office/drawing/2014/main" id="{3DE27E50-0582-4940-A67A-234BABCFD0C0}"/>
                  </a:ext>
                </a:extLst>
              </p:cNvPr>
              <p:cNvSpPr/>
              <p:nvPr/>
            </p:nvSpPr>
            <p:spPr>
              <a:xfrm>
                <a:off x="8096583" y="5402252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1" name="Freeform: Shape 53">
                <a:extLst>
                  <a:ext uri="{FF2B5EF4-FFF2-40B4-BE49-F238E27FC236}">
                    <a16:creationId xmlns:a16="http://schemas.microsoft.com/office/drawing/2014/main" id="{B5B09A63-4771-4A0B-BE31-877510267B16}"/>
                  </a:ext>
                </a:extLst>
              </p:cNvPr>
              <p:cNvSpPr/>
              <p:nvPr/>
            </p:nvSpPr>
            <p:spPr>
              <a:xfrm>
                <a:off x="8102992" y="5535117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2" name="Freeform: Shape 54">
                <a:extLst>
                  <a:ext uri="{FF2B5EF4-FFF2-40B4-BE49-F238E27FC236}">
                    <a16:creationId xmlns:a16="http://schemas.microsoft.com/office/drawing/2014/main" id="{741E5475-E065-4991-BA42-FA6395A777EB}"/>
                  </a:ext>
                </a:extLst>
              </p:cNvPr>
              <p:cNvSpPr/>
              <p:nvPr/>
            </p:nvSpPr>
            <p:spPr>
              <a:xfrm>
                <a:off x="8112540" y="5670452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4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4"/>
                      <a:pt x="39592" y="79184"/>
                    </a:cubicBezTo>
                    <a:cubicBezTo>
                      <a:pt x="17726" y="79184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3" name="Freeform: Shape 55">
                <a:extLst>
                  <a:ext uri="{FF2B5EF4-FFF2-40B4-BE49-F238E27FC236}">
                    <a16:creationId xmlns:a16="http://schemas.microsoft.com/office/drawing/2014/main" id="{CE6BF16B-3788-43C7-8572-327027BC3E27}"/>
                  </a:ext>
                </a:extLst>
              </p:cNvPr>
              <p:cNvSpPr/>
              <p:nvPr/>
            </p:nvSpPr>
            <p:spPr>
              <a:xfrm>
                <a:off x="8250812" y="5127710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4" name="Freeform: Shape 56">
                <a:extLst>
                  <a:ext uri="{FF2B5EF4-FFF2-40B4-BE49-F238E27FC236}">
                    <a16:creationId xmlns:a16="http://schemas.microsoft.com/office/drawing/2014/main" id="{A014044E-22FF-4A77-9160-F057EDAED6C7}"/>
                  </a:ext>
                </a:extLst>
              </p:cNvPr>
              <p:cNvSpPr/>
              <p:nvPr/>
            </p:nvSpPr>
            <p:spPr>
              <a:xfrm>
                <a:off x="8266636" y="5259039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4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4"/>
                      <a:pt x="39592" y="79184"/>
                    </a:cubicBezTo>
                    <a:cubicBezTo>
                      <a:pt x="17726" y="79184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5" name="Freeform: Shape 57">
                <a:extLst>
                  <a:ext uri="{FF2B5EF4-FFF2-40B4-BE49-F238E27FC236}">
                    <a16:creationId xmlns:a16="http://schemas.microsoft.com/office/drawing/2014/main" id="{EE65216F-914F-4D3D-9BB6-A09885CB90FE}"/>
                  </a:ext>
                </a:extLst>
              </p:cNvPr>
              <p:cNvSpPr/>
              <p:nvPr/>
            </p:nvSpPr>
            <p:spPr>
              <a:xfrm>
                <a:off x="8279321" y="5382623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6" name="Freeform: Shape 58">
                <a:extLst>
                  <a:ext uri="{FF2B5EF4-FFF2-40B4-BE49-F238E27FC236}">
                    <a16:creationId xmlns:a16="http://schemas.microsoft.com/office/drawing/2014/main" id="{E0B7F031-24BB-45F6-A69B-422914DB6BC2}"/>
                  </a:ext>
                </a:extLst>
              </p:cNvPr>
              <p:cNvSpPr/>
              <p:nvPr/>
            </p:nvSpPr>
            <p:spPr>
              <a:xfrm>
                <a:off x="8294277" y="5514553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7" name="Freeform: Shape 59">
                <a:extLst>
                  <a:ext uri="{FF2B5EF4-FFF2-40B4-BE49-F238E27FC236}">
                    <a16:creationId xmlns:a16="http://schemas.microsoft.com/office/drawing/2014/main" id="{8DF78CD8-F401-4937-87D7-3F78AB65151B}"/>
                  </a:ext>
                </a:extLst>
              </p:cNvPr>
              <p:cNvSpPr/>
              <p:nvPr/>
            </p:nvSpPr>
            <p:spPr>
              <a:xfrm>
                <a:off x="8312371" y="5649220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4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4"/>
                      <a:pt x="39592" y="79184"/>
                    </a:cubicBezTo>
                    <a:cubicBezTo>
                      <a:pt x="17726" y="79184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8" name="Freeform: Shape 60">
                <a:extLst>
                  <a:ext uri="{FF2B5EF4-FFF2-40B4-BE49-F238E27FC236}">
                    <a16:creationId xmlns:a16="http://schemas.microsoft.com/office/drawing/2014/main" id="{D934494B-AF51-4C02-8985-B206D5454436}"/>
                  </a:ext>
                </a:extLst>
              </p:cNvPr>
              <p:cNvSpPr/>
              <p:nvPr/>
            </p:nvSpPr>
            <p:spPr>
              <a:xfrm>
                <a:off x="8413254" y="5098533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9" name="Freeform: Shape 61">
                <a:extLst>
                  <a:ext uri="{FF2B5EF4-FFF2-40B4-BE49-F238E27FC236}">
                    <a16:creationId xmlns:a16="http://schemas.microsoft.com/office/drawing/2014/main" id="{62680505-7194-465A-87A3-F344A5AF9C8E}"/>
                  </a:ext>
                </a:extLst>
              </p:cNvPr>
              <p:cNvSpPr/>
              <p:nvPr/>
            </p:nvSpPr>
            <p:spPr>
              <a:xfrm>
                <a:off x="8437758" y="5228861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0" name="Freeform: Shape 62">
                <a:extLst>
                  <a:ext uri="{FF2B5EF4-FFF2-40B4-BE49-F238E27FC236}">
                    <a16:creationId xmlns:a16="http://schemas.microsoft.com/office/drawing/2014/main" id="{D0A173DE-63E2-43CF-94C1-6F465B481543}"/>
                  </a:ext>
                </a:extLst>
              </p:cNvPr>
              <p:cNvSpPr/>
              <p:nvPr/>
            </p:nvSpPr>
            <p:spPr>
              <a:xfrm>
                <a:off x="8458455" y="5351577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1" name="Freeform: Shape 63">
                <a:extLst>
                  <a:ext uri="{FF2B5EF4-FFF2-40B4-BE49-F238E27FC236}">
                    <a16:creationId xmlns:a16="http://schemas.microsoft.com/office/drawing/2014/main" id="{646F3A09-A0FC-45AF-B9FA-CCB4BE235F6E}"/>
                  </a:ext>
                </a:extLst>
              </p:cNvPr>
              <p:cNvSpPr/>
              <p:nvPr/>
            </p:nvSpPr>
            <p:spPr>
              <a:xfrm>
                <a:off x="8481823" y="5482105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2" name="Freeform: Shape 64">
                <a:extLst>
                  <a:ext uri="{FF2B5EF4-FFF2-40B4-BE49-F238E27FC236}">
                    <a16:creationId xmlns:a16="http://schemas.microsoft.com/office/drawing/2014/main" id="{9F8CF078-0E5F-42DA-B500-1D9D227F629D}"/>
                  </a:ext>
                </a:extLst>
              </p:cNvPr>
              <p:cNvSpPr/>
              <p:nvPr/>
            </p:nvSpPr>
            <p:spPr>
              <a:xfrm>
                <a:off x="8508329" y="5615504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3" name="Freeform: Shape 65">
                <a:extLst>
                  <a:ext uri="{FF2B5EF4-FFF2-40B4-BE49-F238E27FC236}">
                    <a16:creationId xmlns:a16="http://schemas.microsoft.com/office/drawing/2014/main" id="{5F5F42E3-5008-42CB-9EDD-2FE05B1B3853}"/>
                  </a:ext>
                </a:extLst>
              </p:cNvPr>
              <p:cNvSpPr/>
              <p:nvPr/>
            </p:nvSpPr>
            <p:spPr>
              <a:xfrm>
                <a:off x="8572091" y="5059609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4" name="Freeform: Shape 66">
                <a:extLst>
                  <a:ext uri="{FF2B5EF4-FFF2-40B4-BE49-F238E27FC236}">
                    <a16:creationId xmlns:a16="http://schemas.microsoft.com/office/drawing/2014/main" id="{344D1426-BA23-439F-817B-E17110C695EF}"/>
                  </a:ext>
                </a:extLst>
              </p:cNvPr>
              <p:cNvSpPr/>
              <p:nvPr/>
            </p:nvSpPr>
            <p:spPr>
              <a:xfrm>
                <a:off x="8605073" y="5188400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5" name="Freeform: Shape 67">
                <a:extLst>
                  <a:ext uri="{FF2B5EF4-FFF2-40B4-BE49-F238E27FC236}">
                    <a16:creationId xmlns:a16="http://schemas.microsoft.com/office/drawing/2014/main" id="{96F188F7-55BE-470B-95AE-2ADC3C945EA3}"/>
                  </a:ext>
                </a:extLst>
              </p:cNvPr>
              <p:cNvSpPr/>
              <p:nvPr/>
            </p:nvSpPr>
            <p:spPr>
              <a:xfrm>
                <a:off x="8633583" y="5309715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6" name="Freeform: Shape 68">
                <a:extLst>
                  <a:ext uri="{FF2B5EF4-FFF2-40B4-BE49-F238E27FC236}">
                    <a16:creationId xmlns:a16="http://schemas.microsoft.com/office/drawing/2014/main" id="{F84F09D8-055C-4539-910F-9371C5E45EBD}"/>
                  </a:ext>
                </a:extLst>
              </p:cNvPr>
              <p:cNvSpPr/>
              <p:nvPr/>
            </p:nvSpPr>
            <p:spPr>
              <a:xfrm>
                <a:off x="8665297" y="5438306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7" name="Freeform: Shape 69">
                <a:extLst>
                  <a:ext uri="{FF2B5EF4-FFF2-40B4-BE49-F238E27FC236}">
                    <a16:creationId xmlns:a16="http://schemas.microsoft.com/office/drawing/2014/main" id="{76EDA677-371A-4DD7-BBC4-ABD5A8258106}"/>
                  </a:ext>
                </a:extLst>
              </p:cNvPr>
              <p:cNvSpPr/>
              <p:nvPr/>
            </p:nvSpPr>
            <p:spPr>
              <a:xfrm>
                <a:off x="8700082" y="5569969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8" name="Freeform: Shape 70">
                <a:extLst>
                  <a:ext uri="{FF2B5EF4-FFF2-40B4-BE49-F238E27FC236}">
                    <a16:creationId xmlns:a16="http://schemas.microsoft.com/office/drawing/2014/main" id="{2689D187-0145-40A3-B57B-1FA030ECBF3E}"/>
                  </a:ext>
                </a:extLst>
              </p:cNvPr>
              <p:cNvSpPr/>
              <p:nvPr/>
            </p:nvSpPr>
            <p:spPr>
              <a:xfrm>
                <a:off x="8726855" y="5011136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9" name="Freeform: Shape 71">
                <a:extLst>
                  <a:ext uri="{FF2B5EF4-FFF2-40B4-BE49-F238E27FC236}">
                    <a16:creationId xmlns:a16="http://schemas.microsoft.com/office/drawing/2014/main" id="{52AFE561-3E49-46D6-B27E-70F559D85825}"/>
                  </a:ext>
                </a:extLst>
              </p:cNvPr>
              <p:cNvSpPr/>
              <p:nvPr/>
            </p:nvSpPr>
            <p:spPr>
              <a:xfrm>
                <a:off x="8768183" y="5137858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0" name="Freeform: Shape 72">
                <a:extLst>
                  <a:ext uri="{FF2B5EF4-FFF2-40B4-BE49-F238E27FC236}">
                    <a16:creationId xmlns:a16="http://schemas.microsoft.com/office/drawing/2014/main" id="{043086F6-683F-4E91-B0BB-D09979AC78C8}"/>
                  </a:ext>
                </a:extLst>
              </p:cNvPr>
              <p:cNvSpPr/>
              <p:nvPr/>
            </p:nvSpPr>
            <p:spPr>
              <a:xfrm>
                <a:off x="8804437" y="5257303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1" name="Freeform: Shape 73">
                <a:extLst>
                  <a:ext uri="{FF2B5EF4-FFF2-40B4-BE49-F238E27FC236}">
                    <a16:creationId xmlns:a16="http://schemas.microsoft.com/office/drawing/2014/main" id="{CAD2D24A-A3D6-4121-8395-07A4EA42DAEF}"/>
                  </a:ext>
                </a:extLst>
              </p:cNvPr>
              <p:cNvSpPr/>
              <p:nvPr/>
            </p:nvSpPr>
            <p:spPr>
              <a:xfrm>
                <a:off x="8844163" y="5383424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2" name="Freeform: Shape 74">
                <a:extLst>
                  <a:ext uri="{FF2B5EF4-FFF2-40B4-BE49-F238E27FC236}">
                    <a16:creationId xmlns:a16="http://schemas.microsoft.com/office/drawing/2014/main" id="{BC899AC0-B6F5-4A96-B97A-D6E0DC99A702}"/>
                  </a:ext>
                </a:extLst>
              </p:cNvPr>
              <p:cNvSpPr/>
              <p:nvPr/>
            </p:nvSpPr>
            <p:spPr>
              <a:xfrm>
                <a:off x="8887094" y="5512884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3" name="Freeform: Shape 75">
                <a:extLst>
                  <a:ext uri="{FF2B5EF4-FFF2-40B4-BE49-F238E27FC236}">
                    <a16:creationId xmlns:a16="http://schemas.microsoft.com/office/drawing/2014/main" id="{5C9C2732-FE7B-42CC-85B4-E381B9439A6F}"/>
                  </a:ext>
                </a:extLst>
              </p:cNvPr>
              <p:cNvSpPr/>
              <p:nvPr/>
            </p:nvSpPr>
            <p:spPr>
              <a:xfrm>
                <a:off x="8877212" y="4953450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4" name="Freeform: Shape 76">
                <a:extLst>
                  <a:ext uri="{FF2B5EF4-FFF2-40B4-BE49-F238E27FC236}">
                    <a16:creationId xmlns:a16="http://schemas.microsoft.com/office/drawing/2014/main" id="{BA127E4C-61A2-4B10-896F-51F1E784D96C}"/>
                  </a:ext>
                </a:extLst>
              </p:cNvPr>
              <p:cNvSpPr/>
              <p:nvPr/>
            </p:nvSpPr>
            <p:spPr>
              <a:xfrm>
                <a:off x="8926753" y="5077635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5" name="Freeform: Shape 77">
                <a:extLst>
                  <a:ext uri="{FF2B5EF4-FFF2-40B4-BE49-F238E27FC236}">
                    <a16:creationId xmlns:a16="http://schemas.microsoft.com/office/drawing/2014/main" id="{80916F8D-06A1-4CD4-8926-14B0B87DF3F6}"/>
                  </a:ext>
                </a:extLst>
              </p:cNvPr>
              <p:cNvSpPr/>
              <p:nvPr/>
            </p:nvSpPr>
            <p:spPr>
              <a:xfrm>
                <a:off x="8970551" y="5194743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6" name="Freeform: Shape 78">
                <a:extLst>
                  <a:ext uri="{FF2B5EF4-FFF2-40B4-BE49-F238E27FC236}">
                    <a16:creationId xmlns:a16="http://schemas.microsoft.com/office/drawing/2014/main" id="{35315889-B130-4EF3-9013-63470BA77001}"/>
                  </a:ext>
                </a:extLst>
              </p:cNvPr>
              <p:cNvSpPr/>
              <p:nvPr/>
            </p:nvSpPr>
            <p:spPr>
              <a:xfrm>
                <a:off x="9018156" y="5317860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7" name="Freeform: Shape 79">
                <a:extLst>
                  <a:ext uri="{FF2B5EF4-FFF2-40B4-BE49-F238E27FC236}">
                    <a16:creationId xmlns:a16="http://schemas.microsoft.com/office/drawing/2014/main" id="{68BCFAFA-2CB0-4DAF-A911-4B242805D157}"/>
                  </a:ext>
                </a:extLst>
              </p:cNvPr>
              <p:cNvSpPr/>
              <p:nvPr/>
            </p:nvSpPr>
            <p:spPr>
              <a:xfrm>
                <a:off x="9068965" y="5444582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8" name="Freeform: Shape 80">
                <a:extLst>
                  <a:ext uri="{FF2B5EF4-FFF2-40B4-BE49-F238E27FC236}">
                    <a16:creationId xmlns:a16="http://schemas.microsoft.com/office/drawing/2014/main" id="{02E32190-1CEB-4801-A5A9-3CD8975F3B80}"/>
                  </a:ext>
                </a:extLst>
              </p:cNvPr>
              <p:cNvSpPr/>
              <p:nvPr/>
            </p:nvSpPr>
            <p:spPr>
              <a:xfrm>
                <a:off x="9022963" y="4886884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9" name="Freeform: Shape 81">
                <a:extLst>
                  <a:ext uri="{FF2B5EF4-FFF2-40B4-BE49-F238E27FC236}">
                    <a16:creationId xmlns:a16="http://schemas.microsoft.com/office/drawing/2014/main" id="{400412DB-A8BF-4E68-B207-265352501BB2}"/>
                  </a:ext>
                </a:extLst>
              </p:cNvPr>
              <p:cNvSpPr/>
              <p:nvPr/>
            </p:nvSpPr>
            <p:spPr>
              <a:xfrm>
                <a:off x="9080448" y="5007998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0" name="Freeform: Shape 82">
                <a:extLst>
                  <a:ext uri="{FF2B5EF4-FFF2-40B4-BE49-F238E27FC236}">
                    <a16:creationId xmlns:a16="http://schemas.microsoft.com/office/drawing/2014/main" id="{0BDF2B9A-6584-43A7-AC9F-01F83EDC6CFF}"/>
                  </a:ext>
                </a:extLst>
              </p:cNvPr>
              <p:cNvSpPr/>
              <p:nvPr/>
            </p:nvSpPr>
            <p:spPr>
              <a:xfrm>
                <a:off x="9131591" y="5122302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1" name="Freeform: Shape 83">
                <a:extLst>
                  <a:ext uri="{FF2B5EF4-FFF2-40B4-BE49-F238E27FC236}">
                    <a16:creationId xmlns:a16="http://schemas.microsoft.com/office/drawing/2014/main" id="{F0E30A03-0718-4CE1-8AEF-6C3A55E04467}"/>
                  </a:ext>
                </a:extLst>
              </p:cNvPr>
              <p:cNvSpPr/>
              <p:nvPr/>
            </p:nvSpPr>
            <p:spPr>
              <a:xfrm>
                <a:off x="9186740" y="5242014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2" name="Freeform: Shape 84">
                <a:extLst>
                  <a:ext uri="{FF2B5EF4-FFF2-40B4-BE49-F238E27FC236}">
                    <a16:creationId xmlns:a16="http://schemas.microsoft.com/office/drawing/2014/main" id="{7EBBCAE6-5348-4EF1-A305-F6731AB44495}"/>
                  </a:ext>
                </a:extLst>
              </p:cNvPr>
              <p:cNvSpPr/>
              <p:nvPr/>
            </p:nvSpPr>
            <p:spPr>
              <a:xfrm>
                <a:off x="9245227" y="5365598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3" name="Freeform: Shape 85">
                <a:extLst>
                  <a:ext uri="{FF2B5EF4-FFF2-40B4-BE49-F238E27FC236}">
                    <a16:creationId xmlns:a16="http://schemas.microsoft.com/office/drawing/2014/main" id="{E27AD259-AA46-4A37-966C-F0F15D9E0D3E}"/>
                  </a:ext>
                </a:extLst>
              </p:cNvPr>
              <p:cNvSpPr/>
              <p:nvPr/>
            </p:nvSpPr>
            <p:spPr>
              <a:xfrm>
                <a:off x="9163706" y="4811839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4" name="Freeform: Shape 86">
                <a:extLst>
                  <a:ext uri="{FF2B5EF4-FFF2-40B4-BE49-F238E27FC236}">
                    <a16:creationId xmlns:a16="http://schemas.microsoft.com/office/drawing/2014/main" id="{FAA2AAEF-262B-4BD9-8B0B-BEFB40B4A41C}"/>
                  </a:ext>
                </a:extLst>
              </p:cNvPr>
              <p:cNvSpPr/>
              <p:nvPr/>
            </p:nvSpPr>
            <p:spPr>
              <a:xfrm>
                <a:off x="9228936" y="4929281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5" name="Freeform: Shape 87">
                <a:extLst>
                  <a:ext uri="{FF2B5EF4-FFF2-40B4-BE49-F238E27FC236}">
                    <a16:creationId xmlns:a16="http://schemas.microsoft.com/office/drawing/2014/main" id="{9FCDBD0A-4613-48BC-ADF9-45D3ABF77E9D}"/>
                  </a:ext>
                </a:extLst>
              </p:cNvPr>
              <p:cNvSpPr/>
              <p:nvPr/>
            </p:nvSpPr>
            <p:spPr>
              <a:xfrm>
                <a:off x="9287223" y="5040380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6" name="Freeform: Shape 88">
                <a:extLst>
                  <a:ext uri="{FF2B5EF4-FFF2-40B4-BE49-F238E27FC236}">
                    <a16:creationId xmlns:a16="http://schemas.microsoft.com/office/drawing/2014/main" id="{34F64E52-1B86-4DCD-BC08-12F5742548DC}"/>
                  </a:ext>
                </a:extLst>
              </p:cNvPr>
              <p:cNvSpPr/>
              <p:nvPr/>
            </p:nvSpPr>
            <p:spPr>
              <a:xfrm>
                <a:off x="9349583" y="5156286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7" name="Freeform: Shape 89">
                <a:extLst>
                  <a:ext uri="{FF2B5EF4-FFF2-40B4-BE49-F238E27FC236}">
                    <a16:creationId xmlns:a16="http://schemas.microsoft.com/office/drawing/2014/main" id="{24013725-ECAC-4C42-A7EC-ABE5EBAD59A3}"/>
                  </a:ext>
                </a:extLst>
              </p:cNvPr>
              <p:cNvSpPr/>
              <p:nvPr/>
            </p:nvSpPr>
            <p:spPr>
              <a:xfrm>
                <a:off x="9415548" y="5276265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8" name="Freeform: Shape 90">
                <a:extLst>
                  <a:ext uri="{FF2B5EF4-FFF2-40B4-BE49-F238E27FC236}">
                    <a16:creationId xmlns:a16="http://schemas.microsoft.com/office/drawing/2014/main" id="{AC7C8315-54DF-4DD1-9C58-850463FCCC52}"/>
                  </a:ext>
                </a:extLst>
              </p:cNvPr>
              <p:cNvSpPr/>
              <p:nvPr/>
            </p:nvSpPr>
            <p:spPr>
              <a:xfrm>
                <a:off x="9299108" y="4728515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9" name="Freeform: Shape 91">
                <a:extLst>
                  <a:ext uri="{FF2B5EF4-FFF2-40B4-BE49-F238E27FC236}">
                    <a16:creationId xmlns:a16="http://schemas.microsoft.com/office/drawing/2014/main" id="{171D07ED-4B8D-4E6E-A34D-BD192C68D5B5}"/>
                  </a:ext>
                </a:extLst>
              </p:cNvPr>
              <p:cNvSpPr/>
              <p:nvPr/>
            </p:nvSpPr>
            <p:spPr>
              <a:xfrm>
                <a:off x="9371816" y="4841951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0" name="Freeform: Shape 92">
                <a:extLst>
                  <a:ext uri="{FF2B5EF4-FFF2-40B4-BE49-F238E27FC236}">
                    <a16:creationId xmlns:a16="http://schemas.microsoft.com/office/drawing/2014/main" id="{A69FFBAB-92D5-4BF3-ACFF-7845C34F1E93}"/>
                  </a:ext>
                </a:extLst>
              </p:cNvPr>
              <p:cNvSpPr/>
              <p:nvPr/>
            </p:nvSpPr>
            <p:spPr>
              <a:xfrm>
                <a:off x="9436980" y="4949444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1" name="Freeform: Shape 93">
                <a:extLst>
                  <a:ext uri="{FF2B5EF4-FFF2-40B4-BE49-F238E27FC236}">
                    <a16:creationId xmlns:a16="http://schemas.microsoft.com/office/drawing/2014/main" id="{2E14BAA7-8F9D-4FD3-A374-8F9940B6D575}"/>
                  </a:ext>
                </a:extLst>
              </p:cNvPr>
              <p:cNvSpPr/>
              <p:nvPr/>
            </p:nvSpPr>
            <p:spPr>
              <a:xfrm>
                <a:off x="9506350" y="5061011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2" name="Freeform: Shape 94">
                <a:extLst>
                  <a:ext uri="{FF2B5EF4-FFF2-40B4-BE49-F238E27FC236}">
                    <a16:creationId xmlns:a16="http://schemas.microsoft.com/office/drawing/2014/main" id="{86775B14-2677-48AD-8570-8DBD507195EE}"/>
                  </a:ext>
                </a:extLst>
              </p:cNvPr>
              <p:cNvSpPr/>
              <p:nvPr/>
            </p:nvSpPr>
            <p:spPr>
              <a:xfrm>
                <a:off x="9579525" y="5176983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3" name="Freeform: Shape 95">
                <a:extLst>
                  <a:ext uri="{FF2B5EF4-FFF2-40B4-BE49-F238E27FC236}">
                    <a16:creationId xmlns:a16="http://schemas.microsoft.com/office/drawing/2014/main" id="{55A9D207-1762-402D-A943-E25A08A0D92B}"/>
                  </a:ext>
                </a:extLst>
              </p:cNvPr>
              <p:cNvSpPr/>
              <p:nvPr/>
            </p:nvSpPr>
            <p:spPr>
              <a:xfrm>
                <a:off x="9428834" y="4637313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4" name="Freeform: Shape 96">
                <a:extLst>
                  <a:ext uri="{FF2B5EF4-FFF2-40B4-BE49-F238E27FC236}">
                    <a16:creationId xmlns:a16="http://schemas.microsoft.com/office/drawing/2014/main" id="{E7910EBB-1615-40BF-B3B8-760C71B267F8}"/>
                  </a:ext>
                </a:extLst>
              </p:cNvPr>
              <p:cNvSpPr/>
              <p:nvPr/>
            </p:nvSpPr>
            <p:spPr>
              <a:xfrm>
                <a:off x="9508687" y="4746208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5" name="Freeform: Shape 97">
                <a:extLst>
                  <a:ext uri="{FF2B5EF4-FFF2-40B4-BE49-F238E27FC236}">
                    <a16:creationId xmlns:a16="http://schemas.microsoft.com/office/drawing/2014/main" id="{ADBA246F-BAC9-4CED-8482-1A0FC4FB2458}"/>
                  </a:ext>
                </a:extLst>
              </p:cNvPr>
              <p:cNvSpPr/>
              <p:nvPr/>
            </p:nvSpPr>
            <p:spPr>
              <a:xfrm>
                <a:off x="9580460" y="4849629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6" name="Freeform: Shape 98">
                <a:extLst>
                  <a:ext uri="{FF2B5EF4-FFF2-40B4-BE49-F238E27FC236}">
                    <a16:creationId xmlns:a16="http://schemas.microsoft.com/office/drawing/2014/main" id="{1041F5D3-4206-4CED-8743-8B8777220C87}"/>
                  </a:ext>
                </a:extLst>
              </p:cNvPr>
              <p:cNvSpPr/>
              <p:nvPr/>
            </p:nvSpPr>
            <p:spPr>
              <a:xfrm>
                <a:off x="9656507" y="4956588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7" name="Freeform: Shape 99">
                <a:extLst>
                  <a:ext uri="{FF2B5EF4-FFF2-40B4-BE49-F238E27FC236}">
                    <a16:creationId xmlns:a16="http://schemas.microsoft.com/office/drawing/2014/main" id="{93E1F1D7-F5DA-4ADC-A094-BECA90CE6CC8}"/>
                  </a:ext>
                </a:extLst>
              </p:cNvPr>
              <p:cNvSpPr/>
              <p:nvPr/>
            </p:nvSpPr>
            <p:spPr>
              <a:xfrm>
                <a:off x="9736559" y="5068088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8" name="Freeform: Shape 100">
                <a:extLst>
                  <a:ext uri="{FF2B5EF4-FFF2-40B4-BE49-F238E27FC236}">
                    <a16:creationId xmlns:a16="http://schemas.microsoft.com/office/drawing/2014/main" id="{DF42E79B-800F-4D6E-A2DF-1BA4A15CFADB}"/>
                  </a:ext>
                </a:extLst>
              </p:cNvPr>
              <p:cNvSpPr/>
              <p:nvPr/>
            </p:nvSpPr>
            <p:spPr>
              <a:xfrm>
                <a:off x="9552619" y="4538565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9" name="Freeform: Shape 101">
                <a:extLst>
                  <a:ext uri="{FF2B5EF4-FFF2-40B4-BE49-F238E27FC236}">
                    <a16:creationId xmlns:a16="http://schemas.microsoft.com/office/drawing/2014/main" id="{099EAC11-A32C-4624-A1C9-8B48E98BC631}"/>
                  </a:ext>
                </a:extLst>
              </p:cNvPr>
              <p:cNvSpPr/>
              <p:nvPr/>
            </p:nvSpPr>
            <p:spPr>
              <a:xfrm>
                <a:off x="9639415" y="4642587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0" name="Freeform: Shape 102">
                <a:extLst>
                  <a:ext uri="{FF2B5EF4-FFF2-40B4-BE49-F238E27FC236}">
                    <a16:creationId xmlns:a16="http://schemas.microsoft.com/office/drawing/2014/main" id="{DC1F877E-B03A-429F-8B60-1E8261B2D2E3}"/>
                  </a:ext>
                </a:extLst>
              </p:cNvPr>
              <p:cNvSpPr/>
              <p:nvPr/>
            </p:nvSpPr>
            <p:spPr>
              <a:xfrm>
                <a:off x="9717531" y="4741535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1" name="Freeform: Shape 103">
                <a:extLst>
                  <a:ext uri="{FF2B5EF4-FFF2-40B4-BE49-F238E27FC236}">
                    <a16:creationId xmlns:a16="http://schemas.microsoft.com/office/drawing/2014/main" id="{DC919E93-5A10-49E1-87EC-1D99F74BCE6D}"/>
                  </a:ext>
                </a:extLst>
              </p:cNvPr>
              <p:cNvSpPr/>
              <p:nvPr/>
            </p:nvSpPr>
            <p:spPr>
              <a:xfrm>
                <a:off x="9799854" y="4843420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2" name="Freeform: Shape 104">
                <a:extLst>
                  <a:ext uri="{FF2B5EF4-FFF2-40B4-BE49-F238E27FC236}">
                    <a16:creationId xmlns:a16="http://schemas.microsoft.com/office/drawing/2014/main" id="{BA942141-E5AB-415E-AF8B-6841E3EFF83E}"/>
                  </a:ext>
                </a:extLst>
              </p:cNvPr>
              <p:cNvSpPr/>
              <p:nvPr/>
            </p:nvSpPr>
            <p:spPr>
              <a:xfrm>
                <a:off x="9886516" y="4950112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3" name="Freeform: Shape 105">
                <a:extLst>
                  <a:ext uri="{FF2B5EF4-FFF2-40B4-BE49-F238E27FC236}">
                    <a16:creationId xmlns:a16="http://schemas.microsoft.com/office/drawing/2014/main" id="{0C944BEE-178C-485D-84CC-DC4EECFB2115}"/>
                  </a:ext>
                </a:extLst>
              </p:cNvPr>
              <p:cNvSpPr/>
              <p:nvPr/>
            </p:nvSpPr>
            <p:spPr>
              <a:xfrm>
                <a:off x="9670461" y="4432341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4" name="Freeform: Shape 106">
                <a:extLst>
                  <a:ext uri="{FF2B5EF4-FFF2-40B4-BE49-F238E27FC236}">
                    <a16:creationId xmlns:a16="http://schemas.microsoft.com/office/drawing/2014/main" id="{873B76F9-CA7C-43ED-908F-83923E4E23FC}"/>
                  </a:ext>
                </a:extLst>
              </p:cNvPr>
              <p:cNvSpPr/>
              <p:nvPr/>
            </p:nvSpPr>
            <p:spPr>
              <a:xfrm>
                <a:off x="9763800" y="4530954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5" name="Freeform: Shape 107">
                <a:extLst>
                  <a:ext uri="{FF2B5EF4-FFF2-40B4-BE49-F238E27FC236}">
                    <a16:creationId xmlns:a16="http://schemas.microsoft.com/office/drawing/2014/main" id="{FD178775-30AB-41B5-8130-B9D536BEA721}"/>
                  </a:ext>
                </a:extLst>
              </p:cNvPr>
              <p:cNvSpPr/>
              <p:nvPr/>
            </p:nvSpPr>
            <p:spPr>
              <a:xfrm>
                <a:off x="9847992" y="4625094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6" name="Freeform: Shape 108">
                <a:extLst>
                  <a:ext uri="{FF2B5EF4-FFF2-40B4-BE49-F238E27FC236}">
                    <a16:creationId xmlns:a16="http://schemas.microsoft.com/office/drawing/2014/main" id="{033427AA-88DB-4143-892E-6474B5622B1B}"/>
                  </a:ext>
                </a:extLst>
              </p:cNvPr>
              <p:cNvSpPr/>
              <p:nvPr/>
            </p:nvSpPr>
            <p:spPr>
              <a:xfrm>
                <a:off x="9936324" y="4721572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7" name="Freeform: Shape 109">
                <a:extLst>
                  <a:ext uri="{FF2B5EF4-FFF2-40B4-BE49-F238E27FC236}">
                    <a16:creationId xmlns:a16="http://schemas.microsoft.com/office/drawing/2014/main" id="{68A53867-8F64-4A04-B799-726D7A913754}"/>
                  </a:ext>
                </a:extLst>
              </p:cNvPr>
              <p:cNvSpPr/>
              <p:nvPr/>
            </p:nvSpPr>
            <p:spPr>
              <a:xfrm>
                <a:off x="10029329" y="4822989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8" name="Freeform: Shape 110">
                <a:extLst>
                  <a:ext uri="{FF2B5EF4-FFF2-40B4-BE49-F238E27FC236}">
                    <a16:creationId xmlns:a16="http://schemas.microsoft.com/office/drawing/2014/main" id="{C0E41CFD-9432-4019-B8D6-7BBBA50D3A4D}"/>
                  </a:ext>
                </a:extLst>
              </p:cNvPr>
              <p:cNvSpPr/>
              <p:nvPr/>
            </p:nvSpPr>
            <p:spPr>
              <a:xfrm>
                <a:off x="9781693" y="4319038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9" name="Freeform: Shape 111">
                <a:extLst>
                  <a:ext uri="{FF2B5EF4-FFF2-40B4-BE49-F238E27FC236}">
                    <a16:creationId xmlns:a16="http://schemas.microsoft.com/office/drawing/2014/main" id="{30BBE769-C131-459A-AFB6-B7C0D9E22F0E}"/>
                  </a:ext>
                </a:extLst>
              </p:cNvPr>
              <p:cNvSpPr/>
              <p:nvPr/>
            </p:nvSpPr>
            <p:spPr>
              <a:xfrm>
                <a:off x="9881308" y="4411910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0" name="Freeform: Shape 112">
                <a:extLst>
                  <a:ext uri="{FF2B5EF4-FFF2-40B4-BE49-F238E27FC236}">
                    <a16:creationId xmlns:a16="http://schemas.microsoft.com/office/drawing/2014/main" id="{D27D49E0-2FE8-45DA-9C64-95EFE147275E}"/>
                  </a:ext>
                </a:extLst>
              </p:cNvPr>
              <p:cNvSpPr/>
              <p:nvPr/>
            </p:nvSpPr>
            <p:spPr>
              <a:xfrm>
                <a:off x="9971242" y="4500776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1" name="Freeform: Shape 113">
                <a:extLst>
                  <a:ext uri="{FF2B5EF4-FFF2-40B4-BE49-F238E27FC236}">
                    <a16:creationId xmlns:a16="http://schemas.microsoft.com/office/drawing/2014/main" id="{FBCC0132-9AE0-4137-A096-5181856E661B}"/>
                  </a:ext>
                </a:extLst>
              </p:cNvPr>
              <p:cNvSpPr/>
              <p:nvPr/>
            </p:nvSpPr>
            <p:spPr>
              <a:xfrm>
                <a:off x="10065182" y="4591511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2" name="Freeform: Shape 114">
                <a:extLst>
                  <a:ext uri="{FF2B5EF4-FFF2-40B4-BE49-F238E27FC236}">
                    <a16:creationId xmlns:a16="http://schemas.microsoft.com/office/drawing/2014/main" id="{025FAB9E-EB75-4B5F-8FAE-4C1FD2D8A637}"/>
                  </a:ext>
                </a:extLst>
              </p:cNvPr>
              <p:cNvSpPr/>
              <p:nvPr/>
            </p:nvSpPr>
            <p:spPr>
              <a:xfrm>
                <a:off x="10164263" y="4687320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5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3" name="Freeform: Shape 115">
                <a:extLst>
                  <a:ext uri="{FF2B5EF4-FFF2-40B4-BE49-F238E27FC236}">
                    <a16:creationId xmlns:a16="http://schemas.microsoft.com/office/drawing/2014/main" id="{40C6FBE3-504E-4244-885B-EAA0C632DC40}"/>
                  </a:ext>
                </a:extLst>
              </p:cNvPr>
              <p:cNvSpPr/>
              <p:nvPr/>
            </p:nvSpPr>
            <p:spPr>
              <a:xfrm>
                <a:off x="9885915" y="4199126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4" name="Freeform: Shape 116">
                <a:extLst>
                  <a:ext uri="{FF2B5EF4-FFF2-40B4-BE49-F238E27FC236}">
                    <a16:creationId xmlns:a16="http://schemas.microsoft.com/office/drawing/2014/main" id="{F9F4B551-E2E9-4152-8EEF-4C10056BD96C}"/>
                  </a:ext>
                </a:extLst>
              </p:cNvPr>
              <p:cNvSpPr/>
              <p:nvPr/>
            </p:nvSpPr>
            <p:spPr>
              <a:xfrm>
                <a:off x="9991406" y="4285856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5" name="Freeform: Shape 117">
                <a:extLst>
                  <a:ext uri="{FF2B5EF4-FFF2-40B4-BE49-F238E27FC236}">
                    <a16:creationId xmlns:a16="http://schemas.microsoft.com/office/drawing/2014/main" id="{042DE321-2F19-4B87-9E94-E9ACD3EE8A0B}"/>
                  </a:ext>
                </a:extLst>
              </p:cNvPr>
              <p:cNvSpPr/>
              <p:nvPr/>
            </p:nvSpPr>
            <p:spPr>
              <a:xfrm>
                <a:off x="10086815" y="4369180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6" name="Freeform: Shape 118">
                <a:extLst>
                  <a:ext uri="{FF2B5EF4-FFF2-40B4-BE49-F238E27FC236}">
                    <a16:creationId xmlns:a16="http://schemas.microsoft.com/office/drawing/2014/main" id="{5E4623D4-E226-430A-BD81-7565FD82CDB5}"/>
                  </a:ext>
                </a:extLst>
              </p:cNvPr>
              <p:cNvSpPr/>
              <p:nvPr/>
            </p:nvSpPr>
            <p:spPr>
              <a:xfrm>
                <a:off x="10186029" y="4453772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7" name="Freeform: Shape 119">
                <a:extLst>
                  <a:ext uri="{FF2B5EF4-FFF2-40B4-BE49-F238E27FC236}">
                    <a16:creationId xmlns:a16="http://schemas.microsoft.com/office/drawing/2014/main" id="{E0C83E20-6843-4D53-BDB8-989DC9160B34}"/>
                  </a:ext>
                </a:extLst>
              </p:cNvPr>
              <p:cNvSpPr/>
              <p:nvPr/>
            </p:nvSpPr>
            <p:spPr>
              <a:xfrm>
                <a:off x="10290718" y="4543640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8" name="Freeform: Shape 120">
                <a:extLst>
                  <a:ext uri="{FF2B5EF4-FFF2-40B4-BE49-F238E27FC236}">
                    <a16:creationId xmlns:a16="http://schemas.microsoft.com/office/drawing/2014/main" id="{C80D151C-9090-4CCD-9F73-A4245B7CA9E6}"/>
                  </a:ext>
                </a:extLst>
              </p:cNvPr>
              <p:cNvSpPr/>
              <p:nvPr/>
            </p:nvSpPr>
            <p:spPr>
              <a:xfrm>
                <a:off x="9982726" y="4073072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9" name="Freeform: Shape 121">
                <a:extLst>
                  <a:ext uri="{FF2B5EF4-FFF2-40B4-BE49-F238E27FC236}">
                    <a16:creationId xmlns:a16="http://schemas.microsoft.com/office/drawing/2014/main" id="{164960AC-8C97-4DBA-B2FE-4F75869CCC08}"/>
                  </a:ext>
                </a:extLst>
              </p:cNvPr>
              <p:cNvSpPr/>
              <p:nvPr/>
            </p:nvSpPr>
            <p:spPr>
              <a:xfrm>
                <a:off x="10093692" y="4153191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0" name="Freeform: Shape 122">
                <a:extLst>
                  <a:ext uri="{FF2B5EF4-FFF2-40B4-BE49-F238E27FC236}">
                    <a16:creationId xmlns:a16="http://schemas.microsoft.com/office/drawing/2014/main" id="{0B8908D9-3146-4CE5-BC99-C776C3C03CCA}"/>
                  </a:ext>
                </a:extLst>
              </p:cNvPr>
              <p:cNvSpPr/>
              <p:nvPr/>
            </p:nvSpPr>
            <p:spPr>
              <a:xfrm>
                <a:off x="10194241" y="4230573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5" y="0"/>
                      <a:pt x="39726" y="0"/>
                    </a:cubicBezTo>
                    <a:cubicBezTo>
                      <a:pt x="61665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1" name="Freeform: Shape 123">
                <a:extLst>
                  <a:ext uri="{FF2B5EF4-FFF2-40B4-BE49-F238E27FC236}">
                    <a16:creationId xmlns:a16="http://schemas.microsoft.com/office/drawing/2014/main" id="{7199F856-6AD8-45A3-AB7C-26733561F98F}"/>
                  </a:ext>
                </a:extLst>
              </p:cNvPr>
              <p:cNvSpPr/>
              <p:nvPr/>
            </p:nvSpPr>
            <p:spPr>
              <a:xfrm>
                <a:off x="10298330" y="4308756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2" name="Freeform: Shape 124">
                <a:extLst>
                  <a:ext uri="{FF2B5EF4-FFF2-40B4-BE49-F238E27FC236}">
                    <a16:creationId xmlns:a16="http://schemas.microsoft.com/office/drawing/2014/main" id="{E1477B60-191D-4BDD-BA8B-BD0E5988F5E2}"/>
                  </a:ext>
                </a:extLst>
              </p:cNvPr>
              <p:cNvSpPr/>
              <p:nvPr/>
            </p:nvSpPr>
            <p:spPr>
              <a:xfrm>
                <a:off x="10408360" y="4392281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5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3" name="Freeform: Shape 125">
                <a:extLst>
                  <a:ext uri="{FF2B5EF4-FFF2-40B4-BE49-F238E27FC236}">
                    <a16:creationId xmlns:a16="http://schemas.microsoft.com/office/drawing/2014/main" id="{121FCCC9-F047-45F9-A198-C5EDAB2C1433}"/>
                  </a:ext>
                </a:extLst>
              </p:cNvPr>
              <p:cNvSpPr/>
              <p:nvPr/>
            </p:nvSpPr>
            <p:spPr>
              <a:xfrm>
                <a:off x="10071725" y="3941008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70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4" name="Freeform: Shape 126">
                <a:extLst>
                  <a:ext uri="{FF2B5EF4-FFF2-40B4-BE49-F238E27FC236}">
                    <a16:creationId xmlns:a16="http://schemas.microsoft.com/office/drawing/2014/main" id="{DDE90CC5-4F24-409E-A3F7-7D10ADC6EB62}"/>
                  </a:ext>
                </a:extLst>
              </p:cNvPr>
              <p:cNvSpPr/>
              <p:nvPr/>
            </p:nvSpPr>
            <p:spPr>
              <a:xfrm>
                <a:off x="10187832" y="4014184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5" name="Freeform: Shape 127">
                <a:extLst>
                  <a:ext uri="{FF2B5EF4-FFF2-40B4-BE49-F238E27FC236}">
                    <a16:creationId xmlns:a16="http://schemas.microsoft.com/office/drawing/2014/main" id="{82BD9D14-55DC-451D-B4BA-17EC90FE0DAF}"/>
                  </a:ext>
                </a:extLst>
              </p:cNvPr>
              <p:cNvSpPr/>
              <p:nvPr/>
            </p:nvSpPr>
            <p:spPr>
              <a:xfrm>
                <a:off x="10293122" y="4085290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69"/>
                      <a:pt x="61769" y="79585"/>
                      <a:pt x="39792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6" name="Freeform: Shape 128">
                <a:extLst>
                  <a:ext uri="{FF2B5EF4-FFF2-40B4-BE49-F238E27FC236}">
                    <a16:creationId xmlns:a16="http://schemas.microsoft.com/office/drawing/2014/main" id="{92CFDF67-7F3A-4215-8F6B-810197BD2A35}"/>
                  </a:ext>
                </a:extLst>
              </p:cNvPr>
              <p:cNvSpPr/>
              <p:nvPr/>
            </p:nvSpPr>
            <p:spPr>
              <a:xfrm>
                <a:off x="10401751" y="4156797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70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70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7" name="Freeform: Shape 129">
                <a:extLst>
                  <a:ext uri="{FF2B5EF4-FFF2-40B4-BE49-F238E27FC236}">
                    <a16:creationId xmlns:a16="http://schemas.microsoft.com/office/drawing/2014/main" id="{C7C0C3EB-6062-4253-83D2-DFA7FE0EE363}"/>
                  </a:ext>
                </a:extLst>
              </p:cNvPr>
              <p:cNvSpPr/>
              <p:nvPr/>
            </p:nvSpPr>
            <p:spPr>
              <a:xfrm>
                <a:off x="10516722" y="4233644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8" name="Freeform: Shape 130">
                <a:extLst>
                  <a:ext uri="{FF2B5EF4-FFF2-40B4-BE49-F238E27FC236}">
                    <a16:creationId xmlns:a16="http://schemas.microsoft.com/office/drawing/2014/main" id="{C293D7D6-061B-4C3C-A5DC-BF8CEDEC69F4}"/>
                  </a:ext>
                </a:extLst>
              </p:cNvPr>
              <p:cNvSpPr/>
              <p:nvPr/>
            </p:nvSpPr>
            <p:spPr>
              <a:xfrm>
                <a:off x="10152713" y="3803537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9" name="Freeform: Shape 131">
                <a:extLst>
                  <a:ext uri="{FF2B5EF4-FFF2-40B4-BE49-F238E27FC236}">
                    <a16:creationId xmlns:a16="http://schemas.microsoft.com/office/drawing/2014/main" id="{DB0E68E5-4375-4390-A668-D57CEEFDB656}"/>
                  </a:ext>
                </a:extLst>
              </p:cNvPr>
              <p:cNvSpPr/>
              <p:nvPr/>
            </p:nvSpPr>
            <p:spPr>
              <a:xfrm>
                <a:off x="10273560" y="3869368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0" name="Freeform: Shape 132">
                <a:extLst>
                  <a:ext uri="{FF2B5EF4-FFF2-40B4-BE49-F238E27FC236}">
                    <a16:creationId xmlns:a16="http://schemas.microsoft.com/office/drawing/2014/main" id="{89774EC4-358F-4C30-89E3-1FDD872E4A7B}"/>
                  </a:ext>
                </a:extLst>
              </p:cNvPr>
              <p:cNvSpPr/>
              <p:nvPr/>
            </p:nvSpPr>
            <p:spPr>
              <a:xfrm>
                <a:off x="10383256" y="3933864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1" name="Freeform: Shape 133">
                <a:extLst>
                  <a:ext uri="{FF2B5EF4-FFF2-40B4-BE49-F238E27FC236}">
                    <a16:creationId xmlns:a16="http://schemas.microsoft.com/office/drawing/2014/main" id="{A234D4DF-6704-4414-9962-64234BB57BAE}"/>
                  </a:ext>
                </a:extLst>
              </p:cNvPr>
              <p:cNvSpPr/>
              <p:nvPr/>
            </p:nvSpPr>
            <p:spPr>
              <a:xfrm>
                <a:off x="10495958" y="3998361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2" name="Freeform: Shape 134">
                <a:extLst>
                  <a:ext uri="{FF2B5EF4-FFF2-40B4-BE49-F238E27FC236}">
                    <a16:creationId xmlns:a16="http://schemas.microsoft.com/office/drawing/2014/main" id="{FC5754CD-9A8B-4AA7-AB6D-D4AEA554540E}"/>
                  </a:ext>
                </a:extLst>
              </p:cNvPr>
              <p:cNvSpPr/>
              <p:nvPr/>
            </p:nvSpPr>
            <p:spPr>
              <a:xfrm>
                <a:off x="10615536" y="4068198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3" name="Freeform: Shape 135">
                <a:extLst>
                  <a:ext uri="{FF2B5EF4-FFF2-40B4-BE49-F238E27FC236}">
                    <a16:creationId xmlns:a16="http://schemas.microsoft.com/office/drawing/2014/main" id="{4E72D948-8EED-43B3-A210-C7D0A5750FDC}"/>
                  </a:ext>
                </a:extLst>
              </p:cNvPr>
              <p:cNvSpPr/>
              <p:nvPr/>
            </p:nvSpPr>
            <p:spPr>
              <a:xfrm>
                <a:off x="10225354" y="3660791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4" name="Freeform: Shape 136">
                <a:extLst>
                  <a:ext uri="{FF2B5EF4-FFF2-40B4-BE49-F238E27FC236}">
                    <a16:creationId xmlns:a16="http://schemas.microsoft.com/office/drawing/2014/main" id="{3654981B-31D8-4F0B-9D8A-A8EA41773E3D}"/>
                  </a:ext>
                </a:extLst>
              </p:cNvPr>
              <p:cNvSpPr/>
              <p:nvPr/>
            </p:nvSpPr>
            <p:spPr>
              <a:xfrm>
                <a:off x="10350407" y="3719011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70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70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5" name="Freeform: Shape 137">
                <a:extLst>
                  <a:ext uri="{FF2B5EF4-FFF2-40B4-BE49-F238E27FC236}">
                    <a16:creationId xmlns:a16="http://schemas.microsoft.com/office/drawing/2014/main" id="{C37BA150-FB80-4FA3-B0EB-DDFAB70F1D8A}"/>
                  </a:ext>
                </a:extLst>
              </p:cNvPr>
              <p:cNvSpPr/>
              <p:nvPr/>
            </p:nvSpPr>
            <p:spPr>
              <a:xfrm>
                <a:off x="10464177" y="3776630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6" name="Freeform: Shape 138">
                <a:extLst>
                  <a:ext uri="{FF2B5EF4-FFF2-40B4-BE49-F238E27FC236}">
                    <a16:creationId xmlns:a16="http://schemas.microsoft.com/office/drawing/2014/main" id="{88906697-D679-4A7E-B001-BFD60FB8FF38}"/>
                  </a:ext>
                </a:extLst>
              </p:cNvPr>
              <p:cNvSpPr/>
              <p:nvPr/>
            </p:nvSpPr>
            <p:spPr>
              <a:xfrm>
                <a:off x="10580484" y="3833782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7" name="Freeform: Shape 139">
                <a:extLst>
                  <a:ext uri="{FF2B5EF4-FFF2-40B4-BE49-F238E27FC236}">
                    <a16:creationId xmlns:a16="http://schemas.microsoft.com/office/drawing/2014/main" id="{18F601DE-088C-423C-B40E-C7F0EA59B488}"/>
                  </a:ext>
                </a:extLst>
              </p:cNvPr>
              <p:cNvSpPr/>
              <p:nvPr/>
            </p:nvSpPr>
            <p:spPr>
              <a:xfrm>
                <a:off x="10704268" y="3896342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70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70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8" name="Freeform: Shape 140">
                <a:extLst>
                  <a:ext uri="{FF2B5EF4-FFF2-40B4-BE49-F238E27FC236}">
                    <a16:creationId xmlns:a16="http://schemas.microsoft.com/office/drawing/2014/main" id="{F9A91371-F509-475F-B70B-0BA1FCD08FF8}"/>
                  </a:ext>
                </a:extLst>
              </p:cNvPr>
              <p:cNvSpPr/>
              <p:nvPr/>
            </p:nvSpPr>
            <p:spPr>
              <a:xfrm>
                <a:off x="10289250" y="3513238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9" name="Freeform: Shape 141">
                <a:extLst>
                  <a:ext uri="{FF2B5EF4-FFF2-40B4-BE49-F238E27FC236}">
                    <a16:creationId xmlns:a16="http://schemas.microsoft.com/office/drawing/2014/main" id="{AE14521A-3128-49AD-A9E9-B4149E9C0238}"/>
                  </a:ext>
                </a:extLst>
              </p:cNvPr>
              <p:cNvSpPr/>
              <p:nvPr/>
            </p:nvSpPr>
            <p:spPr>
              <a:xfrm>
                <a:off x="10418108" y="3563446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69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0" name="Freeform: Shape 142">
                <a:extLst>
                  <a:ext uri="{FF2B5EF4-FFF2-40B4-BE49-F238E27FC236}">
                    <a16:creationId xmlns:a16="http://schemas.microsoft.com/office/drawing/2014/main" id="{3D131D00-8477-4000-8F2F-9C063CDC182F}"/>
                  </a:ext>
                </a:extLst>
              </p:cNvPr>
              <p:cNvSpPr/>
              <p:nvPr/>
            </p:nvSpPr>
            <p:spPr>
              <a:xfrm>
                <a:off x="10535483" y="3613854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1" name="Freeform: Shape 143">
                <a:extLst>
                  <a:ext uri="{FF2B5EF4-FFF2-40B4-BE49-F238E27FC236}">
                    <a16:creationId xmlns:a16="http://schemas.microsoft.com/office/drawing/2014/main" id="{246AC113-45C1-45DC-8745-F0C5F491F02A}"/>
                  </a:ext>
                </a:extLst>
              </p:cNvPr>
              <p:cNvSpPr/>
              <p:nvPr/>
            </p:nvSpPr>
            <p:spPr>
              <a:xfrm>
                <a:off x="10654995" y="3663462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2" name="Freeform: Shape 144">
                <a:extLst>
                  <a:ext uri="{FF2B5EF4-FFF2-40B4-BE49-F238E27FC236}">
                    <a16:creationId xmlns:a16="http://schemas.microsoft.com/office/drawing/2014/main" id="{A57F4E0E-9B30-44B2-8472-E6C80DC96615}"/>
                  </a:ext>
                </a:extLst>
              </p:cNvPr>
              <p:cNvSpPr/>
              <p:nvPr/>
            </p:nvSpPr>
            <p:spPr>
              <a:xfrm>
                <a:off x="10782518" y="3718410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3" name="Freeform: Shape 145">
                <a:extLst>
                  <a:ext uri="{FF2B5EF4-FFF2-40B4-BE49-F238E27FC236}">
                    <a16:creationId xmlns:a16="http://schemas.microsoft.com/office/drawing/2014/main" id="{BD7BB054-0B21-433E-9DC9-39F01BB0997C}"/>
                  </a:ext>
                </a:extLst>
              </p:cNvPr>
              <p:cNvSpPr/>
              <p:nvPr/>
            </p:nvSpPr>
            <p:spPr>
              <a:xfrm>
                <a:off x="10344131" y="3361144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4" name="Freeform: Shape 146">
                <a:extLst>
                  <a:ext uri="{FF2B5EF4-FFF2-40B4-BE49-F238E27FC236}">
                    <a16:creationId xmlns:a16="http://schemas.microsoft.com/office/drawing/2014/main" id="{1F560CD0-E47B-4444-8BFE-0823B286C48B}"/>
                  </a:ext>
                </a:extLst>
              </p:cNvPr>
              <p:cNvSpPr/>
              <p:nvPr/>
            </p:nvSpPr>
            <p:spPr>
              <a:xfrm>
                <a:off x="10476328" y="3403007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69"/>
                      <a:pt x="61769" y="79585"/>
                      <a:pt x="39792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5" name="Freeform: Shape 147">
                <a:extLst>
                  <a:ext uri="{FF2B5EF4-FFF2-40B4-BE49-F238E27FC236}">
                    <a16:creationId xmlns:a16="http://schemas.microsoft.com/office/drawing/2014/main" id="{32A38A25-FAB8-4092-9065-BF921C7B1802}"/>
                  </a:ext>
                </a:extLst>
              </p:cNvPr>
              <p:cNvSpPr/>
              <p:nvPr/>
            </p:nvSpPr>
            <p:spPr>
              <a:xfrm>
                <a:off x="10596774" y="3445937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6" name="Freeform: Shape 148">
                <a:extLst>
                  <a:ext uri="{FF2B5EF4-FFF2-40B4-BE49-F238E27FC236}">
                    <a16:creationId xmlns:a16="http://schemas.microsoft.com/office/drawing/2014/main" id="{41D7E554-B5D7-4C01-9825-09B158D5655E}"/>
                  </a:ext>
                </a:extLst>
              </p:cNvPr>
              <p:cNvSpPr/>
              <p:nvPr/>
            </p:nvSpPr>
            <p:spPr>
              <a:xfrm>
                <a:off x="10719023" y="3487800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7" name="Freeform: Shape 149">
                <a:extLst>
                  <a:ext uri="{FF2B5EF4-FFF2-40B4-BE49-F238E27FC236}">
                    <a16:creationId xmlns:a16="http://schemas.microsoft.com/office/drawing/2014/main" id="{A11035A0-D053-41E8-98C5-B2F49BFDC2A3}"/>
                  </a:ext>
                </a:extLst>
              </p:cNvPr>
              <p:cNvSpPr/>
              <p:nvPr/>
            </p:nvSpPr>
            <p:spPr>
              <a:xfrm>
                <a:off x="10849885" y="3534803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8" name="Freeform: Shape 150">
                <a:extLst>
                  <a:ext uri="{FF2B5EF4-FFF2-40B4-BE49-F238E27FC236}">
                    <a16:creationId xmlns:a16="http://schemas.microsoft.com/office/drawing/2014/main" id="{143109C3-C12A-4993-9877-6DDE07285569}"/>
                  </a:ext>
                </a:extLst>
              </p:cNvPr>
              <p:cNvSpPr/>
              <p:nvPr/>
            </p:nvSpPr>
            <p:spPr>
              <a:xfrm>
                <a:off x="10389599" y="3204845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69"/>
                      <a:pt x="61769" y="79585"/>
                      <a:pt x="39793" y="79585"/>
                    </a:cubicBezTo>
                    <a:cubicBezTo>
                      <a:pt x="17816" y="79585"/>
                      <a:pt x="0" y="61770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9" name="Freeform: Shape 151">
                <a:extLst>
                  <a:ext uri="{FF2B5EF4-FFF2-40B4-BE49-F238E27FC236}">
                    <a16:creationId xmlns:a16="http://schemas.microsoft.com/office/drawing/2014/main" id="{2842F9B8-9C34-47DD-B54C-6FA8AC6A230C}"/>
                  </a:ext>
                </a:extLst>
              </p:cNvPr>
              <p:cNvSpPr/>
              <p:nvPr/>
            </p:nvSpPr>
            <p:spPr>
              <a:xfrm>
                <a:off x="10524600" y="3238161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69"/>
                      <a:pt x="61769" y="79585"/>
                      <a:pt x="39792" y="79585"/>
                    </a:cubicBezTo>
                    <a:cubicBezTo>
                      <a:pt x="17815" y="79585"/>
                      <a:pt x="0" y="61770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0" name="Freeform: Shape 152">
                <a:extLst>
                  <a:ext uri="{FF2B5EF4-FFF2-40B4-BE49-F238E27FC236}">
                    <a16:creationId xmlns:a16="http://schemas.microsoft.com/office/drawing/2014/main" id="{F3FA7655-C432-45B2-ABEA-D5C82E37366D}"/>
                  </a:ext>
                </a:extLst>
              </p:cNvPr>
              <p:cNvSpPr/>
              <p:nvPr/>
            </p:nvSpPr>
            <p:spPr>
              <a:xfrm>
                <a:off x="10647784" y="3273347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69"/>
                      <a:pt x="61769" y="79585"/>
                      <a:pt x="39792" y="79585"/>
                    </a:cubicBezTo>
                    <a:cubicBezTo>
                      <a:pt x="17816" y="79585"/>
                      <a:pt x="0" y="61770"/>
                      <a:pt x="0" y="39793"/>
                    </a:cubicBezTo>
                    <a:cubicBezTo>
                      <a:pt x="0" y="17816"/>
                      <a:pt x="17816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1" name="Freeform: Shape 153">
                <a:extLst>
                  <a:ext uri="{FF2B5EF4-FFF2-40B4-BE49-F238E27FC236}">
                    <a16:creationId xmlns:a16="http://schemas.microsoft.com/office/drawing/2014/main" id="{4EE63CCE-C114-4AF0-987E-DA517C902C25}"/>
                  </a:ext>
                </a:extLst>
              </p:cNvPr>
              <p:cNvSpPr/>
              <p:nvPr/>
            </p:nvSpPr>
            <p:spPr>
              <a:xfrm>
                <a:off x="10772236" y="3307197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69"/>
                      <a:pt x="61769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2" name="Freeform: Shape 154">
                <a:extLst>
                  <a:ext uri="{FF2B5EF4-FFF2-40B4-BE49-F238E27FC236}">
                    <a16:creationId xmlns:a16="http://schemas.microsoft.com/office/drawing/2014/main" id="{C2AB4C19-83A4-4F2E-A00F-B60D79BB1AC1}"/>
                  </a:ext>
                </a:extLst>
              </p:cNvPr>
              <p:cNvSpPr/>
              <p:nvPr/>
            </p:nvSpPr>
            <p:spPr>
              <a:xfrm>
                <a:off x="10905968" y="3346055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69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3" name="Freeform: Shape 155">
                <a:extLst>
                  <a:ext uri="{FF2B5EF4-FFF2-40B4-BE49-F238E27FC236}">
                    <a16:creationId xmlns:a16="http://schemas.microsoft.com/office/drawing/2014/main" id="{92480B01-493C-4C25-8F18-90034B90A9EA}"/>
                  </a:ext>
                </a:extLst>
              </p:cNvPr>
              <p:cNvSpPr/>
              <p:nvPr/>
            </p:nvSpPr>
            <p:spPr>
              <a:xfrm>
                <a:off x="10425386" y="3044539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1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1" y="61873"/>
                      <a:pt x="1" y="39859"/>
                    </a:cubicBezTo>
                    <a:cubicBezTo>
                      <a:pt x="1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4" name="Freeform: Shape 156">
                <a:extLst>
                  <a:ext uri="{FF2B5EF4-FFF2-40B4-BE49-F238E27FC236}">
                    <a16:creationId xmlns:a16="http://schemas.microsoft.com/office/drawing/2014/main" id="{67439293-838C-4C43-BD1B-6626752AB59E}"/>
                  </a:ext>
                </a:extLst>
              </p:cNvPr>
              <p:cNvSpPr/>
              <p:nvPr/>
            </p:nvSpPr>
            <p:spPr>
              <a:xfrm>
                <a:off x="10562590" y="3069042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5" name="Freeform: Shape 157">
                <a:extLst>
                  <a:ext uri="{FF2B5EF4-FFF2-40B4-BE49-F238E27FC236}">
                    <a16:creationId xmlns:a16="http://schemas.microsoft.com/office/drawing/2014/main" id="{F519498B-D1B5-4D91-B7E3-C7D320E797C9}"/>
                  </a:ext>
                </a:extLst>
              </p:cNvPr>
              <p:cNvSpPr/>
              <p:nvPr/>
            </p:nvSpPr>
            <p:spPr>
              <a:xfrm>
                <a:off x="10687977" y="3096216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59 w 79718"/>
                  <a:gd name="connsiteY1" fmla="*/ 79719 h 79718"/>
                  <a:gd name="connsiteX2" fmla="*/ 0 w 79718"/>
                  <a:gd name="connsiteY2" fmla="*/ 39859 h 79718"/>
                  <a:gd name="connsiteX3" fmla="*/ 39859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59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59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6" name="Freeform: Shape 158">
                <a:extLst>
                  <a:ext uri="{FF2B5EF4-FFF2-40B4-BE49-F238E27FC236}">
                    <a16:creationId xmlns:a16="http://schemas.microsoft.com/office/drawing/2014/main" id="{A200C8D0-F4F0-472C-8A8D-F627404ED8BE}"/>
                  </a:ext>
                </a:extLst>
              </p:cNvPr>
              <p:cNvSpPr/>
              <p:nvPr/>
            </p:nvSpPr>
            <p:spPr>
              <a:xfrm>
                <a:off x="10814165" y="3121988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7" name="Freeform: Shape 159">
                <a:extLst>
                  <a:ext uri="{FF2B5EF4-FFF2-40B4-BE49-F238E27FC236}">
                    <a16:creationId xmlns:a16="http://schemas.microsoft.com/office/drawing/2014/main" id="{C12A42EA-31ED-4FA6-BFE6-E1A47FBB8AB5}"/>
                  </a:ext>
                </a:extLst>
              </p:cNvPr>
              <p:cNvSpPr/>
              <p:nvPr/>
            </p:nvSpPr>
            <p:spPr>
              <a:xfrm>
                <a:off x="10950234" y="3152433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8" name="Freeform: Shape 160">
                <a:extLst>
                  <a:ext uri="{FF2B5EF4-FFF2-40B4-BE49-F238E27FC236}">
                    <a16:creationId xmlns:a16="http://schemas.microsoft.com/office/drawing/2014/main" id="{61DAB24C-E635-486C-8DB9-6189A8B77074}"/>
                  </a:ext>
                </a:extLst>
              </p:cNvPr>
              <p:cNvSpPr/>
              <p:nvPr/>
            </p:nvSpPr>
            <p:spPr>
              <a:xfrm>
                <a:off x="10451157" y="2880628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9" name="Freeform: Shape 161">
                <a:extLst>
                  <a:ext uri="{FF2B5EF4-FFF2-40B4-BE49-F238E27FC236}">
                    <a16:creationId xmlns:a16="http://schemas.microsoft.com/office/drawing/2014/main" id="{8D31DA2D-1D35-4D71-BDF1-4FB43F9B5AEB}"/>
                  </a:ext>
                </a:extLst>
              </p:cNvPr>
              <p:cNvSpPr/>
              <p:nvPr/>
            </p:nvSpPr>
            <p:spPr>
              <a:xfrm>
                <a:off x="10590031" y="2896118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0" name="Freeform: Shape 162">
                <a:extLst>
                  <a:ext uri="{FF2B5EF4-FFF2-40B4-BE49-F238E27FC236}">
                    <a16:creationId xmlns:a16="http://schemas.microsoft.com/office/drawing/2014/main" id="{2DA6E6D8-34AB-4502-B718-86CEDB55CD7C}"/>
                  </a:ext>
                </a:extLst>
              </p:cNvPr>
              <p:cNvSpPr/>
              <p:nvPr/>
            </p:nvSpPr>
            <p:spPr>
              <a:xfrm>
                <a:off x="10717154" y="2915213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1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1" y="61873"/>
                      <a:pt x="1" y="39859"/>
                    </a:cubicBezTo>
                    <a:cubicBezTo>
                      <a:pt x="1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1" name="Freeform: Shape 163">
                <a:extLst>
                  <a:ext uri="{FF2B5EF4-FFF2-40B4-BE49-F238E27FC236}">
                    <a16:creationId xmlns:a16="http://schemas.microsoft.com/office/drawing/2014/main" id="{C36ED0C1-AB2D-4BD0-8E07-8881850BCE86}"/>
                  </a:ext>
                </a:extLst>
              </p:cNvPr>
              <p:cNvSpPr/>
              <p:nvPr/>
            </p:nvSpPr>
            <p:spPr>
              <a:xfrm>
                <a:off x="10844544" y="2932706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59 w 79718"/>
                  <a:gd name="connsiteY1" fmla="*/ 79719 h 79718"/>
                  <a:gd name="connsiteX2" fmla="*/ 0 w 79718"/>
                  <a:gd name="connsiteY2" fmla="*/ 39859 h 79718"/>
                  <a:gd name="connsiteX3" fmla="*/ 39859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59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59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2" name="Freeform: Shape 164">
                <a:extLst>
                  <a:ext uri="{FF2B5EF4-FFF2-40B4-BE49-F238E27FC236}">
                    <a16:creationId xmlns:a16="http://schemas.microsoft.com/office/drawing/2014/main" id="{96827963-7F8E-4958-9F64-21D3B7AB1101}"/>
                  </a:ext>
                </a:extLst>
              </p:cNvPr>
              <p:cNvSpPr/>
              <p:nvPr/>
            </p:nvSpPr>
            <p:spPr>
              <a:xfrm>
                <a:off x="10982416" y="2954539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3" name="Freeform: Shape 165">
                <a:extLst>
                  <a:ext uri="{FF2B5EF4-FFF2-40B4-BE49-F238E27FC236}">
                    <a16:creationId xmlns:a16="http://schemas.microsoft.com/office/drawing/2014/main" id="{A4E4F306-8FD6-4E95-B693-104CD931E569}"/>
                  </a:ext>
                </a:extLst>
              </p:cNvPr>
              <p:cNvSpPr/>
              <p:nvPr/>
            </p:nvSpPr>
            <p:spPr>
              <a:xfrm>
                <a:off x="10466647" y="2713446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4" name="Freeform: Shape 166">
                <a:extLst>
                  <a:ext uri="{FF2B5EF4-FFF2-40B4-BE49-F238E27FC236}">
                    <a16:creationId xmlns:a16="http://schemas.microsoft.com/office/drawing/2014/main" id="{609F6FE9-470A-42A1-A982-E45FF891D25C}"/>
                  </a:ext>
                </a:extLst>
              </p:cNvPr>
              <p:cNvSpPr/>
              <p:nvPr/>
            </p:nvSpPr>
            <p:spPr>
              <a:xfrm>
                <a:off x="10606589" y="2719789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59 w 79718"/>
                  <a:gd name="connsiteY1" fmla="*/ 79719 h 79718"/>
                  <a:gd name="connsiteX2" fmla="*/ 0 w 79718"/>
                  <a:gd name="connsiteY2" fmla="*/ 39859 h 79718"/>
                  <a:gd name="connsiteX3" fmla="*/ 39859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59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59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5" name="Freeform: Shape 167">
                <a:extLst>
                  <a:ext uri="{FF2B5EF4-FFF2-40B4-BE49-F238E27FC236}">
                    <a16:creationId xmlns:a16="http://schemas.microsoft.com/office/drawing/2014/main" id="{78EF68B8-743C-48B0-8DA8-7C9FA07184ED}"/>
                  </a:ext>
                </a:extLst>
              </p:cNvPr>
              <p:cNvSpPr/>
              <p:nvPr/>
            </p:nvSpPr>
            <p:spPr>
              <a:xfrm>
                <a:off x="10734847" y="2730605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6" name="Freeform: Shape 168">
                <a:extLst>
                  <a:ext uri="{FF2B5EF4-FFF2-40B4-BE49-F238E27FC236}">
                    <a16:creationId xmlns:a16="http://schemas.microsoft.com/office/drawing/2014/main" id="{44A3040F-143B-42CD-81B5-8E5063AF521E}"/>
                  </a:ext>
                </a:extLst>
              </p:cNvPr>
              <p:cNvSpPr/>
              <p:nvPr/>
            </p:nvSpPr>
            <p:spPr>
              <a:xfrm>
                <a:off x="10862971" y="2739685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7" name="Freeform: Shape 169">
                <a:extLst>
                  <a:ext uri="{FF2B5EF4-FFF2-40B4-BE49-F238E27FC236}">
                    <a16:creationId xmlns:a16="http://schemas.microsoft.com/office/drawing/2014/main" id="{EF062117-A476-431C-A109-97933EE7EFA0}"/>
                  </a:ext>
                </a:extLst>
              </p:cNvPr>
              <p:cNvSpPr/>
              <p:nvPr/>
            </p:nvSpPr>
            <p:spPr>
              <a:xfrm>
                <a:off x="11002112" y="2752838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1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1" y="61873"/>
                      <a:pt x="1" y="39859"/>
                    </a:cubicBezTo>
                    <a:cubicBezTo>
                      <a:pt x="1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8" name="Freeform: Shape 170">
                <a:extLst>
                  <a:ext uri="{FF2B5EF4-FFF2-40B4-BE49-F238E27FC236}">
                    <a16:creationId xmlns:a16="http://schemas.microsoft.com/office/drawing/2014/main" id="{DE6B1F67-867D-4067-A181-D646A56E5642}"/>
                  </a:ext>
                </a:extLst>
              </p:cNvPr>
              <p:cNvSpPr/>
              <p:nvPr/>
            </p:nvSpPr>
            <p:spPr>
              <a:xfrm>
                <a:off x="10471388" y="2544327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59 w 79718"/>
                  <a:gd name="connsiteY1" fmla="*/ 79719 h 79718"/>
                  <a:gd name="connsiteX2" fmla="*/ 0 w 79718"/>
                  <a:gd name="connsiteY2" fmla="*/ 39859 h 79718"/>
                  <a:gd name="connsiteX3" fmla="*/ 39859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59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59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9" name="Freeform: Shape 171">
                <a:extLst>
                  <a:ext uri="{FF2B5EF4-FFF2-40B4-BE49-F238E27FC236}">
                    <a16:creationId xmlns:a16="http://schemas.microsoft.com/office/drawing/2014/main" id="{86CC1077-121F-49DD-AFB5-A2AEE9F63DAE}"/>
                  </a:ext>
                </a:extLst>
              </p:cNvPr>
              <p:cNvSpPr/>
              <p:nvPr/>
            </p:nvSpPr>
            <p:spPr>
              <a:xfrm>
                <a:off x="10611864" y="2541657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3" name="Freeform: Shape 172">
                <a:extLst>
                  <a:ext uri="{FF2B5EF4-FFF2-40B4-BE49-F238E27FC236}">
                    <a16:creationId xmlns:a16="http://schemas.microsoft.com/office/drawing/2014/main" id="{E2F9586F-BFD9-4360-B859-DE1E67820CEC}"/>
                  </a:ext>
                </a:extLst>
              </p:cNvPr>
              <p:cNvSpPr/>
              <p:nvPr/>
            </p:nvSpPr>
            <p:spPr>
              <a:xfrm>
                <a:off x="10740722" y="2544261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4" name="Freeform: Shape 173">
                <a:extLst>
                  <a:ext uri="{FF2B5EF4-FFF2-40B4-BE49-F238E27FC236}">
                    <a16:creationId xmlns:a16="http://schemas.microsoft.com/office/drawing/2014/main" id="{5266FB81-F979-43AF-A314-19E45429C9BB}"/>
                  </a:ext>
                </a:extLst>
              </p:cNvPr>
              <p:cNvSpPr/>
              <p:nvPr/>
            </p:nvSpPr>
            <p:spPr>
              <a:xfrm>
                <a:off x="10868913" y="2545195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5" name="Freeform: Shape 174">
                <a:extLst>
                  <a:ext uri="{FF2B5EF4-FFF2-40B4-BE49-F238E27FC236}">
                    <a16:creationId xmlns:a16="http://schemas.microsoft.com/office/drawing/2014/main" id="{75B6D4EB-5D7F-48A2-8B1C-2CEB19B7E517}"/>
                  </a:ext>
                </a:extLst>
              </p:cNvPr>
              <p:cNvSpPr/>
              <p:nvPr/>
            </p:nvSpPr>
            <p:spPr>
              <a:xfrm>
                <a:off x="11008855" y="2549735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59 w 79718"/>
                  <a:gd name="connsiteY1" fmla="*/ 79719 h 79718"/>
                  <a:gd name="connsiteX2" fmla="*/ 0 w 79718"/>
                  <a:gd name="connsiteY2" fmla="*/ 39859 h 79718"/>
                  <a:gd name="connsiteX3" fmla="*/ 39859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59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59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6" name="Freeform: Shape 175">
                <a:extLst>
                  <a:ext uri="{FF2B5EF4-FFF2-40B4-BE49-F238E27FC236}">
                    <a16:creationId xmlns:a16="http://schemas.microsoft.com/office/drawing/2014/main" id="{141BE864-726D-49EE-A5E0-4FB832CCA88F}"/>
                  </a:ext>
                </a:extLst>
              </p:cNvPr>
              <p:cNvSpPr/>
              <p:nvPr/>
            </p:nvSpPr>
            <p:spPr>
              <a:xfrm>
                <a:off x="10471121" y="2365728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7" name="Freeform: Shape 176">
                <a:extLst>
                  <a:ext uri="{FF2B5EF4-FFF2-40B4-BE49-F238E27FC236}">
                    <a16:creationId xmlns:a16="http://schemas.microsoft.com/office/drawing/2014/main" id="{90330D91-B8D2-4A49-AB8E-40D754BBA9D1}"/>
                  </a:ext>
                </a:extLst>
              </p:cNvPr>
              <p:cNvSpPr/>
              <p:nvPr/>
            </p:nvSpPr>
            <p:spPr>
              <a:xfrm>
                <a:off x="10611930" y="2362790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1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1" y="61873"/>
                      <a:pt x="1" y="39859"/>
                    </a:cubicBezTo>
                    <a:cubicBezTo>
                      <a:pt x="1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8" name="Freeform: Shape 177">
                <a:extLst>
                  <a:ext uri="{FF2B5EF4-FFF2-40B4-BE49-F238E27FC236}">
                    <a16:creationId xmlns:a16="http://schemas.microsoft.com/office/drawing/2014/main" id="{4F78389A-8BDF-4D69-9551-601B75A81D2E}"/>
                  </a:ext>
                </a:extLst>
              </p:cNvPr>
              <p:cNvSpPr/>
              <p:nvPr/>
            </p:nvSpPr>
            <p:spPr>
              <a:xfrm>
                <a:off x="10741056" y="2365327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59 w 79718"/>
                  <a:gd name="connsiteY1" fmla="*/ 79719 h 79718"/>
                  <a:gd name="connsiteX2" fmla="*/ 0 w 79718"/>
                  <a:gd name="connsiteY2" fmla="*/ 39859 h 79718"/>
                  <a:gd name="connsiteX3" fmla="*/ 39859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59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59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9" name="Freeform: Shape 178">
                <a:extLst>
                  <a:ext uri="{FF2B5EF4-FFF2-40B4-BE49-F238E27FC236}">
                    <a16:creationId xmlns:a16="http://schemas.microsoft.com/office/drawing/2014/main" id="{B4CCE2B9-5D5A-47E6-A8E9-16B16F924D34}"/>
                  </a:ext>
                </a:extLst>
              </p:cNvPr>
              <p:cNvSpPr/>
              <p:nvPr/>
            </p:nvSpPr>
            <p:spPr>
              <a:xfrm>
                <a:off x="10869047" y="2366128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1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1" y="61873"/>
                      <a:pt x="1" y="39859"/>
                    </a:cubicBezTo>
                    <a:cubicBezTo>
                      <a:pt x="1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0" name="Freeform: Shape 179">
                <a:extLst>
                  <a:ext uri="{FF2B5EF4-FFF2-40B4-BE49-F238E27FC236}">
                    <a16:creationId xmlns:a16="http://schemas.microsoft.com/office/drawing/2014/main" id="{BE63C817-FFCB-497A-89BB-394BD2EE1F02}"/>
                  </a:ext>
                </a:extLst>
              </p:cNvPr>
              <p:cNvSpPr/>
              <p:nvPr/>
            </p:nvSpPr>
            <p:spPr>
              <a:xfrm>
                <a:off x="11009122" y="2370802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1" name="Freeform: Shape 180">
                <a:extLst>
                  <a:ext uri="{FF2B5EF4-FFF2-40B4-BE49-F238E27FC236}">
                    <a16:creationId xmlns:a16="http://schemas.microsoft.com/office/drawing/2014/main" id="{705F3626-AEF3-4F30-99F3-8CD56EA6A806}"/>
                  </a:ext>
                </a:extLst>
              </p:cNvPr>
              <p:cNvSpPr/>
              <p:nvPr/>
            </p:nvSpPr>
            <p:spPr>
              <a:xfrm>
                <a:off x="10470787" y="2187062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2" name="Freeform: Shape 181">
                <a:extLst>
                  <a:ext uri="{FF2B5EF4-FFF2-40B4-BE49-F238E27FC236}">
                    <a16:creationId xmlns:a16="http://schemas.microsoft.com/office/drawing/2014/main" id="{A6B52A98-F8D3-4C42-8C37-99DF904F5368}"/>
                  </a:ext>
                </a:extLst>
              </p:cNvPr>
              <p:cNvSpPr/>
              <p:nvPr/>
            </p:nvSpPr>
            <p:spPr>
              <a:xfrm>
                <a:off x="10611930" y="2183924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5" y="79852"/>
                      <a:pt x="0" y="61977"/>
                      <a:pt x="0" y="39926"/>
                    </a:cubicBezTo>
                    <a:cubicBezTo>
                      <a:pt x="0" y="17876"/>
                      <a:pt x="17875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3" name="Freeform: Shape 182">
                <a:extLst>
                  <a:ext uri="{FF2B5EF4-FFF2-40B4-BE49-F238E27FC236}">
                    <a16:creationId xmlns:a16="http://schemas.microsoft.com/office/drawing/2014/main" id="{74D46C80-AF34-4D07-81C6-D33FF2A6CE7C}"/>
                  </a:ext>
                </a:extLst>
              </p:cNvPr>
              <p:cNvSpPr/>
              <p:nvPr/>
            </p:nvSpPr>
            <p:spPr>
              <a:xfrm>
                <a:off x="10741256" y="2186327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5" y="79852"/>
                      <a:pt x="0" y="61977"/>
                      <a:pt x="0" y="39926"/>
                    </a:cubicBezTo>
                    <a:cubicBezTo>
                      <a:pt x="0" y="17876"/>
                      <a:pt x="17875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4" name="Freeform: Shape 183">
                <a:extLst>
                  <a:ext uri="{FF2B5EF4-FFF2-40B4-BE49-F238E27FC236}">
                    <a16:creationId xmlns:a16="http://schemas.microsoft.com/office/drawing/2014/main" id="{14C17681-DA05-4017-8234-7FAE1D509518}"/>
                  </a:ext>
                </a:extLst>
              </p:cNvPr>
              <p:cNvSpPr/>
              <p:nvPr/>
            </p:nvSpPr>
            <p:spPr>
              <a:xfrm>
                <a:off x="10869047" y="2186995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5" name="Freeform: Shape 184">
                <a:extLst>
                  <a:ext uri="{FF2B5EF4-FFF2-40B4-BE49-F238E27FC236}">
                    <a16:creationId xmlns:a16="http://schemas.microsoft.com/office/drawing/2014/main" id="{C78BEB2B-8E66-4FC8-AF55-CD8CFB8A695D}"/>
                  </a:ext>
                </a:extLst>
              </p:cNvPr>
              <p:cNvSpPr/>
              <p:nvPr/>
            </p:nvSpPr>
            <p:spPr>
              <a:xfrm>
                <a:off x="11009322" y="2191802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6" name="Freeform: Shape 185">
                <a:extLst>
                  <a:ext uri="{FF2B5EF4-FFF2-40B4-BE49-F238E27FC236}">
                    <a16:creationId xmlns:a16="http://schemas.microsoft.com/office/drawing/2014/main" id="{6F49220A-97B3-49E1-846E-02926B1023AB}"/>
                  </a:ext>
                </a:extLst>
              </p:cNvPr>
              <p:cNvSpPr/>
              <p:nvPr/>
            </p:nvSpPr>
            <p:spPr>
              <a:xfrm>
                <a:off x="10470520" y="2008462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7" name="Freeform: Shape 186">
                <a:extLst>
                  <a:ext uri="{FF2B5EF4-FFF2-40B4-BE49-F238E27FC236}">
                    <a16:creationId xmlns:a16="http://schemas.microsoft.com/office/drawing/2014/main" id="{5D38CAC9-0836-4DDC-8374-4B6BBDD3C4F6}"/>
                  </a:ext>
                </a:extLst>
              </p:cNvPr>
              <p:cNvSpPr/>
              <p:nvPr/>
            </p:nvSpPr>
            <p:spPr>
              <a:xfrm>
                <a:off x="10611997" y="2005057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8" name="Freeform: Shape 187">
                <a:extLst>
                  <a:ext uri="{FF2B5EF4-FFF2-40B4-BE49-F238E27FC236}">
                    <a16:creationId xmlns:a16="http://schemas.microsoft.com/office/drawing/2014/main" id="{4080D029-2550-4730-A62B-F48924F80A0E}"/>
                  </a:ext>
                </a:extLst>
              </p:cNvPr>
              <p:cNvSpPr/>
              <p:nvPr/>
            </p:nvSpPr>
            <p:spPr>
              <a:xfrm>
                <a:off x="10741523" y="2007394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9" name="Freeform: Shape 188">
                <a:extLst>
                  <a:ext uri="{FF2B5EF4-FFF2-40B4-BE49-F238E27FC236}">
                    <a16:creationId xmlns:a16="http://schemas.microsoft.com/office/drawing/2014/main" id="{E0D0A600-DE86-48D3-8883-461215A80A30}"/>
                  </a:ext>
                </a:extLst>
              </p:cNvPr>
              <p:cNvSpPr/>
              <p:nvPr/>
            </p:nvSpPr>
            <p:spPr>
              <a:xfrm>
                <a:off x="10869180" y="2007995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0" name="Freeform: Shape 189">
                <a:extLst>
                  <a:ext uri="{FF2B5EF4-FFF2-40B4-BE49-F238E27FC236}">
                    <a16:creationId xmlns:a16="http://schemas.microsoft.com/office/drawing/2014/main" id="{40592488-933B-416C-B29D-5F2315044C60}"/>
                  </a:ext>
                </a:extLst>
              </p:cNvPr>
              <p:cNvSpPr/>
              <p:nvPr/>
            </p:nvSpPr>
            <p:spPr>
              <a:xfrm>
                <a:off x="11009590" y="2012935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5" y="79852"/>
                      <a:pt x="0" y="61977"/>
                      <a:pt x="0" y="39926"/>
                    </a:cubicBezTo>
                    <a:cubicBezTo>
                      <a:pt x="0" y="17876"/>
                      <a:pt x="17875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1" name="Freeform: Shape 190">
                <a:extLst>
                  <a:ext uri="{FF2B5EF4-FFF2-40B4-BE49-F238E27FC236}">
                    <a16:creationId xmlns:a16="http://schemas.microsoft.com/office/drawing/2014/main" id="{4AA60B7D-5A75-4054-8E2C-8F756168CA40}"/>
                  </a:ext>
                </a:extLst>
              </p:cNvPr>
              <p:cNvSpPr/>
              <p:nvPr/>
            </p:nvSpPr>
            <p:spPr>
              <a:xfrm>
                <a:off x="10469451" y="1831532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2" name="Freeform: Shape 191">
                <a:extLst>
                  <a:ext uri="{FF2B5EF4-FFF2-40B4-BE49-F238E27FC236}">
                    <a16:creationId xmlns:a16="http://schemas.microsoft.com/office/drawing/2014/main" id="{9965D27C-6965-4C91-98BA-D2F466AD9C6B}"/>
                  </a:ext>
                </a:extLst>
              </p:cNvPr>
              <p:cNvSpPr/>
              <p:nvPr/>
            </p:nvSpPr>
            <p:spPr>
              <a:xfrm>
                <a:off x="10611329" y="1827192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3" name="Freeform: Shape 192">
                <a:extLst>
                  <a:ext uri="{FF2B5EF4-FFF2-40B4-BE49-F238E27FC236}">
                    <a16:creationId xmlns:a16="http://schemas.microsoft.com/office/drawing/2014/main" id="{6EE3FA5F-379D-4182-B0E0-D34393602F80}"/>
                  </a:ext>
                </a:extLst>
              </p:cNvPr>
              <p:cNvSpPr/>
              <p:nvPr/>
            </p:nvSpPr>
            <p:spPr>
              <a:xfrm>
                <a:off x="10741056" y="1828794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4" name="Freeform: Shape 193">
                <a:extLst>
                  <a:ext uri="{FF2B5EF4-FFF2-40B4-BE49-F238E27FC236}">
                    <a16:creationId xmlns:a16="http://schemas.microsoft.com/office/drawing/2014/main" id="{4F4D7465-0D9A-4F7B-A1C8-AA6A4B10AF07}"/>
                  </a:ext>
                </a:extLst>
              </p:cNvPr>
              <p:cNvSpPr/>
              <p:nvPr/>
            </p:nvSpPr>
            <p:spPr>
              <a:xfrm>
                <a:off x="10868446" y="1828661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5" name="Freeform: Shape 194">
                <a:extLst>
                  <a:ext uri="{FF2B5EF4-FFF2-40B4-BE49-F238E27FC236}">
                    <a16:creationId xmlns:a16="http://schemas.microsoft.com/office/drawing/2014/main" id="{19DC9BDB-0776-4C85-8E59-09A1F8FE2EB1}"/>
                  </a:ext>
                </a:extLst>
              </p:cNvPr>
              <p:cNvSpPr/>
              <p:nvPr/>
            </p:nvSpPr>
            <p:spPr>
              <a:xfrm>
                <a:off x="11009055" y="1833067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</p:grpSp>
        <p:sp>
          <p:nvSpPr>
            <p:cNvPr id="39" name="Freeform: Shape 203">
              <a:extLst>
                <a:ext uri="{FF2B5EF4-FFF2-40B4-BE49-F238E27FC236}">
                  <a16:creationId xmlns:a16="http://schemas.microsoft.com/office/drawing/2014/main" id="{400DD85D-6E22-4F86-BDE3-EE13DFF73590}"/>
                </a:ext>
              </a:extLst>
            </p:cNvPr>
            <p:cNvSpPr/>
            <p:nvPr userDrawn="1"/>
          </p:nvSpPr>
          <p:spPr>
            <a:xfrm>
              <a:off x="6774046" y="5064157"/>
              <a:ext cx="79184" cy="79184"/>
            </a:xfrm>
            <a:custGeom>
              <a:avLst/>
              <a:gdLst>
                <a:gd name="connsiteX0" fmla="*/ 79185 w 79184"/>
                <a:gd name="connsiteY0" fmla="*/ 39592 h 79184"/>
                <a:gd name="connsiteX1" fmla="*/ 39592 w 79184"/>
                <a:gd name="connsiteY1" fmla="*/ 79185 h 79184"/>
                <a:gd name="connsiteX2" fmla="*/ 0 w 79184"/>
                <a:gd name="connsiteY2" fmla="*/ 39592 h 79184"/>
                <a:gd name="connsiteX3" fmla="*/ 39592 w 79184"/>
                <a:gd name="connsiteY3" fmla="*/ 0 h 79184"/>
                <a:gd name="connsiteX4" fmla="*/ 79185 w 79184"/>
                <a:gd name="connsiteY4" fmla="*/ 39592 h 79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184" h="79184">
                  <a:moveTo>
                    <a:pt x="79185" y="39592"/>
                  </a:moveTo>
                  <a:cubicBezTo>
                    <a:pt x="79185" y="61459"/>
                    <a:pt x="61459" y="79185"/>
                    <a:pt x="39592" y="79185"/>
                  </a:cubicBezTo>
                  <a:cubicBezTo>
                    <a:pt x="17726" y="79185"/>
                    <a:pt x="0" y="61459"/>
                    <a:pt x="0" y="39592"/>
                  </a:cubicBezTo>
                  <a:cubicBezTo>
                    <a:pt x="0" y="17726"/>
                    <a:pt x="17726" y="0"/>
                    <a:pt x="39592" y="0"/>
                  </a:cubicBezTo>
                  <a:cubicBezTo>
                    <a:pt x="61459" y="0"/>
                    <a:pt x="79185" y="17726"/>
                    <a:pt x="79185" y="39592"/>
                  </a:cubicBezTo>
                  <a:close/>
                </a:path>
              </a:pathLst>
            </a:custGeom>
            <a:grpFill/>
            <a:ln w="6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40" name="Freeform: Shape 204">
              <a:extLst>
                <a:ext uri="{FF2B5EF4-FFF2-40B4-BE49-F238E27FC236}">
                  <a16:creationId xmlns:a16="http://schemas.microsoft.com/office/drawing/2014/main" id="{9C9900ED-055B-41C1-BBD1-09A22CB06FF9}"/>
                </a:ext>
              </a:extLst>
            </p:cNvPr>
            <p:cNvSpPr/>
            <p:nvPr userDrawn="1"/>
          </p:nvSpPr>
          <p:spPr>
            <a:xfrm>
              <a:off x="6724791" y="5185266"/>
              <a:ext cx="79184" cy="79184"/>
            </a:xfrm>
            <a:custGeom>
              <a:avLst/>
              <a:gdLst>
                <a:gd name="connsiteX0" fmla="*/ 79185 w 79184"/>
                <a:gd name="connsiteY0" fmla="*/ 39592 h 79184"/>
                <a:gd name="connsiteX1" fmla="*/ 39592 w 79184"/>
                <a:gd name="connsiteY1" fmla="*/ 79185 h 79184"/>
                <a:gd name="connsiteX2" fmla="*/ 0 w 79184"/>
                <a:gd name="connsiteY2" fmla="*/ 39592 h 79184"/>
                <a:gd name="connsiteX3" fmla="*/ 39592 w 79184"/>
                <a:gd name="connsiteY3" fmla="*/ 0 h 79184"/>
                <a:gd name="connsiteX4" fmla="*/ 79185 w 79184"/>
                <a:gd name="connsiteY4" fmla="*/ 39592 h 79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184" h="79184">
                  <a:moveTo>
                    <a:pt x="79185" y="39592"/>
                  </a:moveTo>
                  <a:cubicBezTo>
                    <a:pt x="79185" y="61459"/>
                    <a:pt x="61459" y="79185"/>
                    <a:pt x="39592" y="79185"/>
                  </a:cubicBezTo>
                  <a:cubicBezTo>
                    <a:pt x="17726" y="79185"/>
                    <a:pt x="0" y="61459"/>
                    <a:pt x="0" y="39592"/>
                  </a:cubicBezTo>
                  <a:cubicBezTo>
                    <a:pt x="0" y="17726"/>
                    <a:pt x="17726" y="0"/>
                    <a:pt x="39592" y="0"/>
                  </a:cubicBezTo>
                  <a:cubicBezTo>
                    <a:pt x="61459" y="0"/>
                    <a:pt x="79185" y="17726"/>
                    <a:pt x="79185" y="39592"/>
                  </a:cubicBezTo>
                  <a:close/>
                </a:path>
              </a:pathLst>
            </a:custGeom>
            <a:grpFill/>
            <a:ln w="6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41" name="Freeform: Shape 205">
              <a:extLst>
                <a:ext uri="{FF2B5EF4-FFF2-40B4-BE49-F238E27FC236}">
                  <a16:creationId xmlns:a16="http://schemas.microsoft.com/office/drawing/2014/main" id="{F1F260B6-9ECE-4466-8307-5222E3F0DFB1}"/>
                </a:ext>
              </a:extLst>
            </p:cNvPr>
            <p:cNvSpPr/>
            <p:nvPr userDrawn="1"/>
          </p:nvSpPr>
          <p:spPr>
            <a:xfrm>
              <a:off x="6665105" y="5302898"/>
              <a:ext cx="79184" cy="79184"/>
            </a:xfrm>
            <a:custGeom>
              <a:avLst/>
              <a:gdLst>
                <a:gd name="connsiteX0" fmla="*/ 79185 w 79184"/>
                <a:gd name="connsiteY0" fmla="*/ 39592 h 79184"/>
                <a:gd name="connsiteX1" fmla="*/ 39592 w 79184"/>
                <a:gd name="connsiteY1" fmla="*/ 79185 h 79184"/>
                <a:gd name="connsiteX2" fmla="*/ 0 w 79184"/>
                <a:gd name="connsiteY2" fmla="*/ 39592 h 79184"/>
                <a:gd name="connsiteX3" fmla="*/ 39592 w 79184"/>
                <a:gd name="connsiteY3" fmla="*/ 0 h 79184"/>
                <a:gd name="connsiteX4" fmla="*/ 79185 w 79184"/>
                <a:gd name="connsiteY4" fmla="*/ 39592 h 79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184" h="79184">
                  <a:moveTo>
                    <a:pt x="79185" y="39592"/>
                  </a:moveTo>
                  <a:cubicBezTo>
                    <a:pt x="79185" y="61459"/>
                    <a:pt x="61459" y="79185"/>
                    <a:pt x="39592" y="79185"/>
                  </a:cubicBezTo>
                  <a:cubicBezTo>
                    <a:pt x="17726" y="79185"/>
                    <a:pt x="0" y="61459"/>
                    <a:pt x="0" y="39592"/>
                  </a:cubicBezTo>
                  <a:cubicBezTo>
                    <a:pt x="0" y="17726"/>
                    <a:pt x="17726" y="0"/>
                    <a:pt x="39592" y="0"/>
                  </a:cubicBezTo>
                  <a:cubicBezTo>
                    <a:pt x="61459" y="0"/>
                    <a:pt x="79185" y="17726"/>
                    <a:pt x="79185" y="39592"/>
                  </a:cubicBezTo>
                  <a:close/>
                </a:path>
              </a:pathLst>
            </a:custGeom>
            <a:grpFill/>
            <a:ln w="6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42" name="Freeform: Shape 206">
              <a:extLst>
                <a:ext uri="{FF2B5EF4-FFF2-40B4-BE49-F238E27FC236}">
                  <a16:creationId xmlns:a16="http://schemas.microsoft.com/office/drawing/2014/main" id="{0ABCF65E-B3A6-41AC-8C0E-B1343D3ACA75}"/>
                </a:ext>
              </a:extLst>
            </p:cNvPr>
            <p:cNvSpPr/>
            <p:nvPr userDrawn="1"/>
          </p:nvSpPr>
          <p:spPr>
            <a:xfrm>
              <a:off x="6599047" y="5125581"/>
              <a:ext cx="79184" cy="79184"/>
            </a:xfrm>
            <a:custGeom>
              <a:avLst/>
              <a:gdLst>
                <a:gd name="connsiteX0" fmla="*/ 79185 w 79184"/>
                <a:gd name="connsiteY0" fmla="*/ 39592 h 79184"/>
                <a:gd name="connsiteX1" fmla="*/ 39592 w 79184"/>
                <a:gd name="connsiteY1" fmla="*/ 79185 h 79184"/>
                <a:gd name="connsiteX2" fmla="*/ 0 w 79184"/>
                <a:gd name="connsiteY2" fmla="*/ 39592 h 79184"/>
                <a:gd name="connsiteX3" fmla="*/ 39592 w 79184"/>
                <a:gd name="connsiteY3" fmla="*/ 0 h 79184"/>
                <a:gd name="connsiteX4" fmla="*/ 79185 w 79184"/>
                <a:gd name="connsiteY4" fmla="*/ 39592 h 79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184" h="79184">
                  <a:moveTo>
                    <a:pt x="79185" y="39592"/>
                  </a:moveTo>
                  <a:cubicBezTo>
                    <a:pt x="79185" y="61459"/>
                    <a:pt x="61459" y="79185"/>
                    <a:pt x="39592" y="79185"/>
                  </a:cubicBezTo>
                  <a:cubicBezTo>
                    <a:pt x="17726" y="79185"/>
                    <a:pt x="0" y="61459"/>
                    <a:pt x="0" y="39592"/>
                  </a:cubicBezTo>
                  <a:cubicBezTo>
                    <a:pt x="0" y="17726"/>
                    <a:pt x="17726" y="0"/>
                    <a:pt x="39592" y="0"/>
                  </a:cubicBezTo>
                  <a:cubicBezTo>
                    <a:pt x="61459" y="0"/>
                    <a:pt x="79185" y="17726"/>
                    <a:pt x="79185" y="39592"/>
                  </a:cubicBezTo>
                  <a:close/>
                </a:path>
              </a:pathLst>
            </a:custGeom>
            <a:grpFill/>
            <a:ln w="6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</p:spTree>
    <p:extLst>
      <p:ext uri="{BB962C8B-B14F-4D97-AF65-F5344CB8AC3E}">
        <p14:creationId xmlns:p14="http://schemas.microsoft.com/office/powerpoint/2010/main" val="37508261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3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D2E42E2-2AE3-49DB-A2E7-A2EBC49C4DAD}"/>
              </a:ext>
            </a:extLst>
          </p:cNvPr>
          <p:cNvSpPr/>
          <p:nvPr/>
        </p:nvSpPr>
        <p:spPr>
          <a:xfrm>
            <a:off x="0" y="0"/>
            <a:ext cx="10818030" cy="215248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31200" y="241160"/>
            <a:ext cx="10058609" cy="18304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19745" name="Graphic 6">
            <a:extLst>
              <a:ext uri="{FF2B5EF4-FFF2-40B4-BE49-F238E27FC236}">
                <a16:creationId xmlns:a16="http://schemas.microsoft.com/office/drawing/2014/main" id="{106937C6-C0E0-4E1F-B68B-FC54CDB323FF}"/>
              </a:ext>
            </a:extLst>
          </p:cNvPr>
          <p:cNvGrpSpPr/>
          <p:nvPr/>
        </p:nvGrpSpPr>
        <p:grpSpPr>
          <a:xfrm>
            <a:off x="10850303" y="1983544"/>
            <a:ext cx="996704" cy="832744"/>
            <a:chOff x="675385" y="4919794"/>
            <a:chExt cx="1876897" cy="1568143"/>
          </a:xfrm>
        </p:grpSpPr>
        <p:sp>
          <p:nvSpPr>
            <p:cNvPr id="19746" name="Freeform: Shape 19745">
              <a:extLst>
                <a:ext uri="{FF2B5EF4-FFF2-40B4-BE49-F238E27FC236}">
                  <a16:creationId xmlns:a16="http://schemas.microsoft.com/office/drawing/2014/main" id="{8C3B3E00-D1C1-453B-8A8C-BB9AA64779E4}"/>
                </a:ext>
              </a:extLst>
            </p:cNvPr>
            <p:cNvSpPr/>
            <p:nvPr/>
          </p:nvSpPr>
          <p:spPr>
            <a:xfrm>
              <a:off x="881654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solidFill>
              <a:schemeClr val="accent4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9747" name="Freeform: Shape 19746">
              <a:extLst>
                <a:ext uri="{FF2B5EF4-FFF2-40B4-BE49-F238E27FC236}">
                  <a16:creationId xmlns:a16="http://schemas.microsoft.com/office/drawing/2014/main" id="{0DCCBABF-42E0-48A1-9F81-4EFE005A8E45}"/>
                </a:ext>
              </a:extLst>
            </p:cNvPr>
            <p:cNvSpPr/>
            <p:nvPr/>
          </p:nvSpPr>
          <p:spPr>
            <a:xfrm>
              <a:off x="1473513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solidFill>
              <a:schemeClr val="accent4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9748" name="Freeform: Shape 19747">
              <a:extLst>
                <a:ext uri="{FF2B5EF4-FFF2-40B4-BE49-F238E27FC236}">
                  <a16:creationId xmlns:a16="http://schemas.microsoft.com/office/drawing/2014/main" id="{77795AA3-A3E1-4CA9-BBC5-44FA2418EB5C}"/>
                </a:ext>
              </a:extLst>
            </p:cNvPr>
            <p:cNvSpPr/>
            <p:nvPr/>
          </p:nvSpPr>
          <p:spPr>
            <a:xfrm>
              <a:off x="673859" y="4919793"/>
              <a:ext cx="1879452" cy="1570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5"/>
                </a:gs>
                <a:gs pos="0">
                  <a:schemeClr val="accent4"/>
                </a:gs>
              </a:gsLst>
              <a:lin ang="10800000" scaled="1"/>
              <a:tileRect/>
            </a:gra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4375D9D-C6D8-4834-B55B-16C24A9A3694}"/>
              </a:ext>
            </a:extLst>
          </p:cNvPr>
          <p:cNvSpPr/>
          <p:nvPr/>
        </p:nvSpPr>
        <p:spPr>
          <a:xfrm>
            <a:off x="1" y="1983544"/>
            <a:ext cx="10818030" cy="172489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gradFill>
            <a:gsLst>
              <a:gs pos="76991">
                <a:schemeClr val="accent4"/>
              </a:gs>
              <a:gs pos="31000">
                <a:schemeClr val="accent5"/>
              </a:gs>
            </a:gsLst>
            <a:lin ang="18000000" scaled="0"/>
          </a:gra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1503890-47D5-4FF4-8DCC-5562B33E13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1199" y="2312723"/>
            <a:ext cx="10386829" cy="4078384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6150467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3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A44483-E96C-4198-8A6B-48BB0F8003C7}"/>
              </a:ext>
            </a:extLst>
          </p:cNvPr>
          <p:cNvSpPr/>
          <p:nvPr/>
        </p:nvSpPr>
        <p:spPr>
          <a:xfrm>
            <a:off x="8561372" y="1"/>
            <a:ext cx="3630627" cy="6857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Rectangle 25">
            <a:extLst>
              <a:ext uri="{FF2B5EF4-FFF2-40B4-BE49-F238E27FC236}">
                <a16:creationId xmlns:a16="http://schemas.microsoft.com/office/drawing/2014/main" id="{AC1E6B13-219F-4B1C-888F-5C7357B26B0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91492" y="251668"/>
            <a:ext cx="7781080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B457ED1-0A11-495A-81BE-3F6796DD4C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0200" y="1869831"/>
            <a:ext cx="2549497" cy="257851"/>
          </a:xfrm>
          <a:prstGeom prst="rect">
            <a:avLst/>
          </a:prstGeom>
        </p:spPr>
      </p:pic>
      <p:sp>
        <p:nvSpPr>
          <p:cNvPr id="175" name="Freeform: Shape 174">
            <a:extLst>
              <a:ext uri="{FF2B5EF4-FFF2-40B4-BE49-F238E27FC236}">
                <a16:creationId xmlns:a16="http://schemas.microsoft.com/office/drawing/2014/main" id="{A90AAA32-1D59-4A02-BEBD-B48E5A44A9AA}"/>
              </a:ext>
            </a:extLst>
          </p:cNvPr>
          <p:cNvSpPr/>
          <p:nvPr/>
        </p:nvSpPr>
        <p:spPr>
          <a:xfrm>
            <a:off x="9305502" y="2467601"/>
            <a:ext cx="2464405" cy="2151152"/>
          </a:xfrm>
          <a:custGeom>
            <a:avLst/>
            <a:gdLst>
              <a:gd name="connsiteX0" fmla="*/ 693622 w 2464405"/>
              <a:gd name="connsiteY0" fmla="*/ 2056673 h 2151152"/>
              <a:gd name="connsiteX1" fmla="*/ 709674 w 2464405"/>
              <a:gd name="connsiteY1" fmla="*/ 2061028 h 2151152"/>
              <a:gd name="connsiteX2" fmla="*/ 705319 w 2464405"/>
              <a:gd name="connsiteY2" fmla="*/ 2077081 h 2151152"/>
              <a:gd name="connsiteX3" fmla="*/ 689266 w 2464405"/>
              <a:gd name="connsiteY3" fmla="*/ 2072726 h 2151152"/>
              <a:gd name="connsiteX4" fmla="*/ 972808 w 2464405"/>
              <a:gd name="connsiteY4" fmla="*/ 2046531 h 2151152"/>
              <a:gd name="connsiteX5" fmla="*/ 976731 w 2464405"/>
              <a:gd name="connsiteY5" fmla="*/ 2057398 h 2151152"/>
              <a:gd name="connsiteX6" fmla="*/ 965864 w 2464405"/>
              <a:gd name="connsiteY6" fmla="*/ 2061322 h 2151152"/>
              <a:gd name="connsiteX7" fmla="*/ 961940 w 2464405"/>
              <a:gd name="connsiteY7" fmla="*/ 2050454 h 2151152"/>
              <a:gd name="connsiteX8" fmla="*/ 523710 w 2464405"/>
              <a:gd name="connsiteY8" fmla="*/ 2040732 h 2151152"/>
              <a:gd name="connsiteX9" fmla="*/ 534936 w 2464405"/>
              <a:gd name="connsiteY9" fmla="*/ 2096357 h 2151152"/>
              <a:gd name="connsiteX10" fmla="*/ 479311 w 2464405"/>
              <a:gd name="connsiteY10" fmla="*/ 2107584 h 2151152"/>
              <a:gd name="connsiteX11" fmla="*/ 468085 w 2464405"/>
              <a:gd name="connsiteY11" fmla="*/ 2051958 h 2151152"/>
              <a:gd name="connsiteX12" fmla="*/ 480493 w 2464405"/>
              <a:gd name="connsiteY12" fmla="*/ 2025521 h 2151152"/>
              <a:gd name="connsiteX13" fmla="*/ 488639 w 2464405"/>
              <a:gd name="connsiteY13" fmla="*/ 2039695 h 2151152"/>
              <a:gd name="connsiteX14" fmla="*/ 474465 w 2464405"/>
              <a:gd name="connsiteY14" fmla="*/ 2047840 h 2151152"/>
              <a:gd name="connsiteX15" fmla="*/ 466319 w 2464405"/>
              <a:gd name="connsiteY15" fmla="*/ 2033667 h 2151152"/>
              <a:gd name="connsiteX16" fmla="*/ 346664 w 2464405"/>
              <a:gd name="connsiteY16" fmla="*/ 1995001 h 2151152"/>
              <a:gd name="connsiteX17" fmla="*/ 374373 w 2464405"/>
              <a:gd name="connsiteY17" fmla="*/ 2035469 h 2151152"/>
              <a:gd name="connsiteX18" fmla="*/ 333905 w 2464405"/>
              <a:gd name="connsiteY18" fmla="*/ 2063177 h 2151152"/>
              <a:gd name="connsiteX19" fmla="*/ 306196 w 2464405"/>
              <a:gd name="connsiteY19" fmla="*/ 2022710 h 2151152"/>
              <a:gd name="connsiteX20" fmla="*/ 1146188 w 2464405"/>
              <a:gd name="connsiteY20" fmla="*/ 1974613 h 2151152"/>
              <a:gd name="connsiteX21" fmla="*/ 1220168 w 2464405"/>
              <a:gd name="connsiteY21" fmla="*/ 1975969 h 2151152"/>
              <a:gd name="connsiteX22" fmla="*/ 1218812 w 2464405"/>
              <a:gd name="connsiteY22" fmla="*/ 2049949 h 2151152"/>
              <a:gd name="connsiteX23" fmla="*/ 1144832 w 2464405"/>
              <a:gd name="connsiteY23" fmla="*/ 2048593 h 2151152"/>
              <a:gd name="connsiteX24" fmla="*/ 1058611 w 2464405"/>
              <a:gd name="connsiteY24" fmla="*/ 1960156 h 2151152"/>
              <a:gd name="connsiteX25" fmla="*/ 1085009 w 2464405"/>
              <a:gd name="connsiteY25" fmla="*/ 1981116 h 2151152"/>
              <a:gd name="connsiteX26" fmla="*/ 1064049 w 2464405"/>
              <a:gd name="connsiteY26" fmla="*/ 2007515 h 2151152"/>
              <a:gd name="connsiteX27" fmla="*/ 1037650 w 2464405"/>
              <a:gd name="connsiteY27" fmla="*/ 1986554 h 2151152"/>
              <a:gd name="connsiteX28" fmla="*/ 213347 w 2464405"/>
              <a:gd name="connsiteY28" fmla="*/ 1908424 h 2151152"/>
              <a:gd name="connsiteX29" fmla="*/ 291424 w 2464405"/>
              <a:gd name="connsiteY29" fmla="*/ 1981616 h 2151152"/>
              <a:gd name="connsiteX30" fmla="*/ 218233 w 2464405"/>
              <a:gd name="connsiteY30" fmla="*/ 2059693 h 2151152"/>
              <a:gd name="connsiteX31" fmla="*/ 140155 w 2464405"/>
              <a:gd name="connsiteY31" fmla="*/ 1986502 h 2151152"/>
              <a:gd name="connsiteX32" fmla="*/ 460394 w 2464405"/>
              <a:gd name="connsiteY32" fmla="*/ 1900581 h 2151152"/>
              <a:gd name="connsiteX33" fmla="*/ 463440 w 2464405"/>
              <a:gd name="connsiteY33" fmla="*/ 1914812 h 2151152"/>
              <a:gd name="connsiteX34" fmla="*/ 449209 w 2464405"/>
              <a:gd name="connsiteY34" fmla="*/ 1917858 h 2151152"/>
              <a:gd name="connsiteX35" fmla="*/ 446163 w 2464405"/>
              <a:gd name="connsiteY35" fmla="*/ 1903626 h 2151152"/>
              <a:gd name="connsiteX36" fmla="*/ 766279 w 2464405"/>
              <a:gd name="connsiteY36" fmla="*/ 1898540 h 2151152"/>
              <a:gd name="connsiteX37" fmla="*/ 821863 w 2464405"/>
              <a:gd name="connsiteY37" fmla="*/ 1903364 h 2151152"/>
              <a:gd name="connsiteX38" fmla="*/ 817039 w 2464405"/>
              <a:gd name="connsiteY38" fmla="*/ 1958948 h 2151152"/>
              <a:gd name="connsiteX39" fmla="*/ 761455 w 2464405"/>
              <a:gd name="connsiteY39" fmla="*/ 1954124 h 2151152"/>
              <a:gd name="connsiteX40" fmla="*/ 1473418 w 2464405"/>
              <a:gd name="connsiteY40" fmla="*/ 1871606 h 2151152"/>
              <a:gd name="connsiteX41" fmla="*/ 1478472 w 2464405"/>
              <a:gd name="connsiteY41" fmla="*/ 1873831 h 2151152"/>
              <a:gd name="connsiteX42" fmla="*/ 1476247 w 2464405"/>
              <a:gd name="connsiteY42" fmla="*/ 1878885 h 2151152"/>
              <a:gd name="connsiteX43" fmla="*/ 1471193 w 2464405"/>
              <a:gd name="connsiteY43" fmla="*/ 1876660 h 2151152"/>
              <a:gd name="connsiteX44" fmla="*/ 1009249 w 2464405"/>
              <a:gd name="connsiteY44" fmla="*/ 1863590 h 2151152"/>
              <a:gd name="connsiteX45" fmla="*/ 1026046 w 2464405"/>
              <a:gd name="connsiteY45" fmla="*/ 1971594 h 2151152"/>
              <a:gd name="connsiteX46" fmla="*/ 932541 w 2464405"/>
              <a:gd name="connsiteY46" fmla="*/ 1986136 h 2151152"/>
              <a:gd name="connsiteX47" fmla="*/ 935267 w 2464405"/>
              <a:gd name="connsiteY47" fmla="*/ 2004734 h 2151152"/>
              <a:gd name="connsiteX48" fmla="*/ 905005 w 2464405"/>
              <a:gd name="connsiteY48" fmla="*/ 2009171 h 2151152"/>
              <a:gd name="connsiteX49" fmla="*/ 919663 w 2464405"/>
              <a:gd name="connsiteY49" fmla="*/ 2012196 h 2151152"/>
              <a:gd name="connsiteX50" fmla="*/ 890987 w 2464405"/>
              <a:gd name="connsiteY50" fmla="*/ 2151152 h 2151152"/>
              <a:gd name="connsiteX51" fmla="*/ 752030 w 2464405"/>
              <a:gd name="connsiteY51" fmla="*/ 2122476 h 2151152"/>
              <a:gd name="connsiteX52" fmla="*/ 780706 w 2464405"/>
              <a:gd name="connsiteY52" fmla="*/ 1983520 h 2151152"/>
              <a:gd name="connsiteX53" fmla="*/ 856390 w 2464405"/>
              <a:gd name="connsiteY53" fmla="*/ 1999139 h 2151152"/>
              <a:gd name="connsiteX54" fmla="*/ 849863 w 2464405"/>
              <a:gd name="connsiteY54" fmla="*/ 1954614 h 2151152"/>
              <a:gd name="connsiteX55" fmla="*/ 844621 w 2464405"/>
              <a:gd name="connsiteY55" fmla="*/ 1968807 h 2151152"/>
              <a:gd name="connsiteX56" fmla="*/ 825725 w 2464405"/>
              <a:gd name="connsiteY56" fmla="*/ 1961829 h 2151152"/>
              <a:gd name="connsiteX57" fmla="*/ 832703 w 2464405"/>
              <a:gd name="connsiteY57" fmla="*/ 1942933 h 2151152"/>
              <a:gd name="connsiteX58" fmla="*/ 849034 w 2464405"/>
              <a:gd name="connsiteY58" fmla="*/ 1948965 h 2151152"/>
              <a:gd name="connsiteX59" fmla="*/ 847650 w 2464405"/>
              <a:gd name="connsiteY59" fmla="*/ 1939522 h 2151152"/>
              <a:gd name="connsiteX60" fmla="*/ 909042 w 2464405"/>
              <a:gd name="connsiteY60" fmla="*/ 1930523 h 2151152"/>
              <a:gd name="connsiteX61" fmla="*/ 901245 w 2464405"/>
              <a:gd name="connsiteY61" fmla="*/ 1880387 h 2151152"/>
              <a:gd name="connsiteX62" fmla="*/ 1312455 w 2464405"/>
              <a:gd name="connsiteY62" fmla="*/ 1861596 h 2151152"/>
              <a:gd name="connsiteX63" fmla="*/ 1330924 w 2464405"/>
              <a:gd name="connsiteY63" fmla="*/ 1899016 h 2151152"/>
              <a:gd name="connsiteX64" fmla="*/ 1343680 w 2464405"/>
              <a:gd name="connsiteY64" fmla="*/ 1871295 h 2151152"/>
              <a:gd name="connsiteX65" fmla="*/ 1427432 w 2464405"/>
              <a:gd name="connsiteY65" fmla="*/ 1909833 h 2151152"/>
              <a:gd name="connsiteX66" fmla="*/ 1388893 w 2464405"/>
              <a:gd name="connsiteY66" fmla="*/ 1993585 h 2151152"/>
              <a:gd name="connsiteX67" fmla="*/ 1318144 w 2464405"/>
              <a:gd name="connsiteY67" fmla="*/ 1961029 h 2151152"/>
              <a:gd name="connsiteX68" fmla="*/ 1270820 w 2464405"/>
              <a:gd name="connsiteY68" fmla="*/ 1984387 h 2151152"/>
              <a:gd name="connsiteX69" fmla="*/ 1230242 w 2464405"/>
              <a:gd name="connsiteY69" fmla="*/ 1902174 h 2151152"/>
              <a:gd name="connsiteX70" fmla="*/ 227637 w 2464405"/>
              <a:gd name="connsiteY70" fmla="*/ 1857393 h 2151152"/>
              <a:gd name="connsiteX71" fmla="*/ 235633 w 2464405"/>
              <a:gd name="connsiteY71" fmla="*/ 1868686 h 2151152"/>
              <a:gd name="connsiteX72" fmla="*/ 224340 w 2464405"/>
              <a:gd name="connsiteY72" fmla="*/ 1876683 h 2151152"/>
              <a:gd name="connsiteX73" fmla="*/ 216343 w 2464405"/>
              <a:gd name="connsiteY73" fmla="*/ 1865389 h 2151152"/>
              <a:gd name="connsiteX74" fmla="*/ 46706 w 2464405"/>
              <a:gd name="connsiteY74" fmla="*/ 1854312 h 2151152"/>
              <a:gd name="connsiteX75" fmla="*/ 66898 w 2464405"/>
              <a:gd name="connsiteY75" fmla="*/ 1901019 h 2151152"/>
              <a:gd name="connsiteX76" fmla="*/ 20192 w 2464405"/>
              <a:gd name="connsiteY76" fmla="*/ 1921211 h 2151152"/>
              <a:gd name="connsiteX77" fmla="*/ 0 w 2464405"/>
              <a:gd name="connsiteY77" fmla="*/ 1874504 h 2151152"/>
              <a:gd name="connsiteX78" fmla="*/ 1291222 w 2464405"/>
              <a:gd name="connsiteY78" fmla="*/ 1844698 h 2151152"/>
              <a:gd name="connsiteX79" fmla="*/ 1298097 w 2464405"/>
              <a:gd name="connsiteY79" fmla="*/ 1850867 h 2151152"/>
              <a:gd name="connsiteX80" fmla="*/ 1291928 w 2464405"/>
              <a:gd name="connsiteY80" fmla="*/ 1857742 h 2151152"/>
              <a:gd name="connsiteX81" fmla="*/ 1285053 w 2464405"/>
              <a:gd name="connsiteY81" fmla="*/ 1851573 h 2151152"/>
              <a:gd name="connsiteX82" fmla="*/ 661311 w 2464405"/>
              <a:gd name="connsiteY82" fmla="*/ 1814969 h 2151152"/>
              <a:gd name="connsiteX83" fmla="*/ 756704 w 2464405"/>
              <a:gd name="connsiteY83" fmla="*/ 1869778 h 2151152"/>
              <a:gd name="connsiteX84" fmla="*/ 701895 w 2464405"/>
              <a:gd name="connsiteY84" fmla="*/ 1965171 h 2151152"/>
              <a:gd name="connsiteX85" fmla="*/ 664829 w 2464405"/>
              <a:gd name="connsiteY85" fmla="*/ 1943875 h 2151152"/>
              <a:gd name="connsiteX86" fmla="*/ 675385 w 2464405"/>
              <a:gd name="connsiteY86" fmla="*/ 2019082 h 2151152"/>
              <a:gd name="connsiteX87" fmla="*/ 663094 w 2464405"/>
              <a:gd name="connsiteY87" fmla="*/ 2020807 h 2151152"/>
              <a:gd name="connsiteX88" fmla="*/ 671338 w 2464405"/>
              <a:gd name="connsiteY88" fmla="*/ 2021837 h 2151152"/>
              <a:gd name="connsiteX89" fmla="*/ 669403 w 2464405"/>
              <a:gd name="connsiteY89" fmla="*/ 2037327 h 2151152"/>
              <a:gd name="connsiteX90" fmla="*/ 653913 w 2464405"/>
              <a:gd name="connsiteY90" fmla="*/ 2035392 h 2151152"/>
              <a:gd name="connsiteX91" fmla="*/ 655604 w 2464405"/>
              <a:gd name="connsiteY91" fmla="*/ 2021859 h 2151152"/>
              <a:gd name="connsiteX92" fmla="*/ 558639 w 2464405"/>
              <a:gd name="connsiteY92" fmla="*/ 2035469 h 2151152"/>
              <a:gd name="connsiteX93" fmla="*/ 545327 w 2464405"/>
              <a:gd name="connsiteY93" fmla="*/ 1940626 h 2151152"/>
              <a:gd name="connsiteX94" fmla="*/ 501419 w 2464405"/>
              <a:gd name="connsiteY94" fmla="*/ 1930052 h 2151152"/>
              <a:gd name="connsiteX95" fmla="*/ 513237 w 2464405"/>
              <a:gd name="connsiteY95" fmla="*/ 1880979 h 2151152"/>
              <a:gd name="connsiteX96" fmla="*/ 562310 w 2464405"/>
              <a:gd name="connsiteY96" fmla="*/ 1892797 h 2151152"/>
              <a:gd name="connsiteX97" fmla="*/ 556550 w 2464405"/>
              <a:gd name="connsiteY97" fmla="*/ 1916715 h 2151152"/>
              <a:gd name="connsiteX98" fmla="*/ 606913 w 2464405"/>
              <a:gd name="connsiteY98" fmla="*/ 1909646 h 2151152"/>
              <a:gd name="connsiteX99" fmla="*/ 746444 w 2464405"/>
              <a:gd name="connsiteY99" fmla="*/ 1814318 h 2151152"/>
              <a:gd name="connsiteX100" fmla="*/ 760131 w 2464405"/>
              <a:gd name="connsiteY100" fmla="*/ 1815470 h 2151152"/>
              <a:gd name="connsiteX101" fmla="*/ 758979 w 2464405"/>
              <a:gd name="connsiteY101" fmla="*/ 1829158 h 2151152"/>
              <a:gd name="connsiteX102" fmla="*/ 745292 w 2464405"/>
              <a:gd name="connsiteY102" fmla="*/ 1828006 h 2151152"/>
              <a:gd name="connsiteX103" fmla="*/ 566174 w 2464405"/>
              <a:gd name="connsiteY103" fmla="*/ 1804149 h 2151152"/>
              <a:gd name="connsiteX104" fmla="*/ 568120 w 2464405"/>
              <a:gd name="connsiteY104" fmla="*/ 1816506 h 2151152"/>
              <a:gd name="connsiteX105" fmla="*/ 555764 w 2464405"/>
              <a:gd name="connsiteY105" fmla="*/ 1818452 h 2151152"/>
              <a:gd name="connsiteX106" fmla="*/ 553818 w 2464405"/>
              <a:gd name="connsiteY106" fmla="*/ 1806095 h 2151152"/>
              <a:gd name="connsiteX107" fmla="*/ 1540788 w 2464405"/>
              <a:gd name="connsiteY107" fmla="*/ 1783013 h 2151152"/>
              <a:gd name="connsiteX108" fmla="*/ 1519110 w 2464405"/>
              <a:gd name="connsiteY108" fmla="*/ 1783342 h 2151152"/>
              <a:gd name="connsiteX109" fmla="*/ 1524347 w 2464405"/>
              <a:gd name="connsiteY109" fmla="*/ 1793953 h 2151152"/>
              <a:gd name="connsiteX110" fmla="*/ 1674925 w 2464405"/>
              <a:gd name="connsiteY110" fmla="*/ 1746674 h 2151152"/>
              <a:gd name="connsiteX111" fmla="*/ 1685749 w 2464405"/>
              <a:gd name="connsiteY111" fmla="*/ 1753343 h 2151152"/>
              <a:gd name="connsiteX112" fmla="*/ 1679080 w 2464405"/>
              <a:gd name="connsiteY112" fmla="*/ 1764165 h 2151152"/>
              <a:gd name="connsiteX113" fmla="*/ 1668257 w 2464405"/>
              <a:gd name="connsiteY113" fmla="*/ 1757496 h 2151152"/>
              <a:gd name="connsiteX114" fmla="*/ 1245271 w 2464405"/>
              <a:gd name="connsiteY114" fmla="*/ 1740131 h 2151152"/>
              <a:gd name="connsiteX115" fmla="*/ 1269984 w 2464405"/>
              <a:gd name="connsiteY115" fmla="*/ 1805739 h 2151152"/>
              <a:gd name="connsiteX116" fmla="*/ 1204376 w 2464405"/>
              <a:gd name="connsiteY116" fmla="*/ 1830452 h 2151152"/>
              <a:gd name="connsiteX117" fmla="*/ 1179663 w 2464405"/>
              <a:gd name="connsiteY117" fmla="*/ 1764844 h 2151152"/>
              <a:gd name="connsiteX118" fmla="*/ 1311004 w 2464405"/>
              <a:gd name="connsiteY118" fmla="*/ 1733028 h 2151152"/>
              <a:gd name="connsiteX119" fmla="*/ 1382405 w 2464405"/>
              <a:gd name="connsiteY119" fmla="*/ 1749040 h 2151152"/>
              <a:gd name="connsiteX120" fmla="*/ 1366392 w 2464405"/>
              <a:gd name="connsiteY120" fmla="*/ 1820442 h 2151152"/>
              <a:gd name="connsiteX121" fmla="*/ 1294992 w 2464405"/>
              <a:gd name="connsiteY121" fmla="*/ 1804430 h 2151152"/>
              <a:gd name="connsiteX122" fmla="*/ 154450 w 2464405"/>
              <a:gd name="connsiteY122" fmla="*/ 1728630 h 2151152"/>
              <a:gd name="connsiteX123" fmla="*/ 218025 w 2464405"/>
              <a:gd name="connsiteY123" fmla="*/ 1778568 h 2151152"/>
              <a:gd name="connsiteX124" fmla="*/ 168087 w 2464405"/>
              <a:gd name="connsiteY124" fmla="*/ 1842143 h 2151152"/>
              <a:gd name="connsiteX125" fmla="*/ 104512 w 2464405"/>
              <a:gd name="connsiteY125" fmla="*/ 1792205 h 2151152"/>
              <a:gd name="connsiteX126" fmla="*/ 1559563 w 2464405"/>
              <a:gd name="connsiteY126" fmla="*/ 1718100 h 2151152"/>
              <a:gd name="connsiteX127" fmla="*/ 1560351 w 2464405"/>
              <a:gd name="connsiteY127" fmla="*/ 1769995 h 2151152"/>
              <a:gd name="connsiteX128" fmla="*/ 1592655 w 2464405"/>
              <a:gd name="connsiteY128" fmla="*/ 1748500 h 2151152"/>
              <a:gd name="connsiteX129" fmla="*/ 1640329 w 2464405"/>
              <a:gd name="connsiteY129" fmla="*/ 1820146 h 2151152"/>
              <a:gd name="connsiteX130" fmla="*/ 1568683 w 2464405"/>
              <a:gd name="connsiteY130" fmla="*/ 1867820 h 2151152"/>
              <a:gd name="connsiteX131" fmla="*/ 1538180 w 2464405"/>
              <a:gd name="connsiteY131" fmla="*/ 1821978 h 2151152"/>
              <a:gd name="connsiteX132" fmla="*/ 1543955 w 2464405"/>
              <a:gd name="connsiteY132" fmla="*/ 1833680 h 2151152"/>
              <a:gd name="connsiteX133" fmla="*/ 1461742 w 2464405"/>
              <a:gd name="connsiteY133" fmla="*/ 1874258 h 2151152"/>
              <a:gd name="connsiteX134" fmla="*/ 1433551 w 2464405"/>
              <a:gd name="connsiteY134" fmla="*/ 1817142 h 2151152"/>
              <a:gd name="connsiteX135" fmla="*/ 1396402 w 2464405"/>
              <a:gd name="connsiteY135" fmla="*/ 1816078 h 2151152"/>
              <a:gd name="connsiteX136" fmla="*/ 1398229 w 2464405"/>
              <a:gd name="connsiteY136" fmla="*/ 1752268 h 2151152"/>
              <a:gd name="connsiteX137" fmla="*/ 1462039 w 2464405"/>
              <a:gd name="connsiteY137" fmla="*/ 1754095 h 2151152"/>
              <a:gd name="connsiteX138" fmla="*/ 1461523 w 2464405"/>
              <a:gd name="connsiteY138" fmla="*/ 1772125 h 2151152"/>
              <a:gd name="connsiteX139" fmla="*/ 1495502 w 2464405"/>
              <a:gd name="connsiteY139" fmla="*/ 1755354 h 2151152"/>
              <a:gd name="connsiteX140" fmla="*/ 1494951 w 2464405"/>
              <a:gd name="connsiteY140" fmla="*/ 1719081 h 2151152"/>
              <a:gd name="connsiteX141" fmla="*/ 374352 w 2464405"/>
              <a:gd name="connsiteY141" fmla="*/ 1712315 h 2151152"/>
              <a:gd name="connsiteX142" fmla="*/ 428961 w 2464405"/>
              <a:gd name="connsiteY142" fmla="*/ 1827946 h 2151152"/>
              <a:gd name="connsiteX143" fmla="*/ 313330 w 2464405"/>
              <a:gd name="connsiteY143" fmla="*/ 1882555 h 2151152"/>
              <a:gd name="connsiteX144" fmla="*/ 258721 w 2464405"/>
              <a:gd name="connsiteY144" fmla="*/ 1766924 h 2151152"/>
              <a:gd name="connsiteX145" fmla="*/ 1379553 w 2464405"/>
              <a:gd name="connsiteY145" fmla="*/ 1694479 h 2151152"/>
              <a:gd name="connsiteX146" fmla="*/ 1388280 w 2464405"/>
              <a:gd name="connsiteY146" fmla="*/ 1703007 h 2151152"/>
              <a:gd name="connsiteX147" fmla="*/ 1379752 w 2464405"/>
              <a:gd name="connsiteY147" fmla="*/ 1711734 h 2151152"/>
              <a:gd name="connsiteX148" fmla="*/ 1371025 w 2464405"/>
              <a:gd name="connsiteY148" fmla="*/ 1703206 h 2151152"/>
              <a:gd name="connsiteX149" fmla="*/ 1213302 w 2464405"/>
              <a:gd name="connsiteY149" fmla="*/ 1684889 h 2151152"/>
              <a:gd name="connsiteX150" fmla="*/ 1216187 w 2464405"/>
              <a:gd name="connsiteY150" fmla="*/ 1689111 h 2151152"/>
              <a:gd name="connsiteX151" fmla="*/ 1211965 w 2464405"/>
              <a:gd name="connsiteY151" fmla="*/ 1691995 h 2151152"/>
              <a:gd name="connsiteX152" fmla="*/ 1209081 w 2464405"/>
              <a:gd name="connsiteY152" fmla="*/ 1687773 h 2151152"/>
              <a:gd name="connsiteX153" fmla="*/ 1046408 w 2464405"/>
              <a:gd name="connsiteY153" fmla="*/ 1680220 h 2151152"/>
              <a:gd name="connsiteX154" fmla="*/ 1135718 w 2464405"/>
              <a:gd name="connsiteY154" fmla="*/ 1723587 h 2151152"/>
              <a:gd name="connsiteX155" fmla="*/ 1109229 w 2464405"/>
              <a:gd name="connsiteY155" fmla="*/ 1778138 h 2151152"/>
              <a:gd name="connsiteX156" fmla="*/ 1178950 w 2464405"/>
              <a:gd name="connsiteY156" fmla="*/ 1801623 h 2151152"/>
              <a:gd name="connsiteX157" fmla="*/ 1151141 w 2464405"/>
              <a:gd name="connsiteY157" fmla="*/ 1884181 h 2151152"/>
              <a:gd name="connsiteX158" fmla="*/ 1189176 w 2464405"/>
              <a:gd name="connsiteY158" fmla="*/ 1896290 h 2151152"/>
              <a:gd name="connsiteX159" fmla="*/ 1173356 w 2464405"/>
              <a:gd name="connsiteY159" fmla="*/ 1945979 h 2151152"/>
              <a:gd name="connsiteX160" fmla="*/ 1123668 w 2464405"/>
              <a:gd name="connsiteY160" fmla="*/ 1930159 h 2151152"/>
              <a:gd name="connsiteX161" fmla="*/ 1135535 w 2464405"/>
              <a:gd name="connsiteY161" fmla="*/ 1892884 h 2151152"/>
              <a:gd name="connsiteX162" fmla="*/ 1051823 w 2464405"/>
              <a:gd name="connsiteY162" fmla="*/ 1864686 h 2151152"/>
              <a:gd name="connsiteX163" fmla="*/ 1072513 w 2464405"/>
              <a:gd name="connsiteY163" fmla="*/ 1803264 h 2151152"/>
              <a:gd name="connsiteX164" fmla="*/ 1007548 w 2464405"/>
              <a:gd name="connsiteY164" fmla="*/ 1771718 h 2151152"/>
              <a:gd name="connsiteX165" fmla="*/ 1028197 w 2464405"/>
              <a:gd name="connsiteY165" fmla="*/ 1833019 h 2151152"/>
              <a:gd name="connsiteX166" fmla="*/ 951298 w 2464405"/>
              <a:gd name="connsiteY166" fmla="*/ 1858922 h 2151152"/>
              <a:gd name="connsiteX167" fmla="*/ 939149 w 2464405"/>
              <a:gd name="connsiteY167" fmla="*/ 1822852 h 2151152"/>
              <a:gd name="connsiteX168" fmla="*/ 858824 w 2464405"/>
              <a:gd name="connsiteY168" fmla="*/ 1897104 h 2151152"/>
              <a:gd name="connsiteX169" fmla="*/ 773711 w 2464405"/>
              <a:gd name="connsiteY169" fmla="*/ 1805028 h 2151152"/>
              <a:gd name="connsiteX170" fmla="*/ 865787 w 2464405"/>
              <a:gd name="connsiteY170" fmla="*/ 1719914 h 2151152"/>
              <a:gd name="connsiteX171" fmla="*/ 926656 w 2464405"/>
              <a:gd name="connsiteY171" fmla="*/ 1785762 h 2151152"/>
              <a:gd name="connsiteX172" fmla="*/ 925396 w 2464405"/>
              <a:gd name="connsiteY172" fmla="*/ 1782023 h 2151152"/>
              <a:gd name="connsiteX173" fmla="*/ 1002294 w 2464405"/>
              <a:gd name="connsiteY173" fmla="*/ 1756120 h 2151152"/>
              <a:gd name="connsiteX174" fmla="*/ 1005267 w 2464405"/>
              <a:gd name="connsiteY174" fmla="*/ 1764947 h 2151152"/>
              <a:gd name="connsiteX175" fmla="*/ 1469396 w 2464405"/>
              <a:gd name="connsiteY175" fmla="*/ 1660405 h 2151152"/>
              <a:gd name="connsiteX176" fmla="*/ 1498736 w 2464405"/>
              <a:gd name="connsiteY176" fmla="*/ 1683526 h 2151152"/>
              <a:gd name="connsiteX177" fmla="*/ 1475615 w 2464405"/>
              <a:gd name="connsiteY177" fmla="*/ 1712866 h 2151152"/>
              <a:gd name="connsiteX178" fmla="*/ 1446275 w 2464405"/>
              <a:gd name="connsiteY178" fmla="*/ 1689745 h 2151152"/>
              <a:gd name="connsiteX179" fmla="*/ 1562094 w 2464405"/>
              <a:gd name="connsiteY179" fmla="*/ 1637991 h 2151152"/>
              <a:gd name="connsiteX180" fmla="*/ 1563213 w 2464405"/>
              <a:gd name="connsiteY180" fmla="*/ 1646506 h 2151152"/>
              <a:gd name="connsiteX181" fmla="*/ 1554697 w 2464405"/>
              <a:gd name="connsiteY181" fmla="*/ 1647625 h 2151152"/>
              <a:gd name="connsiteX182" fmla="*/ 1553579 w 2464405"/>
              <a:gd name="connsiteY182" fmla="*/ 1639109 h 2151152"/>
              <a:gd name="connsiteX183" fmla="*/ 1314629 w 2464405"/>
              <a:gd name="connsiteY183" fmla="*/ 1629416 h 2151152"/>
              <a:gd name="connsiteX184" fmla="*/ 1330429 w 2464405"/>
              <a:gd name="connsiteY184" fmla="*/ 1665359 h 2151152"/>
              <a:gd name="connsiteX185" fmla="*/ 1294486 w 2464405"/>
              <a:gd name="connsiteY185" fmla="*/ 1681160 h 2151152"/>
              <a:gd name="connsiteX186" fmla="*/ 1286477 w 2464405"/>
              <a:gd name="connsiteY186" fmla="*/ 1662942 h 2151152"/>
              <a:gd name="connsiteX187" fmla="*/ 1290305 w 2464405"/>
              <a:gd name="connsiteY187" fmla="*/ 1717622 h 2151152"/>
              <a:gd name="connsiteX188" fmla="*/ 1221937 w 2464405"/>
              <a:gd name="connsiteY188" fmla="*/ 1722408 h 2151152"/>
              <a:gd name="connsiteX189" fmla="*/ 1217151 w 2464405"/>
              <a:gd name="connsiteY189" fmla="*/ 1654040 h 2151152"/>
              <a:gd name="connsiteX190" fmla="*/ 1280611 w 2464405"/>
              <a:gd name="connsiteY190" fmla="*/ 1649597 h 2151152"/>
              <a:gd name="connsiteX191" fmla="*/ 1278685 w 2464405"/>
              <a:gd name="connsiteY191" fmla="*/ 1645216 h 2151152"/>
              <a:gd name="connsiteX192" fmla="*/ 1813095 w 2464405"/>
              <a:gd name="connsiteY192" fmla="*/ 1615343 h 2151152"/>
              <a:gd name="connsiteX193" fmla="*/ 1818358 w 2464405"/>
              <a:gd name="connsiteY193" fmla="*/ 1624779 h 2151152"/>
              <a:gd name="connsiteX194" fmla="*/ 1808922 w 2464405"/>
              <a:gd name="connsiteY194" fmla="*/ 1630042 h 2151152"/>
              <a:gd name="connsiteX195" fmla="*/ 1803660 w 2464405"/>
              <a:gd name="connsiteY195" fmla="*/ 1620606 h 2151152"/>
              <a:gd name="connsiteX196" fmla="*/ 1535500 w 2464405"/>
              <a:gd name="connsiteY196" fmla="*/ 1603635 h 2151152"/>
              <a:gd name="connsiteX197" fmla="*/ 1555046 w 2464405"/>
              <a:gd name="connsiteY197" fmla="*/ 1613088 h 2151152"/>
              <a:gd name="connsiteX198" fmla="*/ 1545593 w 2464405"/>
              <a:gd name="connsiteY198" fmla="*/ 1632632 h 2151152"/>
              <a:gd name="connsiteX199" fmla="*/ 1526048 w 2464405"/>
              <a:gd name="connsiteY199" fmla="*/ 1623179 h 2151152"/>
              <a:gd name="connsiteX200" fmla="*/ 1429876 w 2464405"/>
              <a:gd name="connsiteY200" fmla="*/ 1524125 h 2151152"/>
              <a:gd name="connsiteX201" fmla="*/ 1457551 w 2464405"/>
              <a:gd name="connsiteY201" fmla="*/ 1612707 h 2151152"/>
              <a:gd name="connsiteX202" fmla="*/ 1368968 w 2464405"/>
              <a:gd name="connsiteY202" fmla="*/ 1640383 h 2151152"/>
              <a:gd name="connsiteX203" fmla="*/ 1341293 w 2464405"/>
              <a:gd name="connsiteY203" fmla="*/ 1551800 h 2151152"/>
              <a:gd name="connsiteX204" fmla="*/ 1506014 w 2464405"/>
              <a:gd name="connsiteY204" fmla="*/ 1511672 h 2151152"/>
              <a:gd name="connsiteX205" fmla="*/ 1547641 w 2464405"/>
              <a:gd name="connsiteY205" fmla="*/ 1573368 h 2151152"/>
              <a:gd name="connsiteX206" fmla="*/ 1485944 w 2464405"/>
              <a:gd name="connsiteY206" fmla="*/ 1614995 h 2151152"/>
              <a:gd name="connsiteX207" fmla="*/ 1444318 w 2464405"/>
              <a:gd name="connsiteY207" fmla="*/ 1553298 h 2151152"/>
              <a:gd name="connsiteX208" fmla="*/ 1625937 w 2464405"/>
              <a:gd name="connsiteY208" fmla="*/ 1480057 h 2151152"/>
              <a:gd name="connsiteX209" fmla="*/ 1636030 w 2464405"/>
              <a:gd name="connsiteY209" fmla="*/ 1485819 h 2151152"/>
              <a:gd name="connsiteX210" fmla="*/ 1630269 w 2464405"/>
              <a:gd name="connsiteY210" fmla="*/ 1495912 h 2151152"/>
              <a:gd name="connsiteX211" fmla="*/ 1620175 w 2464405"/>
              <a:gd name="connsiteY211" fmla="*/ 1490150 h 2151152"/>
              <a:gd name="connsiteX212" fmla="*/ 1562081 w 2464405"/>
              <a:gd name="connsiteY212" fmla="*/ 1439942 h 2151152"/>
              <a:gd name="connsiteX213" fmla="*/ 1594495 w 2464405"/>
              <a:gd name="connsiteY213" fmla="*/ 1501684 h 2151152"/>
              <a:gd name="connsiteX214" fmla="*/ 1532755 w 2464405"/>
              <a:gd name="connsiteY214" fmla="*/ 1534098 h 2151152"/>
              <a:gd name="connsiteX215" fmla="*/ 1500340 w 2464405"/>
              <a:gd name="connsiteY215" fmla="*/ 1472357 h 2151152"/>
              <a:gd name="connsiteX216" fmla="*/ 1733481 w 2464405"/>
              <a:gd name="connsiteY216" fmla="*/ 1427471 h 2151152"/>
              <a:gd name="connsiteX217" fmla="*/ 1735752 w 2464405"/>
              <a:gd name="connsiteY217" fmla="*/ 1435082 h 2151152"/>
              <a:gd name="connsiteX218" fmla="*/ 1728142 w 2464405"/>
              <a:gd name="connsiteY218" fmla="*/ 1437352 h 2151152"/>
              <a:gd name="connsiteX219" fmla="*/ 1725872 w 2464405"/>
              <a:gd name="connsiteY219" fmla="*/ 1429741 h 2151152"/>
              <a:gd name="connsiteX220" fmla="*/ 1897549 w 2464405"/>
              <a:gd name="connsiteY220" fmla="*/ 1424228 h 2151152"/>
              <a:gd name="connsiteX221" fmla="*/ 1890662 w 2464405"/>
              <a:gd name="connsiteY221" fmla="*/ 1424447 h 2151152"/>
              <a:gd name="connsiteX222" fmla="*/ 1890976 w 2464405"/>
              <a:gd name="connsiteY222" fmla="*/ 1427676 h 2151152"/>
              <a:gd name="connsiteX223" fmla="*/ 1898078 w 2464405"/>
              <a:gd name="connsiteY223" fmla="*/ 1425659 h 2151152"/>
              <a:gd name="connsiteX224" fmla="*/ 2006056 w 2464405"/>
              <a:gd name="connsiteY224" fmla="*/ 1420761 h 2151152"/>
              <a:gd name="connsiteX225" fmla="*/ 2016378 w 2464405"/>
              <a:gd name="connsiteY225" fmla="*/ 1426875 h 2151152"/>
              <a:gd name="connsiteX226" fmla="*/ 2010264 w 2464405"/>
              <a:gd name="connsiteY226" fmla="*/ 1437198 h 2151152"/>
              <a:gd name="connsiteX227" fmla="*/ 1999942 w 2464405"/>
              <a:gd name="connsiteY227" fmla="*/ 1431083 h 2151152"/>
              <a:gd name="connsiteX228" fmla="*/ 1647052 w 2464405"/>
              <a:gd name="connsiteY228" fmla="*/ 1385041 h 2151152"/>
              <a:gd name="connsiteX229" fmla="*/ 1662282 w 2464405"/>
              <a:gd name="connsiteY229" fmla="*/ 1390116 h 2151152"/>
              <a:gd name="connsiteX230" fmla="*/ 1657207 w 2464405"/>
              <a:gd name="connsiteY230" fmla="*/ 1405346 h 2151152"/>
              <a:gd name="connsiteX231" fmla="*/ 1641977 w 2464405"/>
              <a:gd name="connsiteY231" fmla="*/ 1400271 h 2151152"/>
              <a:gd name="connsiteX232" fmla="*/ 2059349 w 2464405"/>
              <a:gd name="connsiteY232" fmla="*/ 1344302 h 2151152"/>
              <a:gd name="connsiteX233" fmla="*/ 2061250 w 2464405"/>
              <a:gd name="connsiteY233" fmla="*/ 1360860 h 2151152"/>
              <a:gd name="connsiteX234" fmla="*/ 2044692 w 2464405"/>
              <a:gd name="connsiteY234" fmla="*/ 1362761 h 2151152"/>
              <a:gd name="connsiteX235" fmla="*/ 2042790 w 2464405"/>
              <a:gd name="connsiteY235" fmla="*/ 1346203 h 2151152"/>
              <a:gd name="connsiteX236" fmla="*/ 1714726 w 2464405"/>
              <a:gd name="connsiteY236" fmla="*/ 1328745 h 2151152"/>
              <a:gd name="connsiteX237" fmla="*/ 1715410 w 2464405"/>
              <a:gd name="connsiteY237" fmla="*/ 1337818 h 2151152"/>
              <a:gd name="connsiteX238" fmla="*/ 1706336 w 2464405"/>
              <a:gd name="connsiteY238" fmla="*/ 1338502 h 2151152"/>
              <a:gd name="connsiteX239" fmla="*/ 1705652 w 2464405"/>
              <a:gd name="connsiteY239" fmla="*/ 1329429 h 2151152"/>
              <a:gd name="connsiteX240" fmla="*/ 1979123 w 2464405"/>
              <a:gd name="connsiteY240" fmla="*/ 1189350 h 2151152"/>
              <a:gd name="connsiteX241" fmla="*/ 1946000 w 2464405"/>
              <a:gd name="connsiteY241" fmla="*/ 1209363 h 2151152"/>
              <a:gd name="connsiteX242" fmla="*/ 1972788 w 2464405"/>
              <a:gd name="connsiteY242" fmla="*/ 1228732 h 2151152"/>
              <a:gd name="connsiteX243" fmla="*/ 1982623 w 2464405"/>
              <a:gd name="connsiteY243" fmla="*/ 1194342 h 2151152"/>
              <a:gd name="connsiteX244" fmla="*/ 2155208 w 2464405"/>
              <a:gd name="connsiteY244" fmla="*/ 1169395 h 2151152"/>
              <a:gd name="connsiteX245" fmla="*/ 2177887 w 2464405"/>
              <a:gd name="connsiteY245" fmla="*/ 1175474 h 2151152"/>
              <a:gd name="connsiteX246" fmla="*/ 2171808 w 2464405"/>
              <a:gd name="connsiteY246" fmla="*/ 1198153 h 2151152"/>
              <a:gd name="connsiteX247" fmla="*/ 2149129 w 2464405"/>
              <a:gd name="connsiteY247" fmla="*/ 1192075 h 2151152"/>
              <a:gd name="connsiteX248" fmla="*/ 2152878 w 2464405"/>
              <a:gd name="connsiteY248" fmla="*/ 1104089 h 2151152"/>
              <a:gd name="connsiteX249" fmla="*/ 2168423 w 2464405"/>
              <a:gd name="connsiteY249" fmla="*/ 1110646 h 2151152"/>
              <a:gd name="connsiteX250" fmla="*/ 2161866 w 2464405"/>
              <a:gd name="connsiteY250" fmla="*/ 1126191 h 2151152"/>
              <a:gd name="connsiteX251" fmla="*/ 2146322 w 2464405"/>
              <a:gd name="connsiteY251" fmla="*/ 1119634 h 2151152"/>
              <a:gd name="connsiteX252" fmla="*/ 2073538 w 2464405"/>
              <a:gd name="connsiteY252" fmla="*/ 1045242 h 2151152"/>
              <a:gd name="connsiteX253" fmla="*/ 2087771 w 2464405"/>
              <a:gd name="connsiteY253" fmla="*/ 1048442 h 2151152"/>
              <a:gd name="connsiteX254" fmla="*/ 2084571 w 2464405"/>
              <a:gd name="connsiteY254" fmla="*/ 1062675 h 2151152"/>
              <a:gd name="connsiteX255" fmla="*/ 2070338 w 2464405"/>
              <a:gd name="connsiteY255" fmla="*/ 1059475 h 2151152"/>
              <a:gd name="connsiteX256" fmla="*/ 1985220 w 2464405"/>
              <a:gd name="connsiteY256" fmla="*/ 1022635 h 2151152"/>
              <a:gd name="connsiteX257" fmla="*/ 1985862 w 2464405"/>
              <a:gd name="connsiteY257" fmla="*/ 1023697 h 2151152"/>
              <a:gd name="connsiteX258" fmla="*/ 1987231 w 2464405"/>
              <a:gd name="connsiteY258" fmla="*/ 1022814 h 2151152"/>
              <a:gd name="connsiteX259" fmla="*/ 1916635 w 2464405"/>
              <a:gd name="connsiteY259" fmla="*/ 994154 h 2151152"/>
              <a:gd name="connsiteX260" fmla="*/ 1928422 w 2464405"/>
              <a:gd name="connsiteY260" fmla="*/ 1002033 h 2151152"/>
              <a:gd name="connsiteX261" fmla="*/ 1920543 w 2464405"/>
              <a:gd name="connsiteY261" fmla="*/ 1013821 h 2151152"/>
              <a:gd name="connsiteX262" fmla="*/ 1908756 w 2464405"/>
              <a:gd name="connsiteY262" fmla="*/ 1005942 h 2151152"/>
              <a:gd name="connsiteX263" fmla="*/ 2050316 w 2464405"/>
              <a:gd name="connsiteY263" fmla="*/ 969301 h 2151152"/>
              <a:gd name="connsiteX264" fmla="*/ 2056644 w 2464405"/>
              <a:gd name="connsiteY264" fmla="*/ 975056 h 2151152"/>
              <a:gd name="connsiteX265" fmla="*/ 2050888 w 2464405"/>
              <a:gd name="connsiteY265" fmla="*/ 981384 h 2151152"/>
              <a:gd name="connsiteX266" fmla="*/ 2044560 w 2464405"/>
              <a:gd name="connsiteY266" fmla="*/ 975628 h 2151152"/>
              <a:gd name="connsiteX267" fmla="*/ 1977407 w 2464405"/>
              <a:gd name="connsiteY267" fmla="*/ 899382 h 2151152"/>
              <a:gd name="connsiteX268" fmla="*/ 2013851 w 2464405"/>
              <a:gd name="connsiteY268" fmla="*/ 950626 h 2151152"/>
              <a:gd name="connsiteX269" fmla="*/ 1999840 w 2464405"/>
              <a:gd name="connsiteY269" fmla="*/ 960590 h 2151152"/>
              <a:gd name="connsiteX270" fmla="*/ 1994730 w 2464405"/>
              <a:gd name="connsiteY270" fmla="*/ 1017976 h 2151152"/>
              <a:gd name="connsiteX271" fmla="*/ 2000366 w 2464405"/>
              <a:gd name="connsiteY271" fmla="*/ 1014339 h 2151152"/>
              <a:gd name="connsiteX272" fmla="*/ 2030485 w 2464405"/>
              <a:gd name="connsiteY272" fmla="*/ 1061020 h 2151152"/>
              <a:gd name="connsiteX273" fmla="*/ 2014603 w 2464405"/>
              <a:gd name="connsiteY273" fmla="*/ 1071267 h 2151152"/>
              <a:gd name="connsiteX274" fmla="*/ 2051459 w 2464405"/>
              <a:gd name="connsiteY274" fmla="*/ 1132266 h 2151152"/>
              <a:gd name="connsiteX275" fmla="*/ 2074415 w 2464405"/>
              <a:gd name="connsiteY275" fmla="*/ 1116169 h 2151152"/>
              <a:gd name="connsiteX276" fmla="*/ 2102291 w 2464405"/>
              <a:gd name="connsiteY276" fmla="*/ 1155920 h 2151152"/>
              <a:gd name="connsiteX277" fmla="*/ 2141488 w 2464405"/>
              <a:gd name="connsiteY277" fmla="*/ 1167130 h 2151152"/>
              <a:gd name="connsiteX278" fmla="*/ 2132410 w 2464405"/>
              <a:gd name="connsiteY278" fmla="*/ 1198871 h 2151152"/>
              <a:gd name="connsiteX279" fmla="*/ 2143335 w 2464405"/>
              <a:gd name="connsiteY279" fmla="*/ 1214450 h 2151152"/>
              <a:gd name="connsiteX280" fmla="*/ 2124097 w 2464405"/>
              <a:gd name="connsiteY280" fmla="*/ 1227941 h 2151152"/>
              <a:gd name="connsiteX281" fmla="*/ 2110744 w 2464405"/>
              <a:gd name="connsiteY281" fmla="*/ 1274632 h 2151152"/>
              <a:gd name="connsiteX282" fmla="*/ 2116606 w 2464405"/>
              <a:gd name="connsiteY282" fmla="*/ 1277025 h 2151152"/>
              <a:gd name="connsiteX283" fmla="*/ 2112470 w 2464405"/>
              <a:gd name="connsiteY283" fmla="*/ 1287154 h 2151152"/>
              <a:gd name="connsiteX284" fmla="*/ 2107718 w 2464405"/>
              <a:gd name="connsiteY284" fmla="*/ 1285213 h 2151152"/>
              <a:gd name="connsiteX285" fmla="*/ 2101547 w 2464405"/>
              <a:gd name="connsiteY285" fmla="*/ 1306790 h 2151152"/>
              <a:gd name="connsiteX286" fmla="*/ 2064915 w 2464405"/>
              <a:gd name="connsiteY286" fmla="*/ 1296314 h 2151152"/>
              <a:gd name="connsiteX287" fmla="*/ 2067625 w 2464405"/>
              <a:gd name="connsiteY287" fmla="*/ 1335020 h 2151152"/>
              <a:gd name="connsiteX288" fmla="*/ 1999257 w 2464405"/>
              <a:gd name="connsiteY288" fmla="*/ 1339806 h 2151152"/>
              <a:gd name="connsiteX289" fmla="*/ 1998577 w 2464405"/>
              <a:gd name="connsiteY289" fmla="*/ 1330093 h 2151152"/>
              <a:gd name="connsiteX290" fmla="*/ 1983602 w 2464405"/>
              <a:gd name="connsiteY290" fmla="*/ 1333813 h 2151152"/>
              <a:gd name="connsiteX291" fmla="*/ 1975208 w 2464405"/>
              <a:gd name="connsiteY291" fmla="*/ 1345421 h 2151152"/>
              <a:gd name="connsiteX292" fmla="*/ 1996605 w 2464405"/>
              <a:gd name="connsiteY292" fmla="*/ 1403295 h 2151152"/>
              <a:gd name="connsiteX293" fmla="*/ 1987681 w 2464405"/>
              <a:gd name="connsiteY293" fmla="*/ 1406595 h 2151152"/>
              <a:gd name="connsiteX294" fmla="*/ 2019709 w 2464405"/>
              <a:gd name="connsiteY294" fmla="*/ 1519328 h 2151152"/>
              <a:gd name="connsiteX295" fmla="*/ 1915104 w 2464405"/>
              <a:gd name="connsiteY295" fmla="*/ 1549047 h 2151152"/>
              <a:gd name="connsiteX296" fmla="*/ 1916546 w 2464405"/>
              <a:gd name="connsiteY296" fmla="*/ 1552333 h 2151152"/>
              <a:gd name="connsiteX297" fmla="*/ 1906871 w 2464405"/>
              <a:gd name="connsiteY297" fmla="*/ 1556580 h 2151152"/>
              <a:gd name="connsiteX298" fmla="*/ 1904844 w 2464405"/>
              <a:gd name="connsiteY298" fmla="*/ 1551962 h 2151152"/>
              <a:gd name="connsiteX299" fmla="*/ 1903122 w 2464405"/>
              <a:gd name="connsiteY299" fmla="*/ 1552451 h 2151152"/>
              <a:gd name="connsiteX300" fmla="*/ 1903218 w 2464405"/>
              <a:gd name="connsiteY300" fmla="*/ 1553439 h 2151152"/>
              <a:gd name="connsiteX301" fmla="*/ 1835063 w 2464405"/>
              <a:gd name="connsiteY301" fmla="*/ 1560074 h 2151152"/>
              <a:gd name="connsiteX302" fmla="*/ 1839626 w 2464405"/>
              <a:gd name="connsiteY302" fmla="*/ 1564671 h 2151152"/>
              <a:gd name="connsiteX303" fmla="*/ 1832731 w 2464405"/>
              <a:gd name="connsiteY303" fmla="*/ 1571513 h 2151152"/>
              <a:gd name="connsiteX304" fmla="*/ 1825888 w 2464405"/>
              <a:gd name="connsiteY304" fmla="*/ 1564618 h 2151152"/>
              <a:gd name="connsiteX305" fmla="*/ 1829968 w 2464405"/>
              <a:gd name="connsiteY305" fmla="*/ 1560570 h 2151152"/>
              <a:gd name="connsiteX306" fmla="*/ 1770292 w 2464405"/>
              <a:gd name="connsiteY306" fmla="*/ 1566379 h 2151152"/>
              <a:gd name="connsiteX307" fmla="*/ 1762109 w 2464405"/>
              <a:gd name="connsiteY307" fmla="*/ 1589410 h 2151152"/>
              <a:gd name="connsiteX308" fmla="*/ 1747732 w 2464405"/>
              <a:gd name="connsiteY308" fmla="*/ 1584302 h 2151152"/>
              <a:gd name="connsiteX309" fmla="*/ 1808749 w 2464405"/>
              <a:gd name="connsiteY309" fmla="*/ 1662908 h 2151152"/>
              <a:gd name="connsiteX310" fmla="*/ 1695080 w 2464405"/>
              <a:gd name="connsiteY310" fmla="*/ 1751142 h 2151152"/>
              <a:gd name="connsiteX311" fmla="*/ 1661861 w 2464405"/>
              <a:gd name="connsiteY311" fmla="*/ 1708347 h 2151152"/>
              <a:gd name="connsiteX312" fmla="*/ 1622244 w 2464405"/>
              <a:gd name="connsiteY312" fmla="*/ 1688543 h 2151152"/>
              <a:gd name="connsiteX313" fmla="*/ 1631741 w 2464405"/>
              <a:gd name="connsiteY313" fmla="*/ 1669545 h 2151152"/>
              <a:gd name="connsiteX314" fmla="*/ 1606846 w 2464405"/>
              <a:gd name="connsiteY314" fmla="*/ 1637473 h 2151152"/>
              <a:gd name="connsiteX315" fmla="*/ 1636454 w 2464405"/>
              <a:gd name="connsiteY315" fmla="*/ 1614490 h 2151152"/>
              <a:gd name="connsiteX316" fmla="*/ 1632684 w 2464405"/>
              <a:gd name="connsiteY316" fmla="*/ 1588772 h 2151152"/>
              <a:gd name="connsiteX317" fmla="*/ 1607440 w 2464405"/>
              <a:gd name="connsiteY317" fmla="*/ 1610348 h 2151152"/>
              <a:gd name="connsiteX318" fmla="*/ 1561779 w 2464405"/>
              <a:gd name="connsiteY318" fmla="*/ 1556924 h 2151152"/>
              <a:gd name="connsiteX319" fmla="*/ 1615202 w 2464405"/>
              <a:gd name="connsiteY319" fmla="*/ 1511264 h 2151152"/>
              <a:gd name="connsiteX320" fmla="*/ 1652291 w 2464405"/>
              <a:gd name="connsiteY320" fmla="*/ 1554659 h 2151152"/>
              <a:gd name="connsiteX321" fmla="*/ 1660791 w 2464405"/>
              <a:gd name="connsiteY321" fmla="*/ 1553413 h 2151152"/>
              <a:gd name="connsiteX322" fmla="*/ 1655132 w 2464405"/>
              <a:gd name="connsiteY322" fmla="*/ 1551402 h 2151152"/>
              <a:gd name="connsiteX323" fmla="*/ 1693141 w 2464405"/>
              <a:gd name="connsiteY323" fmla="*/ 1444425 h 2151152"/>
              <a:gd name="connsiteX324" fmla="*/ 1744711 w 2464405"/>
              <a:gd name="connsiteY324" fmla="*/ 1462748 h 2151152"/>
              <a:gd name="connsiteX325" fmla="*/ 1740511 w 2464405"/>
              <a:gd name="connsiteY325" fmla="*/ 1419600 h 2151152"/>
              <a:gd name="connsiteX326" fmla="*/ 1781455 w 2464405"/>
              <a:gd name="connsiteY326" fmla="*/ 1415614 h 2151152"/>
              <a:gd name="connsiteX327" fmla="*/ 1781295 w 2464405"/>
              <a:gd name="connsiteY327" fmla="*/ 1410565 h 2151152"/>
              <a:gd name="connsiteX328" fmla="*/ 1777540 w 2464405"/>
              <a:gd name="connsiteY328" fmla="*/ 1292393 h 2151152"/>
              <a:gd name="connsiteX329" fmla="*/ 1777289 w 2464405"/>
              <a:gd name="connsiteY329" fmla="*/ 1284484 h 2151152"/>
              <a:gd name="connsiteX330" fmla="*/ 1768205 w 2464405"/>
              <a:gd name="connsiteY330" fmla="*/ 1296596 h 2151152"/>
              <a:gd name="connsiteX331" fmla="*/ 1750345 w 2464405"/>
              <a:gd name="connsiteY331" fmla="*/ 1283202 h 2151152"/>
              <a:gd name="connsiteX332" fmla="*/ 1763740 w 2464405"/>
              <a:gd name="connsiteY332" fmla="*/ 1265343 h 2151152"/>
              <a:gd name="connsiteX333" fmla="*/ 1776996 w 2464405"/>
              <a:gd name="connsiteY333" fmla="*/ 1275285 h 2151152"/>
              <a:gd name="connsiteX334" fmla="*/ 1776989 w 2464405"/>
              <a:gd name="connsiteY334" fmla="*/ 1275053 h 2151152"/>
              <a:gd name="connsiteX335" fmla="*/ 1801826 w 2464405"/>
              <a:gd name="connsiteY335" fmla="*/ 1274264 h 2151152"/>
              <a:gd name="connsiteX336" fmla="*/ 1774986 w 2464405"/>
              <a:gd name="connsiteY336" fmla="*/ 1174515 h 2151152"/>
              <a:gd name="connsiteX337" fmla="*/ 1873976 w 2464405"/>
              <a:gd name="connsiteY337" fmla="*/ 1147879 h 2151152"/>
              <a:gd name="connsiteX338" fmla="*/ 1857499 w 2464405"/>
              <a:gd name="connsiteY338" fmla="*/ 1120608 h 2151152"/>
              <a:gd name="connsiteX339" fmla="*/ 1855325 w 2464405"/>
              <a:gd name="connsiteY339" fmla="*/ 1121694 h 2151152"/>
              <a:gd name="connsiteX340" fmla="*/ 1844048 w 2464405"/>
              <a:gd name="connsiteY340" fmla="*/ 1099136 h 2151152"/>
              <a:gd name="connsiteX341" fmla="*/ 1844415 w 2464405"/>
              <a:gd name="connsiteY341" fmla="*/ 1098952 h 2151152"/>
              <a:gd name="connsiteX342" fmla="*/ 1837719 w 2464405"/>
              <a:gd name="connsiteY342" fmla="*/ 1087870 h 2151152"/>
              <a:gd name="connsiteX343" fmla="*/ 1950769 w 2464405"/>
              <a:gd name="connsiteY343" fmla="*/ 1019566 h 2151152"/>
              <a:gd name="connsiteX344" fmla="*/ 1929335 w 2464405"/>
              <a:gd name="connsiteY344" fmla="*/ 1017657 h 2151152"/>
              <a:gd name="connsiteX345" fmla="*/ 1935116 w 2464405"/>
              <a:gd name="connsiteY345" fmla="*/ 952748 h 2151152"/>
              <a:gd name="connsiteX346" fmla="*/ 1938406 w 2464405"/>
              <a:gd name="connsiteY346" fmla="*/ 953041 h 2151152"/>
              <a:gd name="connsiteX347" fmla="*/ 1926163 w 2464405"/>
              <a:gd name="connsiteY347" fmla="*/ 935826 h 2151152"/>
              <a:gd name="connsiteX348" fmla="*/ 2036528 w 2464405"/>
              <a:gd name="connsiteY348" fmla="*/ 845583 h 2151152"/>
              <a:gd name="connsiteX349" fmla="*/ 2120501 w 2464405"/>
              <a:gd name="connsiteY349" fmla="*/ 861374 h 2151152"/>
              <a:gd name="connsiteX350" fmla="*/ 2104710 w 2464405"/>
              <a:gd name="connsiteY350" fmla="*/ 945347 h 2151152"/>
              <a:gd name="connsiteX351" fmla="*/ 2020737 w 2464405"/>
              <a:gd name="connsiteY351" fmla="*/ 929556 h 2151152"/>
              <a:gd name="connsiteX352" fmla="*/ 2183841 w 2464405"/>
              <a:gd name="connsiteY352" fmla="*/ 775823 h 2151152"/>
              <a:gd name="connsiteX353" fmla="*/ 2242299 w 2464405"/>
              <a:gd name="connsiteY353" fmla="*/ 803282 h 2151152"/>
              <a:gd name="connsiteX354" fmla="*/ 2233229 w 2464405"/>
              <a:gd name="connsiteY354" fmla="*/ 822592 h 2151152"/>
              <a:gd name="connsiteX355" fmla="*/ 2308224 w 2464405"/>
              <a:gd name="connsiteY355" fmla="*/ 826352 h 2151152"/>
              <a:gd name="connsiteX356" fmla="*/ 2299842 w 2464405"/>
              <a:gd name="connsiteY356" fmla="*/ 993554 h 2151152"/>
              <a:gd name="connsiteX357" fmla="*/ 2281893 w 2464405"/>
              <a:gd name="connsiteY357" fmla="*/ 992654 h 2151152"/>
              <a:gd name="connsiteX358" fmla="*/ 2223383 w 2464405"/>
              <a:gd name="connsiteY358" fmla="*/ 1003401 h 2151152"/>
              <a:gd name="connsiteX359" fmla="*/ 2285716 w 2464405"/>
              <a:gd name="connsiteY359" fmla="*/ 1046162 h 2151152"/>
              <a:gd name="connsiteX360" fmla="*/ 2233139 w 2464405"/>
              <a:gd name="connsiteY360" fmla="*/ 1122804 h 2151152"/>
              <a:gd name="connsiteX361" fmla="*/ 2156497 w 2464405"/>
              <a:gd name="connsiteY361" fmla="*/ 1070228 h 2151152"/>
              <a:gd name="connsiteX362" fmla="*/ 2199307 w 2464405"/>
              <a:gd name="connsiteY362" fmla="*/ 1007823 h 2151152"/>
              <a:gd name="connsiteX363" fmla="*/ 2185722 w 2464405"/>
              <a:gd name="connsiteY363" fmla="*/ 1010318 h 2151152"/>
              <a:gd name="connsiteX364" fmla="*/ 2181554 w 2464405"/>
              <a:gd name="connsiteY364" fmla="*/ 987624 h 2151152"/>
              <a:gd name="connsiteX365" fmla="*/ 2132640 w 2464405"/>
              <a:gd name="connsiteY365" fmla="*/ 985172 h 2151152"/>
              <a:gd name="connsiteX366" fmla="*/ 2136292 w 2464405"/>
              <a:gd name="connsiteY366" fmla="*/ 912324 h 2151152"/>
              <a:gd name="connsiteX367" fmla="*/ 2135490 w 2464405"/>
              <a:gd name="connsiteY367" fmla="*/ 912453 h 2151152"/>
              <a:gd name="connsiteX368" fmla="*/ 2133763 w 2464405"/>
              <a:gd name="connsiteY368" fmla="*/ 901753 h 2151152"/>
              <a:gd name="connsiteX369" fmla="*/ 2136847 w 2464405"/>
              <a:gd name="connsiteY369" fmla="*/ 901255 h 2151152"/>
              <a:gd name="connsiteX370" fmla="*/ 2141022 w 2464405"/>
              <a:gd name="connsiteY370" fmla="*/ 817970 h 2151152"/>
              <a:gd name="connsiteX371" fmla="*/ 2163514 w 2464405"/>
              <a:gd name="connsiteY371" fmla="*/ 819098 h 2151152"/>
              <a:gd name="connsiteX372" fmla="*/ 2321559 w 2464405"/>
              <a:gd name="connsiteY372" fmla="*/ 753240 h 2151152"/>
              <a:gd name="connsiteX373" fmla="*/ 2323559 w 2464405"/>
              <a:gd name="connsiteY373" fmla="*/ 766071 h 2151152"/>
              <a:gd name="connsiteX374" fmla="*/ 2310728 w 2464405"/>
              <a:gd name="connsiteY374" fmla="*/ 768071 h 2151152"/>
              <a:gd name="connsiteX375" fmla="*/ 2308728 w 2464405"/>
              <a:gd name="connsiteY375" fmla="*/ 755240 h 2151152"/>
              <a:gd name="connsiteX376" fmla="*/ 2194198 w 2464405"/>
              <a:gd name="connsiteY376" fmla="*/ 584306 h 2151152"/>
              <a:gd name="connsiteX377" fmla="*/ 2179809 w 2464405"/>
              <a:gd name="connsiteY377" fmla="*/ 591340 h 2151152"/>
              <a:gd name="connsiteX378" fmla="*/ 2180771 w 2464405"/>
              <a:gd name="connsiteY378" fmla="*/ 596706 h 2151152"/>
              <a:gd name="connsiteX379" fmla="*/ 2239121 w 2464405"/>
              <a:gd name="connsiteY379" fmla="*/ 481751 h 2151152"/>
              <a:gd name="connsiteX380" fmla="*/ 2229525 w 2464405"/>
              <a:gd name="connsiteY380" fmla="*/ 544460 h 2151152"/>
              <a:gd name="connsiteX381" fmla="*/ 2179253 w 2464405"/>
              <a:gd name="connsiteY381" fmla="*/ 536767 h 2151152"/>
              <a:gd name="connsiteX382" fmla="*/ 2199911 w 2464405"/>
              <a:gd name="connsiteY382" fmla="*/ 579031 h 2151152"/>
              <a:gd name="connsiteX383" fmla="*/ 2211541 w 2464405"/>
              <a:gd name="connsiteY383" fmla="*/ 568292 h 2151152"/>
              <a:gd name="connsiteX384" fmla="*/ 2219704 w 2464405"/>
              <a:gd name="connsiteY384" fmla="*/ 577132 h 2151152"/>
              <a:gd name="connsiteX385" fmla="*/ 2219801 w 2464405"/>
              <a:gd name="connsiteY385" fmla="*/ 575545 h 2151152"/>
              <a:gd name="connsiteX386" fmla="*/ 2241574 w 2464405"/>
              <a:gd name="connsiteY386" fmla="*/ 576873 h 2151152"/>
              <a:gd name="connsiteX387" fmla="*/ 2240841 w 2464405"/>
              <a:gd name="connsiteY387" fmla="*/ 588886 h 2151152"/>
              <a:gd name="connsiteX388" fmla="*/ 2254296 w 2464405"/>
              <a:gd name="connsiteY388" fmla="*/ 568611 h 2151152"/>
              <a:gd name="connsiteX389" fmla="*/ 2237990 w 2464405"/>
              <a:gd name="connsiteY389" fmla="*/ 568312 h 2151152"/>
              <a:gd name="connsiteX390" fmla="*/ 2239472 w 2464405"/>
              <a:gd name="connsiteY390" fmla="*/ 487414 h 2151152"/>
              <a:gd name="connsiteX391" fmla="*/ 2244796 w 2464405"/>
              <a:gd name="connsiteY391" fmla="*/ 487511 h 2151152"/>
              <a:gd name="connsiteX392" fmla="*/ 2253586 w 2464405"/>
              <a:gd name="connsiteY392" fmla="*/ 400178 h 2151152"/>
              <a:gd name="connsiteX393" fmla="*/ 2300992 w 2464405"/>
              <a:gd name="connsiteY393" fmla="*/ 448301 h 2151152"/>
              <a:gd name="connsiteX394" fmla="*/ 2260889 w 2464405"/>
              <a:gd name="connsiteY394" fmla="*/ 487806 h 2151152"/>
              <a:gd name="connsiteX395" fmla="*/ 2306837 w 2464405"/>
              <a:gd name="connsiteY395" fmla="*/ 488649 h 2151152"/>
              <a:gd name="connsiteX396" fmla="*/ 2346446 w 2464405"/>
              <a:gd name="connsiteY396" fmla="*/ 424264 h 2151152"/>
              <a:gd name="connsiteX397" fmla="*/ 2420411 w 2464405"/>
              <a:gd name="connsiteY397" fmla="*/ 469768 h 2151152"/>
              <a:gd name="connsiteX398" fmla="*/ 2385019 w 2464405"/>
              <a:gd name="connsiteY398" fmla="*/ 527297 h 2151152"/>
              <a:gd name="connsiteX399" fmla="*/ 2464405 w 2464405"/>
              <a:gd name="connsiteY399" fmla="*/ 579981 h 2151152"/>
              <a:gd name="connsiteX400" fmla="*/ 2375602 w 2464405"/>
              <a:gd name="connsiteY400" fmla="*/ 713792 h 2151152"/>
              <a:gd name="connsiteX401" fmla="*/ 2374770 w 2464405"/>
              <a:gd name="connsiteY401" fmla="*/ 743781 h 2151152"/>
              <a:gd name="connsiteX402" fmla="*/ 2280680 w 2464405"/>
              <a:gd name="connsiteY402" fmla="*/ 741169 h 2151152"/>
              <a:gd name="connsiteX403" fmla="*/ 2272146 w 2464405"/>
              <a:gd name="connsiteY403" fmla="*/ 747793 h 2151152"/>
              <a:gd name="connsiteX404" fmla="*/ 2266703 w 2464405"/>
              <a:gd name="connsiteY404" fmla="*/ 740781 h 2151152"/>
              <a:gd name="connsiteX405" fmla="*/ 2246158 w 2464405"/>
              <a:gd name="connsiteY405" fmla="*/ 740211 h 2151152"/>
              <a:gd name="connsiteX406" fmla="*/ 2246652 w 2464405"/>
              <a:gd name="connsiteY406" fmla="*/ 722406 h 2151152"/>
              <a:gd name="connsiteX407" fmla="*/ 2243776 w 2464405"/>
              <a:gd name="connsiteY407" fmla="*/ 725062 h 2151152"/>
              <a:gd name="connsiteX408" fmla="*/ 2247335 w 2464405"/>
              <a:gd name="connsiteY408" fmla="*/ 768441 h 2151152"/>
              <a:gd name="connsiteX409" fmla="*/ 2196178 w 2464405"/>
              <a:gd name="connsiteY409" fmla="*/ 772638 h 2151152"/>
              <a:gd name="connsiteX410" fmla="*/ 2194470 w 2464405"/>
              <a:gd name="connsiteY410" fmla="*/ 751812 h 2151152"/>
              <a:gd name="connsiteX411" fmla="*/ 2110857 w 2464405"/>
              <a:gd name="connsiteY411" fmla="*/ 661265 h 2151152"/>
              <a:gd name="connsiteX412" fmla="*/ 2123344 w 2464405"/>
              <a:gd name="connsiteY412" fmla="*/ 649735 h 2151152"/>
              <a:gd name="connsiteX413" fmla="*/ 2122625 w 2464405"/>
              <a:gd name="connsiteY413" fmla="*/ 648009 h 2151152"/>
              <a:gd name="connsiteX414" fmla="*/ 2127339 w 2464405"/>
              <a:gd name="connsiteY414" fmla="*/ 646045 h 2151152"/>
              <a:gd name="connsiteX415" fmla="*/ 2139098 w 2464405"/>
              <a:gd name="connsiteY415" fmla="*/ 635187 h 2151152"/>
              <a:gd name="connsiteX416" fmla="*/ 2086115 w 2464405"/>
              <a:gd name="connsiteY416" fmla="*/ 644682 h 2151152"/>
              <a:gd name="connsiteX417" fmla="*/ 2083176 w 2464405"/>
              <a:gd name="connsiteY417" fmla="*/ 656231 h 2151152"/>
              <a:gd name="connsiteX418" fmla="*/ 2063899 w 2464405"/>
              <a:gd name="connsiteY418" fmla="*/ 651324 h 2151152"/>
              <a:gd name="connsiteX419" fmla="*/ 2090616 w 2464405"/>
              <a:gd name="connsiteY419" fmla="*/ 703964 h 2151152"/>
              <a:gd name="connsiteX420" fmla="*/ 2060777 w 2464405"/>
              <a:gd name="connsiteY420" fmla="*/ 719109 h 2151152"/>
              <a:gd name="connsiteX421" fmla="*/ 2082657 w 2464405"/>
              <a:gd name="connsiteY421" fmla="*/ 761849 h 2151152"/>
              <a:gd name="connsiteX422" fmla="*/ 2100056 w 2464405"/>
              <a:gd name="connsiteY422" fmla="*/ 749410 h 2151152"/>
              <a:gd name="connsiteX423" fmla="*/ 2101022 w 2464405"/>
              <a:gd name="connsiteY423" fmla="*/ 741992 h 2151152"/>
              <a:gd name="connsiteX424" fmla="*/ 2108983 w 2464405"/>
              <a:gd name="connsiteY424" fmla="*/ 743029 h 2151152"/>
              <a:gd name="connsiteX425" fmla="*/ 2114799 w 2464405"/>
              <a:gd name="connsiteY425" fmla="*/ 738871 h 2151152"/>
              <a:gd name="connsiteX426" fmla="*/ 2159455 w 2464405"/>
              <a:gd name="connsiteY426" fmla="*/ 801338 h 2151152"/>
              <a:gd name="connsiteX427" fmla="*/ 2096988 w 2464405"/>
              <a:gd name="connsiteY427" fmla="*/ 845994 h 2151152"/>
              <a:gd name="connsiteX428" fmla="*/ 2075736 w 2464405"/>
              <a:gd name="connsiteY428" fmla="*/ 816266 h 2151152"/>
              <a:gd name="connsiteX429" fmla="*/ 2011806 w 2464405"/>
              <a:gd name="connsiteY429" fmla="*/ 848994 h 2151152"/>
              <a:gd name="connsiteX430" fmla="*/ 2014784 w 2464405"/>
              <a:gd name="connsiteY430" fmla="*/ 849643 h 2151152"/>
              <a:gd name="connsiteX431" fmla="*/ 2009691 w 2464405"/>
              <a:gd name="connsiteY431" fmla="*/ 873020 h 2151152"/>
              <a:gd name="connsiteX432" fmla="*/ 1986314 w 2464405"/>
              <a:gd name="connsiteY432" fmla="*/ 867927 h 2151152"/>
              <a:gd name="connsiteX433" fmla="*/ 1987756 w 2464405"/>
              <a:gd name="connsiteY433" fmla="*/ 861306 h 2151152"/>
              <a:gd name="connsiteX434" fmla="*/ 1981396 w 2464405"/>
              <a:gd name="connsiteY434" fmla="*/ 864562 h 2151152"/>
              <a:gd name="connsiteX435" fmla="*/ 1918991 w 2464405"/>
              <a:gd name="connsiteY435" fmla="*/ 742665 h 2151152"/>
              <a:gd name="connsiteX436" fmla="*/ 2000942 w 2464405"/>
              <a:gd name="connsiteY436" fmla="*/ 700710 h 2151152"/>
              <a:gd name="connsiteX437" fmla="*/ 1985100 w 2464405"/>
              <a:gd name="connsiteY437" fmla="*/ 669496 h 2151152"/>
              <a:gd name="connsiteX438" fmla="*/ 2035264 w 2464405"/>
              <a:gd name="connsiteY438" fmla="*/ 644036 h 2151152"/>
              <a:gd name="connsiteX439" fmla="*/ 2006020 w 2464405"/>
              <a:gd name="connsiteY439" fmla="*/ 636593 h 2151152"/>
              <a:gd name="connsiteX440" fmla="*/ 2025658 w 2464405"/>
              <a:gd name="connsiteY440" fmla="*/ 559436 h 2151152"/>
              <a:gd name="connsiteX441" fmla="*/ 2051605 w 2464405"/>
              <a:gd name="connsiteY441" fmla="*/ 566041 h 2151152"/>
              <a:gd name="connsiteX442" fmla="*/ 2030304 w 2464405"/>
              <a:gd name="connsiteY442" fmla="*/ 522464 h 2151152"/>
              <a:gd name="connsiteX443" fmla="*/ 2046866 w 2464405"/>
              <a:gd name="connsiteY443" fmla="*/ 514368 h 2151152"/>
              <a:gd name="connsiteX444" fmla="*/ 2039974 w 2464405"/>
              <a:gd name="connsiteY444" fmla="*/ 477758 h 2151152"/>
              <a:gd name="connsiteX445" fmla="*/ 2090685 w 2464405"/>
              <a:gd name="connsiteY445" fmla="*/ 468212 h 2151152"/>
              <a:gd name="connsiteX446" fmla="*/ 2094949 w 2464405"/>
              <a:gd name="connsiteY446" fmla="*/ 490865 h 2151152"/>
              <a:gd name="connsiteX447" fmla="*/ 2144884 w 2464405"/>
              <a:gd name="connsiteY447" fmla="*/ 466456 h 2151152"/>
              <a:gd name="connsiteX448" fmla="*/ 2147249 w 2464405"/>
              <a:gd name="connsiteY448" fmla="*/ 471295 h 2151152"/>
              <a:gd name="connsiteX449" fmla="*/ 2152168 w 2464405"/>
              <a:gd name="connsiteY449" fmla="*/ 439150 h 2151152"/>
              <a:gd name="connsiteX450" fmla="*/ 2205707 w 2464405"/>
              <a:gd name="connsiteY450" fmla="*/ 447343 h 2151152"/>
              <a:gd name="connsiteX451" fmla="*/ 2232299 w 2464405"/>
              <a:gd name="connsiteY451" fmla="*/ 393983 h 2151152"/>
              <a:gd name="connsiteX452" fmla="*/ 2233019 w 2464405"/>
              <a:gd name="connsiteY452" fmla="*/ 405582 h 2151152"/>
              <a:gd name="connsiteX453" fmla="*/ 2221419 w 2464405"/>
              <a:gd name="connsiteY453" fmla="*/ 406302 h 2151152"/>
              <a:gd name="connsiteX454" fmla="*/ 2220699 w 2464405"/>
              <a:gd name="connsiteY454" fmla="*/ 394702 h 2151152"/>
              <a:gd name="connsiteX455" fmla="*/ 2289412 w 2464405"/>
              <a:gd name="connsiteY455" fmla="*/ 170263 h 2151152"/>
              <a:gd name="connsiteX456" fmla="*/ 2302616 w 2464405"/>
              <a:gd name="connsiteY456" fmla="*/ 189093 h 2151152"/>
              <a:gd name="connsiteX457" fmla="*/ 2400832 w 2464405"/>
              <a:gd name="connsiteY457" fmla="*/ 209325 h 2151152"/>
              <a:gd name="connsiteX458" fmla="*/ 966418 w 2464405"/>
              <a:gd name="connsiteY458" fmla="*/ 68683 h 2151152"/>
              <a:gd name="connsiteX459" fmla="*/ 1395104 w 2464405"/>
              <a:gd name="connsiteY459" fmla="*/ 68683 h 2151152"/>
              <a:gd name="connsiteX460" fmla="*/ 1395104 w 2464405"/>
              <a:gd name="connsiteY460" fmla="*/ 497369 h 2151152"/>
              <a:gd name="connsiteX461" fmla="*/ 966418 w 2464405"/>
              <a:gd name="connsiteY461" fmla="*/ 497369 h 2151152"/>
              <a:gd name="connsiteX462" fmla="*/ 185253 w 2464405"/>
              <a:gd name="connsiteY462" fmla="*/ 68683 h 2151152"/>
              <a:gd name="connsiteX463" fmla="*/ 613939 w 2464405"/>
              <a:gd name="connsiteY463" fmla="*/ 68683 h 2151152"/>
              <a:gd name="connsiteX464" fmla="*/ 613939 w 2464405"/>
              <a:gd name="connsiteY464" fmla="*/ 497369 h 2151152"/>
              <a:gd name="connsiteX465" fmla="*/ 185253 w 2464405"/>
              <a:gd name="connsiteY465" fmla="*/ 497369 h 2151152"/>
              <a:gd name="connsiteX466" fmla="*/ 2133767 w 2464405"/>
              <a:gd name="connsiteY466" fmla="*/ 0 h 2151152"/>
              <a:gd name="connsiteX467" fmla="*/ 2249874 w 2464405"/>
              <a:gd name="connsiteY467" fmla="*/ 85289 h 2151152"/>
              <a:gd name="connsiteX468" fmla="*/ 2240349 w 2464405"/>
              <a:gd name="connsiteY468" fmla="*/ 98255 h 2151152"/>
              <a:gd name="connsiteX469" fmla="*/ 2278098 w 2464405"/>
              <a:gd name="connsiteY469" fmla="*/ 112655 h 2151152"/>
              <a:gd name="connsiteX470" fmla="*/ 2278233 w 2464405"/>
              <a:gd name="connsiteY470" fmla="*/ 112264 h 2151152"/>
              <a:gd name="connsiteX471" fmla="*/ 2289713 w 2464405"/>
              <a:gd name="connsiteY471" fmla="*/ 116242 h 2151152"/>
              <a:gd name="connsiteX472" fmla="*/ 2320444 w 2464405"/>
              <a:gd name="connsiteY472" fmla="*/ 28587 h 2151152"/>
              <a:gd name="connsiteX473" fmla="*/ 2456300 w 2464405"/>
              <a:gd name="connsiteY473" fmla="*/ 76217 h 2151152"/>
              <a:gd name="connsiteX474" fmla="*/ 2409042 w 2464405"/>
              <a:gd name="connsiteY474" fmla="*/ 211016 h 2151152"/>
              <a:gd name="connsiteX475" fmla="*/ 2435454 w 2464405"/>
              <a:gd name="connsiteY475" fmla="*/ 216457 h 2151152"/>
              <a:gd name="connsiteX476" fmla="*/ 2405348 w 2464405"/>
              <a:gd name="connsiteY476" fmla="*/ 362600 h 2151152"/>
              <a:gd name="connsiteX477" fmla="*/ 2375077 w 2464405"/>
              <a:gd name="connsiteY477" fmla="*/ 356365 h 2151152"/>
              <a:gd name="connsiteX478" fmla="*/ 2370897 w 2464405"/>
              <a:gd name="connsiteY478" fmla="*/ 403303 h 2151152"/>
              <a:gd name="connsiteX479" fmla="*/ 2321713 w 2464405"/>
              <a:gd name="connsiteY479" fmla="*/ 398923 h 2151152"/>
              <a:gd name="connsiteX480" fmla="*/ 2330526 w 2464405"/>
              <a:gd name="connsiteY480" fmla="*/ 425932 h 2151152"/>
              <a:gd name="connsiteX481" fmla="*/ 2297629 w 2464405"/>
              <a:gd name="connsiteY481" fmla="*/ 436666 h 2151152"/>
              <a:gd name="connsiteX482" fmla="*/ 2286895 w 2464405"/>
              <a:gd name="connsiteY482" fmla="*/ 403771 h 2151152"/>
              <a:gd name="connsiteX483" fmla="*/ 2306032 w 2464405"/>
              <a:gd name="connsiteY483" fmla="*/ 397526 h 2151152"/>
              <a:gd name="connsiteX484" fmla="*/ 2305988 w 2464405"/>
              <a:gd name="connsiteY484" fmla="*/ 397522 h 2151152"/>
              <a:gd name="connsiteX485" fmla="*/ 2310832 w 2464405"/>
              <a:gd name="connsiteY485" fmla="*/ 343130 h 2151152"/>
              <a:gd name="connsiteX486" fmla="*/ 2276368 w 2464405"/>
              <a:gd name="connsiteY486" fmla="*/ 336030 h 2151152"/>
              <a:gd name="connsiteX487" fmla="*/ 2255311 w 2464405"/>
              <a:gd name="connsiteY487" fmla="*/ 348222 h 2151152"/>
              <a:gd name="connsiteX488" fmla="*/ 2230822 w 2464405"/>
              <a:gd name="connsiteY488" fmla="*/ 305925 h 2151152"/>
              <a:gd name="connsiteX489" fmla="*/ 2269263 w 2464405"/>
              <a:gd name="connsiteY489" fmla="*/ 283669 h 2151152"/>
              <a:gd name="connsiteX490" fmla="*/ 2273218 w 2464405"/>
              <a:gd name="connsiteY490" fmla="*/ 264467 h 2151152"/>
              <a:gd name="connsiteX491" fmla="*/ 2230076 w 2464405"/>
              <a:gd name="connsiteY491" fmla="*/ 294721 h 2151152"/>
              <a:gd name="connsiteX492" fmla="*/ 2173587 w 2464405"/>
              <a:gd name="connsiteY492" fmla="*/ 214165 h 2151152"/>
              <a:gd name="connsiteX493" fmla="*/ 2143751 w 2464405"/>
              <a:gd name="connsiteY493" fmla="*/ 247325 h 2151152"/>
              <a:gd name="connsiteX494" fmla="*/ 2144162 w 2464405"/>
              <a:gd name="connsiteY494" fmla="*/ 248415 h 2151152"/>
              <a:gd name="connsiteX495" fmla="*/ 2226609 w 2464405"/>
              <a:gd name="connsiteY495" fmla="*/ 294815 h 2151152"/>
              <a:gd name="connsiteX496" fmla="*/ 2177632 w 2464405"/>
              <a:gd name="connsiteY496" fmla="*/ 381841 h 2151152"/>
              <a:gd name="connsiteX497" fmla="*/ 2160811 w 2464405"/>
              <a:gd name="connsiteY497" fmla="*/ 372374 h 2151152"/>
              <a:gd name="connsiteX498" fmla="*/ 2165772 w 2464405"/>
              <a:gd name="connsiteY498" fmla="*/ 434391 h 2151152"/>
              <a:gd name="connsiteX499" fmla="*/ 2051665 w 2464405"/>
              <a:gd name="connsiteY499" fmla="*/ 443519 h 2151152"/>
              <a:gd name="connsiteX500" fmla="*/ 2046727 w 2464405"/>
              <a:gd name="connsiteY500" fmla="*/ 381793 h 2151152"/>
              <a:gd name="connsiteX501" fmla="*/ 2006515 w 2464405"/>
              <a:gd name="connsiteY501" fmla="*/ 396932 h 2151152"/>
              <a:gd name="connsiteX502" fmla="*/ 1942691 w 2464405"/>
              <a:gd name="connsiteY502" fmla="*/ 227401 h 2151152"/>
              <a:gd name="connsiteX503" fmla="*/ 2045004 w 2464405"/>
              <a:gd name="connsiteY503" fmla="*/ 188883 h 2151152"/>
              <a:gd name="connsiteX504" fmla="*/ 2029745 w 2464405"/>
              <a:gd name="connsiteY504" fmla="*/ 175154 h 2151152"/>
              <a:gd name="connsiteX505" fmla="*/ 2052088 w 2464405"/>
              <a:gd name="connsiteY505" fmla="*/ 150322 h 2151152"/>
              <a:gd name="connsiteX506" fmla="*/ 2048967 w 2464405"/>
              <a:gd name="connsiteY506" fmla="*/ 151663 h 2151152"/>
              <a:gd name="connsiteX507" fmla="*/ 2044298 w 2464405"/>
              <a:gd name="connsiteY507" fmla="*/ 140796 h 2151152"/>
              <a:gd name="connsiteX508" fmla="*/ 2055164 w 2464405"/>
              <a:gd name="connsiteY508" fmla="*/ 136128 h 2151152"/>
              <a:gd name="connsiteX509" fmla="*/ 2058298 w 2464405"/>
              <a:gd name="connsiteY509" fmla="*/ 143421 h 2151152"/>
              <a:gd name="connsiteX510" fmla="*/ 2069187 w 2464405"/>
              <a:gd name="connsiteY510" fmla="*/ 131319 h 2151152"/>
              <a:gd name="connsiteX511" fmla="*/ 2048478 w 2464405"/>
              <a:gd name="connsiteY511" fmla="*/ 116107 h 2151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</a:cxnLst>
            <a:rect l="l" t="t" r="r" b="b"/>
            <a:pathLst>
              <a:path w="2464405" h="2151152">
                <a:moveTo>
                  <a:pt x="693622" y="2056673"/>
                </a:moveTo>
                <a:lnTo>
                  <a:pt x="709674" y="2061028"/>
                </a:lnTo>
                <a:lnTo>
                  <a:pt x="705319" y="2077081"/>
                </a:lnTo>
                <a:lnTo>
                  <a:pt x="689266" y="2072726"/>
                </a:lnTo>
                <a:close/>
                <a:moveTo>
                  <a:pt x="972808" y="2046531"/>
                </a:moveTo>
                <a:lnTo>
                  <a:pt x="976731" y="2057398"/>
                </a:lnTo>
                <a:lnTo>
                  <a:pt x="965864" y="2061322"/>
                </a:lnTo>
                <a:lnTo>
                  <a:pt x="961940" y="2050454"/>
                </a:lnTo>
                <a:close/>
                <a:moveTo>
                  <a:pt x="523710" y="2040732"/>
                </a:moveTo>
                <a:lnTo>
                  <a:pt x="534936" y="2096357"/>
                </a:lnTo>
                <a:lnTo>
                  <a:pt x="479311" y="2107584"/>
                </a:lnTo>
                <a:lnTo>
                  <a:pt x="468085" y="2051958"/>
                </a:lnTo>
                <a:close/>
                <a:moveTo>
                  <a:pt x="480493" y="2025521"/>
                </a:moveTo>
                <a:lnTo>
                  <a:pt x="488639" y="2039695"/>
                </a:lnTo>
                <a:lnTo>
                  <a:pt x="474465" y="2047840"/>
                </a:lnTo>
                <a:lnTo>
                  <a:pt x="466319" y="2033667"/>
                </a:lnTo>
                <a:close/>
                <a:moveTo>
                  <a:pt x="346664" y="1995001"/>
                </a:moveTo>
                <a:lnTo>
                  <a:pt x="374373" y="2035469"/>
                </a:lnTo>
                <a:lnTo>
                  <a:pt x="333905" y="2063177"/>
                </a:lnTo>
                <a:lnTo>
                  <a:pt x="306196" y="2022710"/>
                </a:lnTo>
                <a:close/>
                <a:moveTo>
                  <a:pt x="1146188" y="1974613"/>
                </a:moveTo>
                <a:lnTo>
                  <a:pt x="1220168" y="1975969"/>
                </a:lnTo>
                <a:lnTo>
                  <a:pt x="1218812" y="2049949"/>
                </a:lnTo>
                <a:lnTo>
                  <a:pt x="1144832" y="2048593"/>
                </a:lnTo>
                <a:close/>
                <a:moveTo>
                  <a:pt x="1058611" y="1960156"/>
                </a:moveTo>
                <a:lnTo>
                  <a:pt x="1085009" y="1981116"/>
                </a:lnTo>
                <a:lnTo>
                  <a:pt x="1064049" y="2007515"/>
                </a:lnTo>
                <a:lnTo>
                  <a:pt x="1037650" y="1986554"/>
                </a:lnTo>
                <a:close/>
                <a:moveTo>
                  <a:pt x="213347" y="1908424"/>
                </a:moveTo>
                <a:lnTo>
                  <a:pt x="291424" y="1981616"/>
                </a:lnTo>
                <a:lnTo>
                  <a:pt x="218233" y="2059693"/>
                </a:lnTo>
                <a:lnTo>
                  <a:pt x="140155" y="1986502"/>
                </a:lnTo>
                <a:close/>
                <a:moveTo>
                  <a:pt x="460394" y="1900581"/>
                </a:moveTo>
                <a:lnTo>
                  <a:pt x="463440" y="1914812"/>
                </a:lnTo>
                <a:lnTo>
                  <a:pt x="449209" y="1917858"/>
                </a:lnTo>
                <a:lnTo>
                  <a:pt x="446163" y="1903626"/>
                </a:lnTo>
                <a:close/>
                <a:moveTo>
                  <a:pt x="766279" y="1898540"/>
                </a:moveTo>
                <a:lnTo>
                  <a:pt x="821863" y="1903364"/>
                </a:lnTo>
                <a:lnTo>
                  <a:pt x="817039" y="1958948"/>
                </a:lnTo>
                <a:lnTo>
                  <a:pt x="761455" y="1954124"/>
                </a:lnTo>
                <a:close/>
                <a:moveTo>
                  <a:pt x="1473418" y="1871606"/>
                </a:moveTo>
                <a:lnTo>
                  <a:pt x="1478472" y="1873831"/>
                </a:lnTo>
                <a:lnTo>
                  <a:pt x="1476247" y="1878885"/>
                </a:lnTo>
                <a:lnTo>
                  <a:pt x="1471193" y="1876660"/>
                </a:lnTo>
                <a:close/>
                <a:moveTo>
                  <a:pt x="1009249" y="1863590"/>
                </a:moveTo>
                <a:lnTo>
                  <a:pt x="1026046" y="1971594"/>
                </a:lnTo>
                <a:lnTo>
                  <a:pt x="932541" y="1986136"/>
                </a:lnTo>
                <a:lnTo>
                  <a:pt x="935267" y="2004734"/>
                </a:lnTo>
                <a:lnTo>
                  <a:pt x="905005" y="2009171"/>
                </a:lnTo>
                <a:lnTo>
                  <a:pt x="919663" y="2012196"/>
                </a:lnTo>
                <a:lnTo>
                  <a:pt x="890987" y="2151152"/>
                </a:lnTo>
                <a:lnTo>
                  <a:pt x="752030" y="2122476"/>
                </a:lnTo>
                <a:lnTo>
                  <a:pt x="780706" y="1983520"/>
                </a:lnTo>
                <a:lnTo>
                  <a:pt x="856390" y="1999139"/>
                </a:lnTo>
                <a:lnTo>
                  <a:pt x="849863" y="1954614"/>
                </a:lnTo>
                <a:lnTo>
                  <a:pt x="844621" y="1968807"/>
                </a:lnTo>
                <a:lnTo>
                  <a:pt x="825725" y="1961829"/>
                </a:lnTo>
                <a:lnTo>
                  <a:pt x="832703" y="1942933"/>
                </a:lnTo>
                <a:lnTo>
                  <a:pt x="849034" y="1948965"/>
                </a:lnTo>
                <a:lnTo>
                  <a:pt x="847650" y="1939522"/>
                </a:lnTo>
                <a:lnTo>
                  <a:pt x="909042" y="1930523"/>
                </a:lnTo>
                <a:lnTo>
                  <a:pt x="901245" y="1880387"/>
                </a:lnTo>
                <a:close/>
                <a:moveTo>
                  <a:pt x="1312455" y="1861596"/>
                </a:moveTo>
                <a:lnTo>
                  <a:pt x="1330924" y="1899016"/>
                </a:lnTo>
                <a:lnTo>
                  <a:pt x="1343680" y="1871295"/>
                </a:lnTo>
                <a:lnTo>
                  <a:pt x="1427432" y="1909833"/>
                </a:lnTo>
                <a:lnTo>
                  <a:pt x="1388893" y="1993585"/>
                </a:lnTo>
                <a:lnTo>
                  <a:pt x="1318144" y="1961029"/>
                </a:lnTo>
                <a:lnTo>
                  <a:pt x="1270820" y="1984387"/>
                </a:lnTo>
                <a:lnTo>
                  <a:pt x="1230242" y="1902174"/>
                </a:lnTo>
                <a:close/>
                <a:moveTo>
                  <a:pt x="227637" y="1857393"/>
                </a:moveTo>
                <a:lnTo>
                  <a:pt x="235633" y="1868686"/>
                </a:lnTo>
                <a:lnTo>
                  <a:pt x="224340" y="1876683"/>
                </a:lnTo>
                <a:lnTo>
                  <a:pt x="216343" y="1865389"/>
                </a:lnTo>
                <a:close/>
                <a:moveTo>
                  <a:pt x="46706" y="1854312"/>
                </a:moveTo>
                <a:lnTo>
                  <a:pt x="66898" y="1901019"/>
                </a:lnTo>
                <a:lnTo>
                  <a:pt x="20192" y="1921211"/>
                </a:lnTo>
                <a:lnTo>
                  <a:pt x="0" y="1874504"/>
                </a:lnTo>
                <a:close/>
                <a:moveTo>
                  <a:pt x="1291222" y="1844698"/>
                </a:moveTo>
                <a:lnTo>
                  <a:pt x="1298097" y="1850867"/>
                </a:lnTo>
                <a:lnTo>
                  <a:pt x="1291928" y="1857742"/>
                </a:lnTo>
                <a:lnTo>
                  <a:pt x="1285053" y="1851573"/>
                </a:lnTo>
                <a:close/>
                <a:moveTo>
                  <a:pt x="661311" y="1814969"/>
                </a:moveTo>
                <a:lnTo>
                  <a:pt x="756704" y="1869778"/>
                </a:lnTo>
                <a:lnTo>
                  <a:pt x="701895" y="1965171"/>
                </a:lnTo>
                <a:lnTo>
                  <a:pt x="664829" y="1943875"/>
                </a:lnTo>
                <a:lnTo>
                  <a:pt x="675385" y="2019082"/>
                </a:lnTo>
                <a:lnTo>
                  <a:pt x="663094" y="2020807"/>
                </a:lnTo>
                <a:lnTo>
                  <a:pt x="671338" y="2021837"/>
                </a:lnTo>
                <a:lnTo>
                  <a:pt x="669403" y="2037327"/>
                </a:lnTo>
                <a:lnTo>
                  <a:pt x="653913" y="2035392"/>
                </a:lnTo>
                <a:lnTo>
                  <a:pt x="655604" y="2021859"/>
                </a:lnTo>
                <a:lnTo>
                  <a:pt x="558639" y="2035469"/>
                </a:lnTo>
                <a:lnTo>
                  <a:pt x="545327" y="1940626"/>
                </a:lnTo>
                <a:lnTo>
                  <a:pt x="501419" y="1930052"/>
                </a:lnTo>
                <a:lnTo>
                  <a:pt x="513237" y="1880979"/>
                </a:lnTo>
                <a:lnTo>
                  <a:pt x="562310" y="1892797"/>
                </a:lnTo>
                <a:lnTo>
                  <a:pt x="556550" y="1916715"/>
                </a:lnTo>
                <a:lnTo>
                  <a:pt x="606913" y="1909646"/>
                </a:lnTo>
                <a:close/>
                <a:moveTo>
                  <a:pt x="746444" y="1814318"/>
                </a:moveTo>
                <a:lnTo>
                  <a:pt x="760131" y="1815470"/>
                </a:lnTo>
                <a:lnTo>
                  <a:pt x="758979" y="1829158"/>
                </a:lnTo>
                <a:lnTo>
                  <a:pt x="745292" y="1828006"/>
                </a:lnTo>
                <a:close/>
                <a:moveTo>
                  <a:pt x="566174" y="1804149"/>
                </a:moveTo>
                <a:lnTo>
                  <a:pt x="568120" y="1816506"/>
                </a:lnTo>
                <a:lnTo>
                  <a:pt x="555764" y="1818452"/>
                </a:lnTo>
                <a:lnTo>
                  <a:pt x="553818" y="1806095"/>
                </a:lnTo>
                <a:close/>
                <a:moveTo>
                  <a:pt x="1540788" y="1783013"/>
                </a:moveTo>
                <a:lnTo>
                  <a:pt x="1519110" y="1783342"/>
                </a:lnTo>
                <a:lnTo>
                  <a:pt x="1524347" y="1793953"/>
                </a:lnTo>
                <a:close/>
                <a:moveTo>
                  <a:pt x="1674925" y="1746674"/>
                </a:moveTo>
                <a:lnTo>
                  <a:pt x="1685749" y="1753343"/>
                </a:lnTo>
                <a:lnTo>
                  <a:pt x="1679080" y="1764165"/>
                </a:lnTo>
                <a:lnTo>
                  <a:pt x="1668257" y="1757496"/>
                </a:lnTo>
                <a:close/>
                <a:moveTo>
                  <a:pt x="1245271" y="1740131"/>
                </a:moveTo>
                <a:lnTo>
                  <a:pt x="1269984" y="1805739"/>
                </a:lnTo>
                <a:lnTo>
                  <a:pt x="1204376" y="1830452"/>
                </a:lnTo>
                <a:lnTo>
                  <a:pt x="1179663" y="1764844"/>
                </a:lnTo>
                <a:close/>
                <a:moveTo>
                  <a:pt x="1311004" y="1733028"/>
                </a:moveTo>
                <a:lnTo>
                  <a:pt x="1382405" y="1749040"/>
                </a:lnTo>
                <a:lnTo>
                  <a:pt x="1366392" y="1820442"/>
                </a:lnTo>
                <a:lnTo>
                  <a:pt x="1294992" y="1804430"/>
                </a:lnTo>
                <a:close/>
                <a:moveTo>
                  <a:pt x="154450" y="1728630"/>
                </a:moveTo>
                <a:lnTo>
                  <a:pt x="218025" y="1778568"/>
                </a:lnTo>
                <a:lnTo>
                  <a:pt x="168087" y="1842143"/>
                </a:lnTo>
                <a:lnTo>
                  <a:pt x="104512" y="1792205"/>
                </a:lnTo>
                <a:close/>
                <a:moveTo>
                  <a:pt x="1559563" y="1718100"/>
                </a:moveTo>
                <a:lnTo>
                  <a:pt x="1560351" y="1769995"/>
                </a:lnTo>
                <a:lnTo>
                  <a:pt x="1592655" y="1748500"/>
                </a:lnTo>
                <a:lnTo>
                  <a:pt x="1640329" y="1820146"/>
                </a:lnTo>
                <a:lnTo>
                  <a:pt x="1568683" y="1867820"/>
                </a:lnTo>
                <a:lnTo>
                  <a:pt x="1538180" y="1821978"/>
                </a:lnTo>
                <a:lnTo>
                  <a:pt x="1543955" y="1833680"/>
                </a:lnTo>
                <a:lnTo>
                  <a:pt x="1461742" y="1874258"/>
                </a:lnTo>
                <a:lnTo>
                  <a:pt x="1433551" y="1817142"/>
                </a:lnTo>
                <a:lnTo>
                  <a:pt x="1396402" y="1816078"/>
                </a:lnTo>
                <a:lnTo>
                  <a:pt x="1398229" y="1752268"/>
                </a:lnTo>
                <a:lnTo>
                  <a:pt x="1462039" y="1754095"/>
                </a:lnTo>
                <a:lnTo>
                  <a:pt x="1461523" y="1772125"/>
                </a:lnTo>
                <a:lnTo>
                  <a:pt x="1495502" y="1755354"/>
                </a:lnTo>
                <a:lnTo>
                  <a:pt x="1494951" y="1719081"/>
                </a:lnTo>
                <a:close/>
                <a:moveTo>
                  <a:pt x="374352" y="1712315"/>
                </a:moveTo>
                <a:lnTo>
                  <a:pt x="428961" y="1827946"/>
                </a:lnTo>
                <a:lnTo>
                  <a:pt x="313330" y="1882555"/>
                </a:lnTo>
                <a:lnTo>
                  <a:pt x="258721" y="1766924"/>
                </a:lnTo>
                <a:close/>
                <a:moveTo>
                  <a:pt x="1379553" y="1694479"/>
                </a:moveTo>
                <a:lnTo>
                  <a:pt x="1388280" y="1703007"/>
                </a:lnTo>
                <a:lnTo>
                  <a:pt x="1379752" y="1711734"/>
                </a:lnTo>
                <a:lnTo>
                  <a:pt x="1371025" y="1703206"/>
                </a:lnTo>
                <a:close/>
                <a:moveTo>
                  <a:pt x="1213302" y="1684889"/>
                </a:moveTo>
                <a:lnTo>
                  <a:pt x="1216187" y="1689111"/>
                </a:lnTo>
                <a:lnTo>
                  <a:pt x="1211965" y="1691995"/>
                </a:lnTo>
                <a:lnTo>
                  <a:pt x="1209081" y="1687773"/>
                </a:lnTo>
                <a:close/>
                <a:moveTo>
                  <a:pt x="1046408" y="1680220"/>
                </a:moveTo>
                <a:lnTo>
                  <a:pt x="1135718" y="1723587"/>
                </a:lnTo>
                <a:lnTo>
                  <a:pt x="1109229" y="1778138"/>
                </a:lnTo>
                <a:lnTo>
                  <a:pt x="1178950" y="1801623"/>
                </a:lnTo>
                <a:lnTo>
                  <a:pt x="1151141" y="1884181"/>
                </a:lnTo>
                <a:lnTo>
                  <a:pt x="1189176" y="1896290"/>
                </a:lnTo>
                <a:lnTo>
                  <a:pt x="1173356" y="1945979"/>
                </a:lnTo>
                <a:lnTo>
                  <a:pt x="1123668" y="1930159"/>
                </a:lnTo>
                <a:lnTo>
                  <a:pt x="1135535" y="1892884"/>
                </a:lnTo>
                <a:lnTo>
                  <a:pt x="1051823" y="1864686"/>
                </a:lnTo>
                <a:lnTo>
                  <a:pt x="1072513" y="1803264"/>
                </a:lnTo>
                <a:lnTo>
                  <a:pt x="1007548" y="1771718"/>
                </a:lnTo>
                <a:lnTo>
                  <a:pt x="1028197" y="1833019"/>
                </a:lnTo>
                <a:lnTo>
                  <a:pt x="951298" y="1858922"/>
                </a:lnTo>
                <a:lnTo>
                  <a:pt x="939149" y="1822852"/>
                </a:lnTo>
                <a:lnTo>
                  <a:pt x="858824" y="1897104"/>
                </a:lnTo>
                <a:lnTo>
                  <a:pt x="773711" y="1805028"/>
                </a:lnTo>
                <a:lnTo>
                  <a:pt x="865787" y="1719914"/>
                </a:lnTo>
                <a:lnTo>
                  <a:pt x="926656" y="1785762"/>
                </a:lnTo>
                <a:lnTo>
                  <a:pt x="925396" y="1782023"/>
                </a:lnTo>
                <a:lnTo>
                  <a:pt x="1002294" y="1756120"/>
                </a:lnTo>
                <a:lnTo>
                  <a:pt x="1005267" y="1764947"/>
                </a:lnTo>
                <a:close/>
                <a:moveTo>
                  <a:pt x="1469396" y="1660405"/>
                </a:moveTo>
                <a:lnTo>
                  <a:pt x="1498736" y="1683526"/>
                </a:lnTo>
                <a:lnTo>
                  <a:pt x="1475615" y="1712866"/>
                </a:lnTo>
                <a:lnTo>
                  <a:pt x="1446275" y="1689745"/>
                </a:lnTo>
                <a:close/>
                <a:moveTo>
                  <a:pt x="1562094" y="1637991"/>
                </a:moveTo>
                <a:lnTo>
                  <a:pt x="1563213" y="1646506"/>
                </a:lnTo>
                <a:lnTo>
                  <a:pt x="1554697" y="1647625"/>
                </a:lnTo>
                <a:lnTo>
                  <a:pt x="1553579" y="1639109"/>
                </a:lnTo>
                <a:close/>
                <a:moveTo>
                  <a:pt x="1314629" y="1629416"/>
                </a:moveTo>
                <a:lnTo>
                  <a:pt x="1330429" y="1665359"/>
                </a:lnTo>
                <a:lnTo>
                  <a:pt x="1294486" y="1681160"/>
                </a:lnTo>
                <a:lnTo>
                  <a:pt x="1286477" y="1662942"/>
                </a:lnTo>
                <a:lnTo>
                  <a:pt x="1290305" y="1717622"/>
                </a:lnTo>
                <a:lnTo>
                  <a:pt x="1221937" y="1722408"/>
                </a:lnTo>
                <a:lnTo>
                  <a:pt x="1217151" y="1654040"/>
                </a:lnTo>
                <a:lnTo>
                  <a:pt x="1280611" y="1649597"/>
                </a:lnTo>
                <a:lnTo>
                  <a:pt x="1278685" y="1645216"/>
                </a:lnTo>
                <a:close/>
                <a:moveTo>
                  <a:pt x="1813095" y="1615343"/>
                </a:moveTo>
                <a:lnTo>
                  <a:pt x="1818358" y="1624779"/>
                </a:lnTo>
                <a:lnTo>
                  <a:pt x="1808922" y="1630042"/>
                </a:lnTo>
                <a:lnTo>
                  <a:pt x="1803660" y="1620606"/>
                </a:lnTo>
                <a:close/>
                <a:moveTo>
                  <a:pt x="1535500" y="1603635"/>
                </a:moveTo>
                <a:lnTo>
                  <a:pt x="1555046" y="1613088"/>
                </a:lnTo>
                <a:lnTo>
                  <a:pt x="1545593" y="1632632"/>
                </a:lnTo>
                <a:lnTo>
                  <a:pt x="1526048" y="1623179"/>
                </a:lnTo>
                <a:close/>
                <a:moveTo>
                  <a:pt x="1429876" y="1524125"/>
                </a:moveTo>
                <a:lnTo>
                  <a:pt x="1457551" y="1612707"/>
                </a:lnTo>
                <a:lnTo>
                  <a:pt x="1368968" y="1640383"/>
                </a:lnTo>
                <a:lnTo>
                  <a:pt x="1341293" y="1551800"/>
                </a:lnTo>
                <a:close/>
                <a:moveTo>
                  <a:pt x="1506014" y="1511672"/>
                </a:moveTo>
                <a:lnTo>
                  <a:pt x="1547641" y="1573368"/>
                </a:lnTo>
                <a:lnTo>
                  <a:pt x="1485944" y="1614995"/>
                </a:lnTo>
                <a:lnTo>
                  <a:pt x="1444318" y="1553298"/>
                </a:lnTo>
                <a:close/>
                <a:moveTo>
                  <a:pt x="1625937" y="1480057"/>
                </a:moveTo>
                <a:lnTo>
                  <a:pt x="1636030" y="1485819"/>
                </a:lnTo>
                <a:lnTo>
                  <a:pt x="1630269" y="1495912"/>
                </a:lnTo>
                <a:lnTo>
                  <a:pt x="1620175" y="1490150"/>
                </a:lnTo>
                <a:close/>
                <a:moveTo>
                  <a:pt x="1562081" y="1439942"/>
                </a:moveTo>
                <a:lnTo>
                  <a:pt x="1594495" y="1501684"/>
                </a:lnTo>
                <a:lnTo>
                  <a:pt x="1532755" y="1534098"/>
                </a:lnTo>
                <a:lnTo>
                  <a:pt x="1500340" y="1472357"/>
                </a:lnTo>
                <a:close/>
                <a:moveTo>
                  <a:pt x="1733481" y="1427471"/>
                </a:moveTo>
                <a:lnTo>
                  <a:pt x="1735752" y="1435082"/>
                </a:lnTo>
                <a:lnTo>
                  <a:pt x="1728142" y="1437352"/>
                </a:lnTo>
                <a:lnTo>
                  <a:pt x="1725872" y="1429741"/>
                </a:lnTo>
                <a:close/>
                <a:moveTo>
                  <a:pt x="1897549" y="1424228"/>
                </a:moveTo>
                <a:lnTo>
                  <a:pt x="1890662" y="1424447"/>
                </a:lnTo>
                <a:lnTo>
                  <a:pt x="1890976" y="1427676"/>
                </a:lnTo>
                <a:lnTo>
                  <a:pt x="1898078" y="1425659"/>
                </a:lnTo>
                <a:close/>
                <a:moveTo>
                  <a:pt x="2006056" y="1420761"/>
                </a:moveTo>
                <a:lnTo>
                  <a:pt x="2016378" y="1426875"/>
                </a:lnTo>
                <a:lnTo>
                  <a:pt x="2010264" y="1437198"/>
                </a:lnTo>
                <a:lnTo>
                  <a:pt x="1999942" y="1431083"/>
                </a:lnTo>
                <a:close/>
                <a:moveTo>
                  <a:pt x="1647052" y="1385041"/>
                </a:moveTo>
                <a:lnTo>
                  <a:pt x="1662282" y="1390116"/>
                </a:lnTo>
                <a:lnTo>
                  <a:pt x="1657207" y="1405346"/>
                </a:lnTo>
                <a:lnTo>
                  <a:pt x="1641977" y="1400271"/>
                </a:lnTo>
                <a:close/>
                <a:moveTo>
                  <a:pt x="2059349" y="1344302"/>
                </a:moveTo>
                <a:lnTo>
                  <a:pt x="2061250" y="1360860"/>
                </a:lnTo>
                <a:lnTo>
                  <a:pt x="2044692" y="1362761"/>
                </a:lnTo>
                <a:lnTo>
                  <a:pt x="2042790" y="1346203"/>
                </a:lnTo>
                <a:close/>
                <a:moveTo>
                  <a:pt x="1714726" y="1328745"/>
                </a:moveTo>
                <a:lnTo>
                  <a:pt x="1715410" y="1337818"/>
                </a:lnTo>
                <a:lnTo>
                  <a:pt x="1706336" y="1338502"/>
                </a:lnTo>
                <a:lnTo>
                  <a:pt x="1705652" y="1329429"/>
                </a:lnTo>
                <a:close/>
                <a:moveTo>
                  <a:pt x="1979123" y="1189350"/>
                </a:moveTo>
                <a:lnTo>
                  <a:pt x="1946000" y="1209363"/>
                </a:lnTo>
                <a:lnTo>
                  <a:pt x="1972788" y="1228732"/>
                </a:lnTo>
                <a:lnTo>
                  <a:pt x="1982623" y="1194342"/>
                </a:lnTo>
                <a:close/>
                <a:moveTo>
                  <a:pt x="2155208" y="1169395"/>
                </a:moveTo>
                <a:lnTo>
                  <a:pt x="2177887" y="1175474"/>
                </a:lnTo>
                <a:lnTo>
                  <a:pt x="2171808" y="1198153"/>
                </a:lnTo>
                <a:lnTo>
                  <a:pt x="2149129" y="1192075"/>
                </a:lnTo>
                <a:close/>
                <a:moveTo>
                  <a:pt x="2152878" y="1104089"/>
                </a:moveTo>
                <a:lnTo>
                  <a:pt x="2168423" y="1110646"/>
                </a:lnTo>
                <a:lnTo>
                  <a:pt x="2161866" y="1126191"/>
                </a:lnTo>
                <a:lnTo>
                  <a:pt x="2146322" y="1119634"/>
                </a:lnTo>
                <a:close/>
                <a:moveTo>
                  <a:pt x="2073538" y="1045242"/>
                </a:moveTo>
                <a:lnTo>
                  <a:pt x="2087771" y="1048442"/>
                </a:lnTo>
                <a:lnTo>
                  <a:pt x="2084571" y="1062675"/>
                </a:lnTo>
                <a:lnTo>
                  <a:pt x="2070338" y="1059475"/>
                </a:lnTo>
                <a:close/>
                <a:moveTo>
                  <a:pt x="1985220" y="1022635"/>
                </a:moveTo>
                <a:lnTo>
                  <a:pt x="1985862" y="1023697"/>
                </a:lnTo>
                <a:lnTo>
                  <a:pt x="1987231" y="1022814"/>
                </a:lnTo>
                <a:close/>
                <a:moveTo>
                  <a:pt x="1916635" y="994154"/>
                </a:moveTo>
                <a:lnTo>
                  <a:pt x="1928422" y="1002033"/>
                </a:lnTo>
                <a:lnTo>
                  <a:pt x="1920543" y="1013821"/>
                </a:lnTo>
                <a:lnTo>
                  <a:pt x="1908756" y="1005942"/>
                </a:lnTo>
                <a:close/>
                <a:moveTo>
                  <a:pt x="2050316" y="969301"/>
                </a:moveTo>
                <a:lnTo>
                  <a:pt x="2056644" y="975056"/>
                </a:lnTo>
                <a:lnTo>
                  <a:pt x="2050888" y="981384"/>
                </a:lnTo>
                <a:lnTo>
                  <a:pt x="2044560" y="975628"/>
                </a:lnTo>
                <a:close/>
                <a:moveTo>
                  <a:pt x="1977407" y="899382"/>
                </a:moveTo>
                <a:lnTo>
                  <a:pt x="2013851" y="950626"/>
                </a:lnTo>
                <a:lnTo>
                  <a:pt x="1999840" y="960590"/>
                </a:lnTo>
                <a:lnTo>
                  <a:pt x="1994730" y="1017976"/>
                </a:lnTo>
                <a:lnTo>
                  <a:pt x="2000366" y="1014339"/>
                </a:lnTo>
                <a:lnTo>
                  <a:pt x="2030485" y="1061020"/>
                </a:lnTo>
                <a:lnTo>
                  <a:pt x="2014603" y="1071267"/>
                </a:lnTo>
                <a:lnTo>
                  <a:pt x="2051459" y="1132266"/>
                </a:lnTo>
                <a:lnTo>
                  <a:pt x="2074415" y="1116169"/>
                </a:lnTo>
                <a:lnTo>
                  <a:pt x="2102291" y="1155920"/>
                </a:lnTo>
                <a:lnTo>
                  <a:pt x="2141488" y="1167130"/>
                </a:lnTo>
                <a:lnTo>
                  <a:pt x="2132410" y="1198871"/>
                </a:lnTo>
                <a:lnTo>
                  <a:pt x="2143335" y="1214450"/>
                </a:lnTo>
                <a:lnTo>
                  <a:pt x="2124097" y="1227941"/>
                </a:lnTo>
                <a:lnTo>
                  <a:pt x="2110744" y="1274632"/>
                </a:lnTo>
                <a:lnTo>
                  <a:pt x="2116606" y="1277025"/>
                </a:lnTo>
                <a:lnTo>
                  <a:pt x="2112470" y="1287154"/>
                </a:lnTo>
                <a:lnTo>
                  <a:pt x="2107718" y="1285213"/>
                </a:lnTo>
                <a:lnTo>
                  <a:pt x="2101547" y="1306790"/>
                </a:lnTo>
                <a:lnTo>
                  <a:pt x="2064915" y="1296314"/>
                </a:lnTo>
                <a:lnTo>
                  <a:pt x="2067625" y="1335020"/>
                </a:lnTo>
                <a:lnTo>
                  <a:pt x="1999257" y="1339806"/>
                </a:lnTo>
                <a:lnTo>
                  <a:pt x="1998577" y="1330093"/>
                </a:lnTo>
                <a:lnTo>
                  <a:pt x="1983602" y="1333813"/>
                </a:lnTo>
                <a:lnTo>
                  <a:pt x="1975208" y="1345421"/>
                </a:lnTo>
                <a:lnTo>
                  <a:pt x="1996605" y="1403295"/>
                </a:lnTo>
                <a:lnTo>
                  <a:pt x="1987681" y="1406595"/>
                </a:lnTo>
                <a:lnTo>
                  <a:pt x="2019709" y="1519328"/>
                </a:lnTo>
                <a:lnTo>
                  <a:pt x="1915104" y="1549047"/>
                </a:lnTo>
                <a:lnTo>
                  <a:pt x="1916546" y="1552333"/>
                </a:lnTo>
                <a:lnTo>
                  <a:pt x="1906871" y="1556580"/>
                </a:lnTo>
                <a:lnTo>
                  <a:pt x="1904844" y="1551962"/>
                </a:lnTo>
                <a:lnTo>
                  <a:pt x="1903122" y="1552451"/>
                </a:lnTo>
                <a:lnTo>
                  <a:pt x="1903218" y="1553439"/>
                </a:lnTo>
                <a:lnTo>
                  <a:pt x="1835063" y="1560074"/>
                </a:lnTo>
                <a:lnTo>
                  <a:pt x="1839626" y="1564671"/>
                </a:lnTo>
                <a:lnTo>
                  <a:pt x="1832731" y="1571513"/>
                </a:lnTo>
                <a:lnTo>
                  <a:pt x="1825888" y="1564618"/>
                </a:lnTo>
                <a:lnTo>
                  <a:pt x="1829968" y="1560570"/>
                </a:lnTo>
                <a:lnTo>
                  <a:pt x="1770292" y="1566379"/>
                </a:lnTo>
                <a:lnTo>
                  <a:pt x="1762109" y="1589410"/>
                </a:lnTo>
                <a:lnTo>
                  <a:pt x="1747732" y="1584302"/>
                </a:lnTo>
                <a:lnTo>
                  <a:pt x="1808749" y="1662908"/>
                </a:lnTo>
                <a:lnTo>
                  <a:pt x="1695080" y="1751142"/>
                </a:lnTo>
                <a:lnTo>
                  <a:pt x="1661861" y="1708347"/>
                </a:lnTo>
                <a:lnTo>
                  <a:pt x="1622244" y="1688543"/>
                </a:lnTo>
                <a:lnTo>
                  <a:pt x="1631741" y="1669545"/>
                </a:lnTo>
                <a:lnTo>
                  <a:pt x="1606846" y="1637473"/>
                </a:lnTo>
                <a:lnTo>
                  <a:pt x="1636454" y="1614490"/>
                </a:lnTo>
                <a:lnTo>
                  <a:pt x="1632684" y="1588772"/>
                </a:lnTo>
                <a:lnTo>
                  <a:pt x="1607440" y="1610348"/>
                </a:lnTo>
                <a:lnTo>
                  <a:pt x="1561779" y="1556924"/>
                </a:lnTo>
                <a:lnTo>
                  <a:pt x="1615202" y="1511264"/>
                </a:lnTo>
                <a:lnTo>
                  <a:pt x="1652291" y="1554659"/>
                </a:lnTo>
                <a:lnTo>
                  <a:pt x="1660791" y="1553413"/>
                </a:lnTo>
                <a:lnTo>
                  <a:pt x="1655132" y="1551402"/>
                </a:lnTo>
                <a:lnTo>
                  <a:pt x="1693141" y="1444425"/>
                </a:lnTo>
                <a:lnTo>
                  <a:pt x="1744711" y="1462748"/>
                </a:lnTo>
                <a:lnTo>
                  <a:pt x="1740511" y="1419600"/>
                </a:lnTo>
                <a:lnTo>
                  <a:pt x="1781455" y="1415614"/>
                </a:lnTo>
                <a:lnTo>
                  <a:pt x="1781295" y="1410565"/>
                </a:lnTo>
                <a:lnTo>
                  <a:pt x="1777540" y="1292393"/>
                </a:lnTo>
                <a:lnTo>
                  <a:pt x="1777289" y="1284484"/>
                </a:lnTo>
                <a:lnTo>
                  <a:pt x="1768205" y="1296596"/>
                </a:lnTo>
                <a:lnTo>
                  <a:pt x="1750345" y="1283202"/>
                </a:lnTo>
                <a:lnTo>
                  <a:pt x="1763740" y="1265343"/>
                </a:lnTo>
                <a:lnTo>
                  <a:pt x="1776996" y="1275285"/>
                </a:lnTo>
                <a:lnTo>
                  <a:pt x="1776989" y="1275053"/>
                </a:lnTo>
                <a:lnTo>
                  <a:pt x="1801826" y="1274264"/>
                </a:lnTo>
                <a:lnTo>
                  <a:pt x="1774986" y="1174515"/>
                </a:lnTo>
                <a:lnTo>
                  <a:pt x="1873976" y="1147879"/>
                </a:lnTo>
                <a:lnTo>
                  <a:pt x="1857499" y="1120608"/>
                </a:lnTo>
                <a:lnTo>
                  <a:pt x="1855325" y="1121694"/>
                </a:lnTo>
                <a:lnTo>
                  <a:pt x="1844048" y="1099136"/>
                </a:lnTo>
                <a:lnTo>
                  <a:pt x="1844415" y="1098952"/>
                </a:lnTo>
                <a:lnTo>
                  <a:pt x="1837719" y="1087870"/>
                </a:lnTo>
                <a:lnTo>
                  <a:pt x="1950769" y="1019566"/>
                </a:lnTo>
                <a:lnTo>
                  <a:pt x="1929335" y="1017657"/>
                </a:lnTo>
                <a:lnTo>
                  <a:pt x="1935116" y="952748"/>
                </a:lnTo>
                <a:lnTo>
                  <a:pt x="1938406" y="953041"/>
                </a:lnTo>
                <a:lnTo>
                  <a:pt x="1926163" y="935826"/>
                </a:lnTo>
                <a:close/>
                <a:moveTo>
                  <a:pt x="2036528" y="845583"/>
                </a:moveTo>
                <a:lnTo>
                  <a:pt x="2120501" y="861374"/>
                </a:lnTo>
                <a:lnTo>
                  <a:pt x="2104710" y="945347"/>
                </a:lnTo>
                <a:lnTo>
                  <a:pt x="2020737" y="929556"/>
                </a:lnTo>
                <a:close/>
                <a:moveTo>
                  <a:pt x="2183841" y="775823"/>
                </a:moveTo>
                <a:lnTo>
                  <a:pt x="2242299" y="803282"/>
                </a:lnTo>
                <a:lnTo>
                  <a:pt x="2233229" y="822592"/>
                </a:lnTo>
                <a:lnTo>
                  <a:pt x="2308224" y="826352"/>
                </a:lnTo>
                <a:lnTo>
                  <a:pt x="2299842" y="993554"/>
                </a:lnTo>
                <a:lnTo>
                  <a:pt x="2281893" y="992654"/>
                </a:lnTo>
                <a:lnTo>
                  <a:pt x="2223383" y="1003401"/>
                </a:lnTo>
                <a:lnTo>
                  <a:pt x="2285716" y="1046162"/>
                </a:lnTo>
                <a:lnTo>
                  <a:pt x="2233139" y="1122804"/>
                </a:lnTo>
                <a:lnTo>
                  <a:pt x="2156497" y="1070228"/>
                </a:lnTo>
                <a:lnTo>
                  <a:pt x="2199307" y="1007823"/>
                </a:lnTo>
                <a:lnTo>
                  <a:pt x="2185722" y="1010318"/>
                </a:lnTo>
                <a:lnTo>
                  <a:pt x="2181554" y="987624"/>
                </a:lnTo>
                <a:lnTo>
                  <a:pt x="2132640" y="985172"/>
                </a:lnTo>
                <a:lnTo>
                  <a:pt x="2136292" y="912324"/>
                </a:lnTo>
                <a:lnTo>
                  <a:pt x="2135490" y="912453"/>
                </a:lnTo>
                <a:lnTo>
                  <a:pt x="2133763" y="901753"/>
                </a:lnTo>
                <a:lnTo>
                  <a:pt x="2136847" y="901255"/>
                </a:lnTo>
                <a:lnTo>
                  <a:pt x="2141022" y="817970"/>
                </a:lnTo>
                <a:lnTo>
                  <a:pt x="2163514" y="819098"/>
                </a:lnTo>
                <a:close/>
                <a:moveTo>
                  <a:pt x="2321559" y="753240"/>
                </a:moveTo>
                <a:lnTo>
                  <a:pt x="2323559" y="766071"/>
                </a:lnTo>
                <a:lnTo>
                  <a:pt x="2310728" y="768071"/>
                </a:lnTo>
                <a:lnTo>
                  <a:pt x="2308728" y="755240"/>
                </a:lnTo>
                <a:close/>
                <a:moveTo>
                  <a:pt x="2194198" y="584306"/>
                </a:moveTo>
                <a:lnTo>
                  <a:pt x="2179809" y="591340"/>
                </a:lnTo>
                <a:lnTo>
                  <a:pt x="2180771" y="596706"/>
                </a:lnTo>
                <a:close/>
                <a:moveTo>
                  <a:pt x="2239121" y="481751"/>
                </a:moveTo>
                <a:lnTo>
                  <a:pt x="2229525" y="544460"/>
                </a:lnTo>
                <a:lnTo>
                  <a:pt x="2179253" y="536767"/>
                </a:lnTo>
                <a:lnTo>
                  <a:pt x="2199911" y="579031"/>
                </a:lnTo>
                <a:lnTo>
                  <a:pt x="2211541" y="568292"/>
                </a:lnTo>
                <a:lnTo>
                  <a:pt x="2219704" y="577132"/>
                </a:lnTo>
                <a:lnTo>
                  <a:pt x="2219801" y="575545"/>
                </a:lnTo>
                <a:lnTo>
                  <a:pt x="2241574" y="576873"/>
                </a:lnTo>
                <a:lnTo>
                  <a:pt x="2240841" y="588886"/>
                </a:lnTo>
                <a:lnTo>
                  <a:pt x="2254296" y="568611"/>
                </a:lnTo>
                <a:lnTo>
                  <a:pt x="2237990" y="568312"/>
                </a:lnTo>
                <a:lnTo>
                  <a:pt x="2239472" y="487414"/>
                </a:lnTo>
                <a:lnTo>
                  <a:pt x="2244796" y="487511"/>
                </a:lnTo>
                <a:close/>
                <a:moveTo>
                  <a:pt x="2253586" y="400178"/>
                </a:moveTo>
                <a:lnTo>
                  <a:pt x="2300992" y="448301"/>
                </a:lnTo>
                <a:lnTo>
                  <a:pt x="2260889" y="487806"/>
                </a:lnTo>
                <a:lnTo>
                  <a:pt x="2306837" y="488649"/>
                </a:lnTo>
                <a:lnTo>
                  <a:pt x="2346446" y="424264"/>
                </a:lnTo>
                <a:lnTo>
                  <a:pt x="2420411" y="469768"/>
                </a:lnTo>
                <a:lnTo>
                  <a:pt x="2385019" y="527297"/>
                </a:lnTo>
                <a:lnTo>
                  <a:pt x="2464405" y="579981"/>
                </a:lnTo>
                <a:lnTo>
                  <a:pt x="2375602" y="713792"/>
                </a:lnTo>
                <a:lnTo>
                  <a:pt x="2374770" y="743781"/>
                </a:lnTo>
                <a:lnTo>
                  <a:pt x="2280680" y="741169"/>
                </a:lnTo>
                <a:lnTo>
                  <a:pt x="2272146" y="747793"/>
                </a:lnTo>
                <a:lnTo>
                  <a:pt x="2266703" y="740781"/>
                </a:lnTo>
                <a:lnTo>
                  <a:pt x="2246158" y="740211"/>
                </a:lnTo>
                <a:lnTo>
                  <a:pt x="2246652" y="722406"/>
                </a:lnTo>
                <a:lnTo>
                  <a:pt x="2243776" y="725062"/>
                </a:lnTo>
                <a:lnTo>
                  <a:pt x="2247335" y="768441"/>
                </a:lnTo>
                <a:lnTo>
                  <a:pt x="2196178" y="772638"/>
                </a:lnTo>
                <a:lnTo>
                  <a:pt x="2194470" y="751812"/>
                </a:lnTo>
                <a:lnTo>
                  <a:pt x="2110857" y="661265"/>
                </a:lnTo>
                <a:lnTo>
                  <a:pt x="2123344" y="649735"/>
                </a:lnTo>
                <a:lnTo>
                  <a:pt x="2122625" y="648009"/>
                </a:lnTo>
                <a:lnTo>
                  <a:pt x="2127339" y="646045"/>
                </a:lnTo>
                <a:lnTo>
                  <a:pt x="2139098" y="635187"/>
                </a:lnTo>
                <a:lnTo>
                  <a:pt x="2086115" y="644682"/>
                </a:lnTo>
                <a:lnTo>
                  <a:pt x="2083176" y="656231"/>
                </a:lnTo>
                <a:lnTo>
                  <a:pt x="2063899" y="651324"/>
                </a:lnTo>
                <a:lnTo>
                  <a:pt x="2090616" y="703964"/>
                </a:lnTo>
                <a:lnTo>
                  <a:pt x="2060777" y="719109"/>
                </a:lnTo>
                <a:lnTo>
                  <a:pt x="2082657" y="761849"/>
                </a:lnTo>
                <a:lnTo>
                  <a:pt x="2100056" y="749410"/>
                </a:lnTo>
                <a:lnTo>
                  <a:pt x="2101022" y="741992"/>
                </a:lnTo>
                <a:lnTo>
                  <a:pt x="2108983" y="743029"/>
                </a:lnTo>
                <a:lnTo>
                  <a:pt x="2114799" y="738871"/>
                </a:lnTo>
                <a:lnTo>
                  <a:pt x="2159455" y="801338"/>
                </a:lnTo>
                <a:lnTo>
                  <a:pt x="2096988" y="845994"/>
                </a:lnTo>
                <a:lnTo>
                  <a:pt x="2075736" y="816266"/>
                </a:lnTo>
                <a:lnTo>
                  <a:pt x="2011806" y="848994"/>
                </a:lnTo>
                <a:lnTo>
                  <a:pt x="2014784" y="849643"/>
                </a:lnTo>
                <a:lnTo>
                  <a:pt x="2009691" y="873020"/>
                </a:lnTo>
                <a:lnTo>
                  <a:pt x="1986314" y="867927"/>
                </a:lnTo>
                <a:lnTo>
                  <a:pt x="1987756" y="861306"/>
                </a:lnTo>
                <a:lnTo>
                  <a:pt x="1981396" y="864562"/>
                </a:lnTo>
                <a:lnTo>
                  <a:pt x="1918991" y="742665"/>
                </a:lnTo>
                <a:lnTo>
                  <a:pt x="2000942" y="700710"/>
                </a:lnTo>
                <a:lnTo>
                  <a:pt x="1985100" y="669496"/>
                </a:lnTo>
                <a:lnTo>
                  <a:pt x="2035264" y="644036"/>
                </a:lnTo>
                <a:lnTo>
                  <a:pt x="2006020" y="636593"/>
                </a:lnTo>
                <a:lnTo>
                  <a:pt x="2025658" y="559436"/>
                </a:lnTo>
                <a:lnTo>
                  <a:pt x="2051605" y="566041"/>
                </a:lnTo>
                <a:lnTo>
                  <a:pt x="2030304" y="522464"/>
                </a:lnTo>
                <a:lnTo>
                  <a:pt x="2046866" y="514368"/>
                </a:lnTo>
                <a:lnTo>
                  <a:pt x="2039974" y="477758"/>
                </a:lnTo>
                <a:lnTo>
                  <a:pt x="2090685" y="468212"/>
                </a:lnTo>
                <a:lnTo>
                  <a:pt x="2094949" y="490865"/>
                </a:lnTo>
                <a:lnTo>
                  <a:pt x="2144884" y="466456"/>
                </a:lnTo>
                <a:lnTo>
                  <a:pt x="2147249" y="471295"/>
                </a:lnTo>
                <a:lnTo>
                  <a:pt x="2152168" y="439150"/>
                </a:lnTo>
                <a:lnTo>
                  <a:pt x="2205707" y="447343"/>
                </a:lnTo>
                <a:close/>
                <a:moveTo>
                  <a:pt x="2232299" y="393983"/>
                </a:moveTo>
                <a:lnTo>
                  <a:pt x="2233019" y="405582"/>
                </a:lnTo>
                <a:lnTo>
                  <a:pt x="2221419" y="406302"/>
                </a:lnTo>
                <a:lnTo>
                  <a:pt x="2220699" y="394702"/>
                </a:lnTo>
                <a:close/>
                <a:moveTo>
                  <a:pt x="2289412" y="170263"/>
                </a:moveTo>
                <a:lnTo>
                  <a:pt x="2302616" y="189093"/>
                </a:lnTo>
                <a:lnTo>
                  <a:pt x="2400832" y="209325"/>
                </a:lnTo>
                <a:close/>
                <a:moveTo>
                  <a:pt x="966418" y="68683"/>
                </a:moveTo>
                <a:lnTo>
                  <a:pt x="1395104" y="68683"/>
                </a:lnTo>
                <a:lnTo>
                  <a:pt x="1395104" y="497369"/>
                </a:lnTo>
                <a:lnTo>
                  <a:pt x="966418" y="497369"/>
                </a:lnTo>
                <a:close/>
                <a:moveTo>
                  <a:pt x="185253" y="68683"/>
                </a:moveTo>
                <a:lnTo>
                  <a:pt x="613939" y="68683"/>
                </a:lnTo>
                <a:lnTo>
                  <a:pt x="613939" y="497369"/>
                </a:lnTo>
                <a:lnTo>
                  <a:pt x="185253" y="497369"/>
                </a:lnTo>
                <a:close/>
                <a:moveTo>
                  <a:pt x="2133767" y="0"/>
                </a:moveTo>
                <a:lnTo>
                  <a:pt x="2249874" y="85289"/>
                </a:lnTo>
                <a:lnTo>
                  <a:pt x="2240349" y="98255"/>
                </a:lnTo>
                <a:lnTo>
                  <a:pt x="2278098" y="112655"/>
                </a:lnTo>
                <a:lnTo>
                  <a:pt x="2278233" y="112264"/>
                </a:lnTo>
                <a:lnTo>
                  <a:pt x="2289713" y="116242"/>
                </a:lnTo>
                <a:lnTo>
                  <a:pt x="2320444" y="28587"/>
                </a:lnTo>
                <a:lnTo>
                  <a:pt x="2456300" y="76217"/>
                </a:lnTo>
                <a:lnTo>
                  <a:pt x="2409042" y="211016"/>
                </a:lnTo>
                <a:lnTo>
                  <a:pt x="2435454" y="216457"/>
                </a:lnTo>
                <a:lnTo>
                  <a:pt x="2405348" y="362600"/>
                </a:lnTo>
                <a:lnTo>
                  <a:pt x="2375077" y="356365"/>
                </a:lnTo>
                <a:lnTo>
                  <a:pt x="2370897" y="403303"/>
                </a:lnTo>
                <a:lnTo>
                  <a:pt x="2321713" y="398923"/>
                </a:lnTo>
                <a:lnTo>
                  <a:pt x="2330526" y="425932"/>
                </a:lnTo>
                <a:lnTo>
                  <a:pt x="2297629" y="436666"/>
                </a:lnTo>
                <a:lnTo>
                  <a:pt x="2286895" y="403771"/>
                </a:lnTo>
                <a:lnTo>
                  <a:pt x="2306032" y="397526"/>
                </a:lnTo>
                <a:lnTo>
                  <a:pt x="2305988" y="397522"/>
                </a:lnTo>
                <a:lnTo>
                  <a:pt x="2310832" y="343130"/>
                </a:lnTo>
                <a:lnTo>
                  <a:pt x="2276368" y="336030"/>
                </a:lnTo>
                <a:lnTo>
                  <a:pt x="2255311" y="348222"/>
                </a:lnTo>
                <a:lnTo>
                  <a:pt x="2230822" y="305925"/>
                </a:lnTo>
                <a:lnTo>
                  <a:pt x="2269263" y="283669"/>
                </a:lnTo>
                <a:lnTo>
                  <a:pt x="2273218" y="264467"/>
                </a:lnTo>
                <a:lnTo>
                  <a:pt x="2230076" y="294721"/>
                </a:lnTo>
                <a:lnTo>
                  <a:pt x="2173587" y="214165"/>
                </a:lnTo>
                <a:lnTo>
                  <a:pt x="2143751" y="247325"/>
                </a:lnTo>
                <a:lnTo>
                  <a:pt x="2144162" y="248415"/>
                </a:lnTo>
                <a:lnTo>
                  <a:pt x="2226609" y="294815"/>
                </a:lnTo>
                <a:lnTo>
                  <a:pt x="2177632" y="381841"/>
                </a:lnTo>
                <a:lnTo>
                  <a:pt x="2160811" y="372374"/>
                </a:lnTo>
                <a:lnTo>
                  <a:pt x="2165772" y="434391"/>
                </a:lnTo>
                <a:lnTo>
                  <a:pt x="2051665" y="443519"/>
                </a:lnTo>
                <a:lnTo>
                  <a:pt x="2046727" y="381793"/>
                </a:lnTo>
                <a:lnTo>
                  <a:pt x="2006515" y="396932"/>
                </a:lnTo>
                <a:lnTo>
                  <a:pt x="1942691" y="227401"/>
                </a:lnTo>
                <a:lnTo>
                  <a:pt x="2045004" y="188883"/>
                </a:lnTo>
                <a:lnTo>
                  <a:pt x="2029745" y="175154"/>
                </a:lnTo>
                <a:lnTo>
                  <a:pt x="2052088" y="150322"/>
                </a:lnTo>
                <a:lnTo>
                  <a:pt x="2048967" y="151663"/>
                </a:lnTo>
                <a:lnTo>
                  <a:pt x="2044298" y="140796"/>
                </a:lnTo>
                <a:lnTo>
                  <a:pt x="2055164" y="136128"/>
                </a:lnTo>
                <a:lnTo>
                  <a:pt x="2058298" y="143421"/>
                </a:lnTo>
                <a:lnTo>
                  <a:pt x="2069187" y="131319"/>
                </a:lnTo>
                <a:lnTo>
                  <a:pt x="2048478" y="116107"/>
                </a:lnTo>
                <a:close/>
              </a:path>
            </a:pathLst>
          </a:custGeom>
          <a:gradFill flip="none" rotWithShape="1">
            <a:gsLst>
              <a:gs pos="22000">
                <a:schemeClr val="accent1"/>
              </a:gs>
              <a:gs pos="100000">
                <a:schemeClr val="accent2"/>
              </a:gs>
            </a:gsLst>
            <a:lin ang="5400000" scaled="1"/>
            <a:tileRect/>
          </a:gradFill>
          <a:ln w="339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B24AE916-8A4D-4DF2-9F4C-22DF6430231C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1216268" y="6439360"/>
            <a:chExt cx="549385" cy="213656"/>
          </a:xfrm>
        </p:grpSpPr>
        <p:sp>
          <p:nvSpPr>
            <p:cNvPr id="177" name="Freeform 8">
              <a:extLst>
                <a:ext uri="{FF2B5EF4-FFF2-40B4-BE49-F238E27FC236}">
                  <a16:creationId xmlns:a16="http://schemas.microsoft.com/office/drawing/2014/main" id="{DC7D11F0-152B-4FA1-B150-F2A17C3CAB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39510" y="6442622"/>
              <a:ext cx="126143" cy="20550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8" name="Freeform 9">
              <a:extLst>
                <a:ext uri="{FF2B5EF4-FFF2-40B4-BE49-F238E27FC236}">
                  <a16:creationId xmlns:a16="http://schemas.microsoft.com/office/drawing/2014/main" id="{3E925F9F-F667-4D02-92AA-F17D97A38B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61915" y="6439360"/>
              <a:ext cx="156019" cy="21365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9" name="Rectangle 10">
              <a:extLst>
                <a:ext uri="{FF2B5EF4-FFF2-40B4-BE49-F238E27FC236}">
                  <a16:creationId xmlns:a16="http://schemas.microsoft.com/office/drawing/2014/main" id="{08A80DFA-6438-4171-84EF-A9F4FFEC20B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92204" y="6442622"/>
              <a:ext cx="51453" cy="2055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0" name="Freeform 11">
              <a:extLst>
                <a:ext uri="{FF2B5EF4-FFF2-40B4-BE49-F238E27FC236}">
                  <a16:creationId xmlns:a16="http://schemas.microsoft.com/office/drawing/2014/main" id="{EC3E6D59-898E-4F7A-A653-200582B8AF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6268" y="6442622"/>
              <a:ext cx="147720" cy="20550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1" name="Rectangle 12">
              <a:extLst>
                <a:ext uri="{FF2B5EF4-FFF2-40B4-BE49-F238E27FC236}">
                  <a16:creationId xmlns:a16="http://schemas.microsoft.com/office/drawing/2014/main" id="{31F9402B-3B48-4DA8-A1B7-B8B388CCFE1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17933" y="6522539"/>
              <a:ext cx="4647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2" name="Rectangle 13">
              <a:extLst>
                <a:ext uri="{FF2B5EF4-FFF2-40B4-BE49-F238E27FC236}">
                  <a16:creationId xmlns:a16="http://schemas.microsoft.com/office/drawing/2014/main" id="{B49D0F65-3FA6-488A-9471-D652ADED19F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443656" y="6522539"/>
              <a:ext cx="4481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3" name="Rectangle 14">
              <a:extLst>
                <a:ext uri="{FF2B5EF4-FFF2-40B4-BE49-F238E27FC236}">
                  <a16:creationId xmlns:a16="http://schemas.microsoft.com/office/drawing/2014/main" id="{DDA164F6-F271-4C07-86DE-B892EA9D983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47390" y="6522539"/>
              <a:ext cx="4481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AC85AD4D-D2CC-4B08-A3B0-2ED95ACDA78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1492" y="1211720"/>
            <a:ext cx="7799177" cy="5129009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9106899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7_Title Open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04BE187-2F3D-4FB4-BB7E-78EB023E85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</p:spPr>
      </p:pic>
      <p:sp>
        <p:nvSpPr>
          <p:cNvPr id="29" name="Freeform 8"/>
          <p:cNvSpPr>
            <a:spLocks/>
          </p:cNvSpPr>
          <p:nvPr/>
        </p:nvSpPr>
        <p:spPr bwMode="auto">
          <a:xfrm>
            <a:off x="1644736" y="554412"/>
            <a:ext cx="311345" cy="544138"/>
          </a:xfrm>
          <a:custGeom>
            <a:avLst/>
            <a:gdLst>
              <a:gd name="T0" fmla="*/ 0 w 332"/>
              <a:gd name="T1" fmla="*/ 0 h 551"/>
              <a:gd name="T2" fmla="*/ 834380475 w 332"/>
              <a:gd name="T3" fmla="*/ 0 h 551"/>
              <a:gd name="T4" fmla="*/ 834380475 w 332"/>
              <a:gd name="T5" fmla="*/ 326553043 h 551"/>
              <a:gd name="T6" fmla="*/ 331741635 w 332"/>
              <a:gd name="T7" fmla="*/ 326553043 h 551"/>
              <a:gd name="T8" fmla="*/ 331741635 w 332"/>
              <a:gd name="T9" fmla="*/ 530021499 h 551"/>
              <a:gd name="T10" fmla="*/ 743905484 w 332"/>
              <a:gd name="T11" fmla="*/ 530021499 h 551"/>
              <a:gd name="T12" fmla="*/ 743905484 w 332"/>
              <a:gd name="T13" fmla="*/ 851550649 h 551"/>
              <a:gd name="T14" fmla="*/ 331741635 w 332"/>
              <a:gd name="T15" fmla="*/ 851550649 h 551"/>
              <a:gd name="T16" fmla="*/ 331741635 w 332"/>
              <a:gd name="T17" fmla="*/ 1062554154 h 551"/>
              <a:gd name="T18" fmla="*/ 834380475 w 332"/>
              <a:gd name="T19" fmla="*/ 1062554154 h 551"/>
              <a:gd name="T20" fmla="*/ 834380475 w 332"/>
              <a:gd name="T21" fmla="*/ 1384083304 h 551"/>
              <a:gd name="T22" fmla="*/ 0 w 332"/>
              <a:gd name="T23" fmla="*/ 1384083304 h 551"/>
              <a:gd name="T24" fmla="*/ 0 w 332"/>
              <a:gd name="T25" fmla="*/ 0 h 55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32" h="551">
                <a:moveTo>
                  <a:pt x="0" y="0"/>
                </a:moveTo>
                <a:lnTo>
                  <a:pt x="332" y="0"/>
                </a:lnTo>
                <a:lnTo>
                  <a:pt x="332" y="130"/>
                </a:lnTo>
                <a:lnTo>
                  <a:pt x="132" y="130"/>
                </a:lnTo>
                <a:lnTo>
                  <a:pt x="132" y="211"/>
                </a:lnTo>
                <a:lnTo>
                  <a:pt x="296" y="211"/>
                </a:lnTo>
                <a:lnTo>
                  <a:pt x="296" y="339"/>
                </a:lnTo>
                <a:lnTo>
                  <a:pt x="132" y="339"/>
                </a:lnTo>
                <a:lnTo>
                  <a:pt x="132" y="423"/>
                </a:lnTo>
                <a:lnTo>
                  <a:pt x="332" y="423"/>
                </a:lnTo>
                <a:lnTo>
                  <a:pt x="332" y="551"/>
                </a:lnTo>
                <a:lnTo>
                  <a:pt x="0" y="551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/>
          <a:lstStyle/>
          <a:p>
            <a:pPr defTabSz="1085578">
              <a:defRPr/>
            </a:pPr>
            <a:endParaRPr lang="en-US" sz="1199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30" name="Freeform 9"/>
          <p:cNvSpPr>
            <a:spLocks/>
          </p:cNvSpPr>
          <p:nvPr/>
        </p:nvSpPr>
        <p:spPr bwMode="auto">
          <a:xfrm>
            <a:off x="1206394" y="545775"/>
            <a:ext cx="385086" cy="565732"/>
          </a:xfrm>
          <a:custGeom>
            <a:avLst/>
            <a:gdLst>
              <a:gd name="T0" fmla="*/ 1281005241 w 228"/>
              <a:gd name="T1" fmla="*/ 1005742145 h 317"/>
              <a:gd name="T2" fmla="*/ 1158616841 w 228"/>
              <a:gd name="T3" fmla="*/ 695025501 h 317"/>
              <a:gd name="T4" fmla="*/ 946475046 w 228"/>
              <a:gd name="T5" fmla="*/ 605079780 h 317"/>
              <a:gd name="T6" fmla="*/ 693538069 w 228"/>
              <a:gd name="T7" fmla="*/ 801321871 h 317"/>
              <a:gd name="T8" fmla="*/ 611944852 w 228"/>
              <a:gd name="T9" fmla="*/ 1324636972 h 317"/>
              <a:gd name="T10" fmla="*/ 954635223 w 228"/>
              <a:gd name="T11" fmla="*/ 1995130782 h 317"/>
              <a:gd name="T12" fmla="*/ 1281005241 w 228"/>
              <a:gd name="T13" fmla="*/ 1561761402 h 317"/>
              <a:gd name="T14" fmla="*/ 1860312235 w 228"/>
              <a:gd name="T15" fmla="*/ 1561761402 h 317"/>
              <a:gd name="T16" fmla="*/ 1607375258 w 228"/>
              <a:gd name="T17" fmla="*/ 2147483647 h 317"/>
              <a:gd name="T18" fmla="*/ 987270229 w 228"/>
              <a:gd name="T19" fmla="*/ 2147483647 h 317"/>
              <a:gd name="T20" fmla="*/ 465078772 w 228"/>
              <a:gd name="T21" fmla="*/ 2147483647 h 317"/>
              <a:gd name="T22" fmla="*/ 130548577 w 228"/>
              <a:gd name="T23" fmla="*/ 2003308966 h 317"/>
              <a:gd name="T24" fmla="*/ 0 w 228"/>
              <a:gd name="T25" fmla="*/ 1324636972 h 317"/>
              <a:gd name="T26" fmla="*/ 130548577 w 228"/>
              <a:gd name="T27" fmla="*/ 580550948 h 317"/>
              <a:gd name="T28" fmla="*/ 489556452 w 228"/>
              <a:gd name="T29" fmla="*/ 139006244 h 317"/>
              <a:gd name="T30" fmla="*/ 921997366 w 228"/>
              <a:gd name="T31" fmla="*/ 0 h 317"/>
              <a:gd name="T32" fmla="*/ 1615535435 w 228"/>
              <a:gd name="T33" fmla="*/ 302541320 h 317"/>
              <a:gd name="T34" fmla="*/ 1843994732 w 228"/>
              <a:gd name="T35" fmla="*/ 1005742145 h 317"/>
              <a:gd name="T36" fmla="*/ 1281005241 w 228"/>
              <a:gd name="T37" fmla="*/ 1005742145 h 317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228" h="317">
                <a:moveTo>
                  <a:pt x="157" y="123"/>
                </a:moveTo>
                <a:cubicBezTo>
                  <a:pt x="154" y="105"/>
                  <a:pt x="148" y="91"/>
                  <a:pt x="142" y="85"/>
                </a:cubicBezTo>
                <a:cubicBezTo>
                  <a:pt x="133" y="78"/>
                  <a:pt x="124" y="74"/>
                  <a:pt x="116" y="74"/>
                </a:cubicBezTo>
                <a:cubicBezTo>
                  <a:pt x="102" y="74"/>
                  <a:pt x="91" y="83"/>
                  <a:pt x="85" y="98"/>
                </a:cubicBezTo>
                <a:cubicBezTo>
                  <a:pt x="78" y="116"/>
                  <a:pt x="75" y="137"/>
                  <a:pt x="75" y="162"/>
                </a:cubicBezTo>
                <a:cubicBezTo>
                  <a:pt x="75" y="216"/>
                  <a:pt x="89" y="244"/>
                  <a:pt x="117" y="244"/>
                </a:cubicBezTo>
                <a:cubicBezTo>
                  <a:pt x="139" y="244"/>
                  <a:pt x="153" y="225"/>
                  <a:pt x="157" y="191"/>
                </a:cubicBezTo>
                <a:cubicBezTo>
                  <a:pt x="228" y="191"/>
                  <a:pt x="228" y="191"/>
                  <a:pt x="228" y="191"/>
                </a:cubicBezTo>
                <a:cubicBezTo>
                  <a:pt x="225" y="229"/>
                  <a:pt x="215" y="260"/>
                  <a:pt x="197" y="283"/>
                </a:cubicBezTo>
                <a:cubicBezTo>
                  <a:pt x="178" y="306"/>
                  <a:pt x="151" y="317"/>
                  <a:pt x="121" y="317"/>
                </a:cubicBezTo>
                <a:cubicBezTo>
                  <a:pt x="97" y="317"/>
                  <a:pt x="75" y="311"/>
                  <a:pt x="57" y="299"/>
                </a:cubicBezTo>
                <a:cubicBezTo>
                  <a:pt x="38" y="287"/>
                  <a:pt x="25" y="269"/>
                  <a:pt x="16" y="245"/>
                </a:cubicBezTo>
                <a:cubicBezTo>
                  <a:pt x="6" y="223"/>
                  <a:pt x="0" y="193"/>
                  <a:pt x="0" y="162"/>
                </a:cubicBezTo>
                <a:cubicBezTo>
                  <a:pt x="0" y="127"/>
                  <a:pt x="6" y="96"/>
                  <a:pt x="16" y="71"/>
                </a:cubicBezTo>
                <a:cubicBezTo>
                  <a:pt x="28" y="47"/>
                  <a:pt x="43" y="28"/>
                  <a:pt x="60" y="17"/>
                </a:cubicBezTo>
                <a:cubicBezTo>
                  <a:pt x="77" y="7"/>
                  <a:pt x="96" y="0"/>
                  <a:pt x="113" y="0"/>
                </a:cubicBezTo>
                <a:cubicBezTo>
                  <a:pt x="152" y="1"/>
                  <a:pt x="182" y="15"/>
                  <a:pt x="198" y="37"/>
                </a:cubicBezTo>
                <a:cubicBezTo>
                  <a:pt x="214" y="61"/>
                  <a:pt x="224" y="90"/>
                  <a:pt x="226" y="123"/>
                </a:cubicBezTo>
                <a:lnTo>
                  <a:pt x="157" y="12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/>
          <a:lstStyle/>
          <a:p>
            <a:pPr defTabSz="1085578">
              <a:defRPr/>
            </a:pPr>
            <a:endParaRPr lang="en-US" sz="1199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31" name="Rectangle 10"/>
          <p:cNvSpPr>
            <a:spLocks noChangeArrowheads="1"/>
          </p:cNvSpPr>
          <p:nvPr/>
        </p:nvSpPr>
        <p:spPr bwMode="auto">
          <a:xfrm>
            <a:off x="1034335" y="554412"/>
            <a:ext cx="126995" cy="544138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/>
          <a:lstStyle/>
          <a:p>
            <a:pPr defTabSz="1085578">
              <a:defRPr/>
            </a:pPr>
            <a:endParaRPr lang="en-US" sz="1199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32" name="Freeform 11"/>
          <p:cNvSpPr>
            <a:spLocks/>
          </p:cNvSpPr>
          <p:nvPr/>
        </p:nvSpPr>
        <p:spPr bwMode="auto">
          <a:xfrm>
            <a:off x="600089" y="554412"/>
            <a:ext cx="364601" cy="544138"/>
          </a:xfrm>
          <a:custGeom>
            <a:avLst/>
            <a:gdLst>
              <a:gd name="T0" fmla="*/ 0 w 386"/>
              <a:gd name="T1" fmla="*/ 0 h 551"/>
              <a:gd name="T2" fmla="*/ 301231077 w 386"/>
              <a:gd name="T3" fmla="*/ 0 h 551"/>
              <a:gd name="T4" fmla="*/ 655619642 w 386"/>
              <a:gd name="T5" fmla="*/ 766144469 h 551"/>
              <a:gd name="T6" fmla="*/ 655619642 w 386"/>
              <a:gd name="T7" fmla="*/ 462198153 h 551"/>
              <a:gd name="T8" fmla="*/ 655619642 w 386"/>
              <a:gd name="T9" fmla="*/ 0 h 551"/>
              <a:gd name="T10" fmla="*/ 977099900 w 386"/>
              <a:gd name="T11" fmla="*/ 0 h 551"/>
              <a:gd name="T12" fmla="*/ 977099900 w 386"/>
              <a:gd name="T13" fmla="*/ 1384083304 h 551"/>
              <a:gd name="T14" fmla="*/ 660682336 w 386"/>
              <a:gd name="T15" fmla="*/ 1384083304 h 551"/>
              <a:gd name="T16" fmla="*/ 313887015 w 386"/>
              <a:gd name="T17" fmla="*/ 638034407 h 551"/>
              <a:gd name="T18" fmla="*/ 313887015 w 386"/>
              <a:gd name="T19" fmla="*/ 959563557 h 551"/>
              <a:gd name="T20" fmla="*/ 313887015 w 386"/>
              <a:gd name="T21" fmla="*/ 1384083304 h 551"/>
              <a:gd name="T22" fmla="*/ 0 w 386"/>
              <a:gd name="T23" fmla="*/ 1384083304 h 551"/>
              <a:gd name="T24" fmla="*/ 0 w 386"/>
              <a:gd name="T25" fmla="*/ 0 h 55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86" h="551">
                <a:moveTo>
                  <a:pt x="0" y="0"/>
                </a:moveTo>
                <a:lnTo>
                  <a:pt x="119" y="0"/>
                </a:lnTo>
                <a:lnTo>
                  <a:pt x="259" y="305"/>
                </a:lnTo>
                <a:lnTo>
                  <a:pt x="259" y="184"/>
                </a:lnTo>
                <a:lnTo>
                  <a:pt x="259" y="0"/>
                </a:lnTo>
                <a:lnTo>
                  <a:pt x="386" y="0"/>
                </a:lnTo>
                <a:lnTo>
                  <a:pt x="386" y="551"/>
                </a:lnTo>
                <a:lnTo>
                  <a:pt x="261" y="551"/>
                </a:lnTo>
                <a:lnTo>
                  <a:pt x="124" y="254"/>
                </a:lnTo>
                <a:lnTo>
                  <a:pt x="124" y="382"/>
                </a:lnTo>
                <a:lnTo>
                  <a:pt x="124" y="551"/>
                </a:lnTo>
                <a:lnTo>
                  <a:pt x="0" y="551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/>
          <a:lstStyle/>
          <a:p>
            <a:pPr defTabSz="1085578">
              <a:defRPr/>
            </a:pPr>
            <a:endParaRPr lang="en-US" sz="1199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1591480" y="766023"/>
            <a:ext cx="114707" cy="120919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199"/>
          </a:p>
        </p:txBody>
      </p:sp>
      <p:sp>
        <p:nvSpPr>
          <p:cNvPr id="38" name="Rectangle 13"/>
          <p:cNvSpPr>
            <a:spLocks noChangeArrowheads="1"/>
          </p:cNvSpPr>
          <p:nvPr/>
        </p:nvSpPr>
        <p:spPr bwMode="auto">
          <a:xfrm>
            <a:off x="1161329" y="766023"/>
            <a:ext cx="110611" cy="120919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199"/>
          </a:p>
        </p:txBody>
      </p:sp>
      <p:sp>
        <p:nvSpPr>
          <p:cNvPr id="39" name="Rectangle 14"/>
          <p:cNvSpPr>
            <a:spLocks noChangeArrowheads="1"/>
          </p:cNvSpPr>
          <p:nvPr/>
        </p:nvSpPr>
        <p:spPr bwMode="auto">
          <a:xfrm>
            <a:off x="923723" y="766023"/>
            <a:ext cx="110611" cy="120919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199"/>
          </a:p>
        </p:txBody>
      </p:sp>
      <p:sp>
        <p:nvSpPr>
          <p:cNvPr id="18" name="Rectangle 1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00089" y="2223014"/>
            <a:ext cx="5453717" cy="2165193"/>
          </a:xfrm>
        </p:spPr>
        <p:txBody>
          <a:bodyPr anchor="b" anchorCtr="0"/>
          <a:lstStyle>
            <a:lvl1pPr marL="0" indent="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ZA" sz="4800" b="0" kern="1200" cap="none" baseline="0" dirty="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41C63BFD-F389-45A0-A56C-4A1D4510FC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0089" y="4632938"/>
            <a:ext cx="5453717" cy="727075"/>
          </a:xfrm>
        </p:spPr>
        <p:txBody>
          <a:bodyPr lIns="0" rIns="0">
            <a:norm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995457936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2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54C7864-D369-425A-9BD0-E9695D2223BA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-1597" y="-3552"/>
            <a:ext cx="8921162" cy="310494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Clr>
                <a:schemeClr val="bg2"/>
              </a:buClr>
              <a:buNone/>
              <a:defRPr lang="en-US" sz="2200" dirty="0" smtClean="0">
                <a:solidFill>
                  <a:schemeClr val="bg1"/>
                </a:solidFill>
              </a:defRPr>
            </a:lvl1pPr>
            <a:lvl2pPr marL="457200" indent="-185738">
              <a:buClr>
                <a:schemeClr val="bg2"/>
              </a:buClr>
              <a:buFont typeface="Arial" panose="020B0604020202020204" pitchFamily="34" charset="0"/>
              <a:buChar char="•"/>
              <a:defRPr lang="en-US" sz="1800" dirty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31201" y="241159"/>
            <a:ext cx="8201160" cy="25865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Quotation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2A44483-E96C-4198-8A6B-48BB0F8003C7}"/>
              </a:ext>
            </a:extLst>
          </p:cNvPr>
          <p:cNvSpPr/>
          <p:nvPr/>
        </p:nvSpPr>
        <p:spPr>
          <a:xfrm>
            <a:off x="8921162" y="1"/>
            <a:ext cx="3270837" cy="31056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19746" name="Freeform: Shape 19745">
            <a:extLst>
              <a:ext uri="{FF2B5EF4-FFF2-40B4-BE49-F238E27FC236}">
                <a16:creationId xmlns:a16="http://schemas.microsoft.com/office/drawing/2014/main" id="{8C3B3E00-D1C1-453B-8A8C-BB9AA64779E4}"/>
              </a:ext>
            </a:extLst>
          </p:cNvPr>
          <p:cNvSpPr/>
          <p:nvPr/>
        </p:nvSpPr>
        <p:spPr>
          <a:xfrm>
            <a:off x="9865316" y="707801"/>
            <a:ext cx="351276" cy="351276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solidFill>
            <a:schemeClr val="accent2"/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9747" name="Freeform: Shape 19746">
            <a:extLst>
              <a:ext uri="{FF2B5EF4-FFF2-40B4-BE49-F238E27FC236}">
                <a16:creationId xmlns:a16="http://schemas.microsoft.com/office/drawing/2014/main" id="{0DCCBABF-42E0-48A1-9F81-4EFE005A8E45}"/>
              </a:ext>
            </a:extLst>
          </p:cNvPr>
          <p:cNvSpPr/>
          <p:nvPr/>
        </p:nvSpPr>
        <p:spPr>
          <a:xfrm>
            <a:off x="10505393" y="707801"/>
            <a:ext cx="351276" cy="351276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solidFill>
            <a:schemeClr val="accent2"/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9748" name="Freeform: Shape 19747">
            <a:extLst>
              <a:ext uri="{FF2B5EF4-FFF2-40B4-BE49-F238E27FC236}">
                <a16:creationId xmlns:a16="http://schemas.microsoft.com/office/drawing/2014/main" id="{77795AA3-A3E1-4CA9-BBC5-44FA2418EB5C}"/>
              </a:ext>
            </a:extLst>
          </p:cNvPr>
          <p:cNvSpPr/>
          <p:nvPr/>
        </p:nvSpPr>
        <p:spPr>
          <a:xfrm>
            <a:off x="9640592" y="704520"/>
            <a:ext cx="2032569" cy="1697923"/>
          </a:xfrm>
          <a:custGeom>
            <a:avLst/>
            <a:gdLst>
              <a:gd name="connsiteX0" fmla="*/ 1597588 w 1879452"/>
              <a:gd name="connsiteY0" fmla="*/ 246887 h 1570015"/>
              <a:gd name="connsiteX1" fmla="*/ 554462 w 1879452"/>
              <a:gd name="connsiteY1" fmla="*/ 1290013 h 1570015"/>
              <a:gd name="connsiteX2" fmla="*/ 185419 w 1879452"/>
              <a:gd name="connsiteY2" fmla="*/ 1223036 h 1570015"/>
              <a:gd name="connsiteX3" fmla="*/ 5476 w 1879452"/>
              <a:gd name="connsiteY3" fmla="*/ 1301795 h 1570015"/>
              <a:gd name="connsiteX4" fmla="*/ 84235 w 1879452"/>
              <a:gd name="connsiteY4" fmla="*/ 1481711 h 1570015"/>
              <a:gd name="connsiteX5" fmla="*/ 87295 w 1879452"/>
              <a:gd name="connsiteY5" fmla="*/ 1482876 h 1570015"/>
              <a:gd name="connsiteX6" fmla="*/ 1789746 w 1879452"/>
              <a:gd name="connsiteY6" fmla="*/ 715840 h 1570015"/>
              <a:gd name="connsiteX7" fmla="*/ 1875358 w 1879452"/>
              <a:gd name="connsiteY7" fmla="*/ 246887 h 1570015"/>
              <a:gd name="connsiteX8" fmla="*/ 1875358 w 1879452"/>
              <a:gd name="connsiteY8" fmla="*/ -1172 h 1570015"/>
              <a:gd name="connsiteX9" fmla="*/ 1597588 w 1879452"/>
              <a:gd name="connsiteY9" fmla="*/ -1172 h 1570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79452" h="1570015">
                <a:moveTo>
                  <a:pt x="1597588" y="246887"/>
                </a:moveTo>
                <a:cubicBezTo>
                  <a:pt x="1597588" y="822062"/>
                  <a:pt x="1129636" y="1290013"/>
                  <a:pt x="554462" y="1290013"/>
                </a:cubicBezTo>
                <a:cubicBezTo>
                  <a:pt x="428414" y="1290230"/>
                  <a:pt x="303368" y="1267534"/>
                  <a:pt x="185419" y="1223036"/>
                </a:cubicBezTo>
                <a:cubicBezTo>
                  <a:pt x="113973" y="1195085"/>
                  <a:pt x="33425" y="1230348"/>
                  <a:pt x="5476" y="1301795"/>
                </a:cubicBezTo>
                <a:cubicBezTo>
                  <a:pt x="-22448" y="1373215"/>
                  <a:pt x="12815" y="1453788"/>
                  <a:pt x="84235" y="1481711"/>
                </a:cubicBezTo>
                <a:cubicBezTo>
                  <a:pt x="85264" y="1482118"/>
                  <a:pt x="86266" y="1482497"/>
                  <a:pt x="87295" y="1482876"/>
                </a:cubicBezTo>
                <a:cubicBezTo>
                  <a:pt x="769235" y="1741173"/>
                  <a:pt x="1531450" y="1397779"/>
                  <a:pt x="1789746" y="715840"/>
                </a:cubicBezTo>
                <a:cubicBezTo>
                  <a:pt x="1846487" y="566013"/>
                  <a:pt x="1875520" y="407114"/>
                  <a:pt x="1875358" y="246887"/>
                </a:cubicBezTo>
                <a:lnTo>
                  <a:pt x="1875358" y="-1172"/>
                </a:lnTo>
                <a:lnTo>
                  <a:pt x="1597588" y="-1172"/>
                </a:lnTo>
                <a:close/>
              </a:path>
            </a:pathLst>
          </a:custGeom>
          <a:gradFill flip="none" rotWithShape="1">
            <a:gsLst>
              <a:gs pos="10000">
                <a:schemeClr val="accent2"/>
              </a:gs>
              <a:gs pos="70000">
                <a:schemeClr val="accent6"/>
              </a:gs>
            </a:gsLst>
            <a:lin ang="7200000" scaled="0"/>
            <a:tileRect/>
          </a:gra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533574A-8AAF-4403-9ED6-C4179696D6A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199" y="3285411"/>
            <a:ext cx="11241960" cy="310569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37815413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AD6849-06D8-44B1-AEB2-15ECF7F10EB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881319" y="1"/>
            <a:ext cx="2520950" cy="6858000"/>
          </a:xfrm>
          <a:solidFill>
            <a:schemeClr val="tx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39273" y="6378129"/>
            <a:ext cx="544201" cy="365125"/>
          </a:xfr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29" name="Graphic 6">
            <a:extLst>
              <a:ext uri="{FF2B5EF4-FFF2-40B4-BE49-F238E27FC236}">
                <a16:creationId xmlns:a16="http://schemas.microsoft.com/office/drawing/2014/main" id="{D5F6F97D-98C2-4B3F-A647-15F1227642A9}"/>
              </a:ext>
            </a:extLst>
          </p:cNvPr>
          <p:cNvGrpSpPr/>
          <p:nvPr/>
        </p:nvGrpSpPr>
        <p:grpSpPr>
          <a:xfrm>
            <a:off x="5549634" y="4932240"/>
            <a:ext cx="1419758" cy="1186007"/>
            <a:chOff x="673858" y="4919794"/>
            <a:chExt cx="1879453" cy="1570015"/>
          </a:xfrm>
          <a:solidFill>
            <a:schemeClr val="bg1"/>
          </a:solidFill>
        </p:grpSpPr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2CF03E24-B0DC-4698-9E8F-BBB775AC0A08}"/>
                </a:ext>
              </a:extLst>
            </p:cNvPr>
            <p:cNvSpPr/>
            <p:nvPr/>
          </p:nvSpPr>
          <p:spPr>
            <a:xfrm>
              <a:off x="881654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E7B0D968-007F-4F7B-88B9-7B17AA675AAD}"/>
                </a:ext>
              </a:extLst>
            </p:cNvPr>
            <p:cNvSpPr/>
            <p:nvPr/>
          </p:nvSpPr>
          <p:spPr>
            <a:xfrm>
              <a:off x="1473513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DCBB4F4-3D8B-4E61-9C39-E260DEE16149}"/>
                </a:ext>
              </a:extLst>
            </p:cNvPr>
            <p:cNvSpPr/>
            <p:nvPr/>
          </p:nvSpPr>
          <p:spPr>
            <a:xfrm>
              <a:off x="673858" y="4919794"/>
              <a:ext cx="1879453" cy="1570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F07A6D-68BC-44C4-989B-94B4ED48E43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903544" y="2775445"/>
            <a:ext cx="2462215" cy="1038225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n-US" sz="32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ctr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</a:pPr>
            <a:r>
              <a:rPr lang="en-US"/>
              <a:t>Short Title Here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31C7E18F-C558-4D98-B610-2116BF5323A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46225" y="529869"/>
            <a:ext cx="4273448" cy="2742594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18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5B3DD3F0-B1D3-411E-BB72-A63A5F6540EA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7554517" y="529869"/>
            <a:ext cx="4273448" cy="2742594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18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FB19710-9E2E-4880-9BAF-87D27839115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446225" y="3479977"/>
            <a:ext cx="4273448" cy="2742594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18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6A7ABEE-50E0-4A7F-AA99-B1B0B541E7DD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554517" y="3479977"/>
            <a:ext cx="4273448" cy="2742594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18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83584555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4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01C52864-78F1-40B1-9432-60975033529F}"/>
              </a:ext>
            </a:extLst>
          </p:cNvPr>
          <p:cNvSpPr/>
          <p:nvPr/>
        </p:nvSpPr>
        <p:spPr>
          <a:xfrm>
            <a:off x="0" y="0"/>
            <a:ext cx="328781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131603" y="6364007"/>
            <a:ext cx="857032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9" name="Graphic 6">
            <a:extLst>
              <a:ext uri="{FF2B5EF4-FFF2-40B4-BE49-F238E27FC236}">
                <a16:creationId xmlns:a16="http://schemas.microsoft.com/office/drawing/2014/main" id="{8C5CC02B-1366-4CC9-866A-DA6482ADC3CE}"/>
              </a:ext>
            </a:extLst>
          </p:cNvPr>
          <p:cNvGrpSpPr/>
          <p:nvPr/>
        </p:nvGrpSpPr>
        <p:grpSpPr>
          <a:xfrm>
            <a:off x="2157380" y="5830521"/>
            <a:ext cx="857031" cy="716048"/>
            <a:chOff x="675385" y="4919794"/>
            <a:chExt cx="1876897" cy="1568143"/>
          </a:xfr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2400000" scaled="0"/>
          </a:gra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E3402946-78DC-48C6-B087-A57DB7DCC3E2}"/>
                </a:ext>
              </a:extLst>
            </p:cNvPr>
            <p:cNvSpPr/>
            <p:nvPr/>
          </p:nvSpPr>
          <p:spPr>
            <a:xfrm>
              <a:off x="881654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72AE3E35-ECB9-4682-BE5F-669BA104183B}"/>
                </a:ext>
              </a:extLst>
            </p:cNvPr>
            <p:cNvSpPr/>
            <p:nvPr/>
          </p:nvSpPr>
          <p:spPr>
            <a:xfrm>
              <a:off x="1473513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98D658B-EA8B-452B-9D06-D5324DCF8E2B}"/>
                </a:ext>
              </a:extLst>
            </p:cNvPr>
            <p:cNvSpPr/>
            <p:nvPr/>
          </p:nvSpPr>
          <p:spPr>
            <a:xfrm>
              <a:off x="673859" y="4919793"/>
              <a:ext cx="1879452" cy="1570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17" name="Rectangle 25">
            <a:extLst>
              <a:ext uri="{FF2B5EF4-FFF2-40B4-BE49-F238E27FC236}">
                <a16:creationId xmlns:a16="http://schemas.microsoft.com/office/drawing/2014/main" id="{5891C306-56E0-439D-947A-FA5D84C19EF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5020" y="2370034"/>
            <a:ext cx="2763843" cy="2793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000" b="0" kern="1200" cap="none" baseline="0" dirty="0">
                <a:solidFill>
                  <a:schemeClr val="bg1"/>
                </a:solidFill>
                <a:latin typeface="Lexend" pitchFamily="2" charset="0"/>
                <a:ea typeface="+mj-ea"/>
                <a:cs typeface="Arial" panose="020B0604020202020204" pitchFamily="34" charset="0"/>
              </a:defRPr>
            </a:lvl1pPr>
            <a:lvl2pPr marL="100064" indent="111388" algn="l" rtl="0" eaLnBrk="0" fontAlgn="base" hangingPunct="0">
              <a:spcBef>
                <a:spcPct val="0"/>
              </a:spcBef>
              <a:spcAft>
                <a:spcPct val="0"/>
              </a:spcAft>
              <a:defRPr sz="2863">
                <a:solidFill>
                  <a:schemeClr val="bg1"/>
                </a:solidFill>
                <a:latin typeface="Arial" pitchFamily="34" charset="0"/>
              </a:defRPr>
            </a:lvl2pPr>
            <a:lvl3pPr marL="100064" indent="111388" algn="l" rtl="0" eaLnBrk="0" fontAlgn="base" hangingPunct="0">
              <a:spcBef>
                <a:spcPct val="0"/>
              </a:spcBef>
              <a:spcAft>
                <a:spcPct val="0"/>
              </a:spcAft>
              <a:defRPr sz="2863">
                <a:solidFill>
                  <a:schemeClr val="bg1"/>
                </a:solidFill>
                <a:latin typeface="Arial" pitchFamily="34" charset="0"/>
              </a:defRPr>
            </a:lvl3pPr>
            <a:lvl4pPr marL="100064" indent="111388" algn="l" rtl="0" eaLnBrk="0" fontAlgn="base" hangingPunct="0">
              <a:spcBef>
                <a:spcPct val="0"/>
              </a:spcBef>
              <a:spcAft>
                <a:spcPct val="0"/>
              </a:spcAft>
              <a:defRPr sz="2863">
                <a:solidFill>
                  <a:schemeClr val="bg1"/>
                </a:solidFill>
                <a:latin typeface="Arial" pitchFamily="34" charset="0"/>
              </a:defRPr>
            </a:lvl4pPr>
            <a:lvl5pPr marL="100064" indent="111388" algn="l" rtl="0" eaLnBrk="0" fontAlgn="base" hangingPunct="0">
              <a:spcBef>
                <a:spcPct val="0"/>
              </a:spcBef>
              <a:spcAft>
                <a:spcPct val="0"/>
              </a:spcAft>
              <a:defRPr sz="2863">
                <a:solidFill>
                  <a:schemeClr val="bg1"/>
                </a:solidFill>
                <a:latin typeface="Arial" pitchFamily="34" charset="0"/>
              </a:defRPr>
            </a:lvl5pPr>
            <a:lvl6pPr marL="543478" algn="l" rtl="0" fontAlgn="base">
              <a:spcBef>
                <a:spcPct val="0"/>
              </a:spcBef>
              <a:spcAft>
                <a:spcPct val="0"/>
              </a:spcAft>
              <a:defRPr sz="2397" b="1">
                <a:solidFill>
                  <a:schemeClr val="tx1"/>
                </a:solidFill>
                <a:latin typeface="Arial" pitchFamily="34" charset="0"/>
              </a:defRPr>
            </a:lvl6pPr>
            <a:lvl7pPr marL="1086950" algn="l" rtl="0" fontAlgn="base">
              <a:spcBef>
                <a:spcPct val="0"/>
              </a:spcBef>
              <a:spcAft>
                <a:spcPct val="0"/>
              </a:spcAft>
              <a:defRPr sz="2397" b="1">
                <a:solidFill>
                  <a:schemeClr val="tx1"/>
                </a:solidFill>
                <a:latin typeface="Arial" pitchFamily="34" charset="0"/>
              </a:defRPr>
            </a:lvl7pPr>
            <a:lvl8pPr marL="1630422" algn="l" rtl="0" fontAlgn="base">
              <a:spcBef>
                <a:spcPct val="0"/>
              </a:spcBef>
              <a:spcAft>
                <a:spcPct val="0"/>
              </a:spcAft>
              <a:defRPr sz="2397" b="1">
                <a:solidFill>
                  <a:schemeClr val="tx1"/>
                </a:solidFill>
                <a:latin typeface="Arial" pitchFamily="34" charset="0"/>
              </a:defRPr>
            </a:lvl8pPr>
            <a:lvl9pPr marL="2173900" algn="l" rtl="0" fontAlgn="base">
              <a:spcBef>
                <a:spcPct val="0"/>
              </a:spcBef>
              <a:spcAft>
                <a:spcPct val="0"/>
              </a:spcAft>
              <a:defRPr sz="2397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sz="3200">
                <a:latin typeface="+mj-lt"/>
              </a:rPr>
              <a:t>Short Title Her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6AC41DE-9543-4E4B-A431-28D24FEC40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24571" y="732128"/>
            <a:ext cx="5740329" cy="825500"/>
          </a:xfrm>
        </p:spPr>
        <p:txBody>
          <a:bodyPr anchor="ctr"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247A1799-8341-4B4C-821F-3BB401CE113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4571" y="2285887"/>
            <a:ext cx="5740329" cy="825500"/>
          </a:xfrm>
        </p:spPr>
        <p:txBody>
          <a:bodyPr anchor="ctr"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784DDC21-CB66-455C-A708-3022D812D48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424571" y="3871526"/>
            <a:ext cx="5740329" cy="825500"/>
          </a:xfrm>
        </p:spPr>
        <p:txBody>
          <a:bodyPr anchor="ctr"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994A2910-97CB-4134-8A3E-D59868181BB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424571" y="5331859"/>
            <a:ext cx="5740329" cy="825500"/>
          </a:xfrm>
        </p:spPr>
        <p:txBody>
          <a:bodyPr anchor="ctr"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90981812-0AA4-409C-A34F-AE34EA31272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81446" y="404309"/>
            <a:ext cx="1482725" cy="1481138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ts val="2500"/>
              </a:lnSpc>
              <a:spcBef>
                <a:spcPts val="0"/>
              </a:spcBef>
              <a:buFontTx/>
              <a:buNone/>
              <a:defRPr lang="en-US" sz="20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33">
            <a:extLst>
              <a:ext uri="{FF2B5EF4-FFF2-40B4-BE49-F238E27FC236}">
                <a16:creationId xmlns:a16="http://schemas.microsoft.com/office/drawing/2014/main" id="{85B73B68-34D5-4789-BB91-3086939F266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81446" y="3511827"/>
            <a:ext cx="1482725" cy="1481138"/>
          </a:xfrm>
          <a:prstGeom prst="ellipse">
            <a:avLst/>
          </a:prstGeom>
          <a:solidFill>
            <a:schemeClr val="accent3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ts val="2500"/>
              </a:lnSpc>
              <a:spcBef>
                <a:spcPts val="0"/>
              </a:spcBef>
              <a:buFontTx/>
              <a:buNone/>
              <a:defRPr lang="en-US" sz="20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307B918D-1A9E-4F2B-A99B-97888703908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681446" y="5065585"/>
            <a:ext cx="1482725" cy="1481138"/>
          </a:xfrm>
          <a:prstGeom prst="ellipse">
            <a:avLst/>
          </a:prstGeom>
          <a:solidFill>
            <a:schemeClr val="accent4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ts val="2500"/>
              </a:lnSpc>
              <a:spcBef>
                <a:spcPts val="0"/>
              </a:spcBef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23CDFA8C-43FC-49AA-A758-EBB719E2174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681446" y="1958068"/>
            <a:ext cx="1482725" cy="1481138"/>
          </a:xfrm>
          <a:prstGeom prst="ellipse">
            <a:avLst/>
          </a:prstGeom>
          <a:solidFill>
            <a:schemeClr val="accent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ts val="2500"/>
              </a:lnSpc>
              <a:spcBef>
                <a:spcPts val="0"/>
              </a:spcBef>
              <a:buFontTx/>
              <a:buNone/>
              <a:defRPr lang="en-US" sz="20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2211819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4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9E1E750-EF8B-46CD-A6E1-53E075D6A4F2}"/>
              </a:ext>
            </a:extLst>
          </p:cNvPr>
          <p:cNvSpPr/>
          <p:nvPr/>
        </p:nvSpPr>
        <p:spPr>
          <a:xfrm>
            <a:off x="21236" y="1114424"/>
            <a:ext cx="12170763" cy="57435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89953" y="251668"/>
            <a:ext cx="11275700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5ED363F-12FB-4FA5-84D7-7C6BFB40357C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1216268" y="6439360"/>
            <a:chExt cx="549385" cy="213656"/>
          </a:xfrm>
        </p:grpSpPr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7DD3747C-11C5-496B-9BDD-6C3ADA5067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39510" y="6442622"/>
              <a:ext cx="126143" cy="20550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02CE6138-DE38-4B88-BEAD-E1CB697746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61915" y="6439360"/>
              <a:ext cx="156019" cy="21365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" name="Rectangle 10">
              <a:extLst>
                <a:ext uri="{FF2B5EF4-FFF2-40B4-BE49-F238E27FC236}">
                  <a16:creationId xmlns:a16="http://schemas.microsoft.com/office/drawing/2014/main" id="{27B00F04-37EF-4916-8B2F-7508184C72F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92204" y="6442622"/>
              <a:ext cx="51453" cy="2055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27269F71-9BB4-43E8-BEF3-D70D147830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6268" y="6442622"/>
              <a:ext cx="147720" cy="20550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5" name="Rectangle 12">
              <a:extLst>
                <a:ext uri="{FF2B5EF4-FFF2-40B4-BE49-F238E27FC236}">
                  <a16:creationId xmlns:a16="http://schemas.microsoft.com/office/drawing/2014/main" id="{0A8A5892-F7FB-4189-9E44-CB30C0E15B3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17933" y="6522539"/>
              <a:ext cx="4647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Rectangle 13">
              <a:extLst>
                <a:ext uri="{FF2B5EF4-FFF2-40B4-BE49-F238E27FC236}">
                  <a16:creationId xmlns:a16="http://schemas.microsoft.com/office/drawing/2014/main" id="{1A7B9875-BD83-4A73-AFA6-DD848405137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443656" y="6522539"/>
              <a:ext cx="4481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Rectangle 14">
              <a:extLst>
                <a:ext uri="{FF2B5EF4-FFF2-40B4-BE49-F238E27FC236}">
                  <a16:creationId xmlns:a16="http://schemas.microsoft.com/office/drawing/2014/main" id="{D5290C81-1681-4B92-B1F2-D9778272EB8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47390" y="6522539"/>
              <a:ext cx="4481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68933F2D-5731-4CD8-A69C-C5F8F5DD5322}"/>
              </a:ext>
            </a:extLst>
          </p:cNvPr>
          <p:cNvGrpSpPr/>
          <p:nvPr/>
        </p:nvGrpSpPr>
        <p:grpSpPr>
          <a:xfrm>
            <a:off x="773247" y="4108877"/>
            <a:ext cx="2400260" cy="2005077"/>
            <a:chOff x="-64314" y="1184277"/>
            <a:chExt cx="4292803" cy="3586028"/>
          </a:xfrm>
        </p:grpSpPr>
        <p:sp>
          <p:nvSpPr>
            <p:cNvPr id="16" name="Freeform: Shape 17">
              <a:extLst>
                <a:ext uri="{FF2B5EF4-FFF2-40B4-BE49-F238E27FC236}">
                  <a16:creationId xmlns:a16="http://schemas.microsoft.com/office/drawing/2014/main" id="{AA16130E-9E57-4324-A058-BE89CCFC34EF}"/>
                </a:ext>
              </a:extLst>
            </p:cNvPr>
            <p:cNvSpPr/>
            <p:nvPr/>
          </p:nvSpPr>
          <p:spPr>
            <a:xfrm>
              <a:off x="410305" y="1191207"/>
              <a:ext cx="741898" cy="741899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solidFill>
              <a:schemeClr val="accent1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7" name="Freeform: Shape 18">
              <a:extLst>
                <a:ext uri="{FF2B5EF4-FFF2-40B4-BE49-F238E27FC236}">
                  <a16:creationId xmlns:a16="http://schemas.microsoft.com/office/drawing/2014/main" id="{D77201AA-D6C3-41DB-A3AE-E9444A012CE1}"/>
                </a:ext>
              </a:extLst>
            </p:cNvPr>
            <p:cNvSpPr/>
            <p:nvPr/>
          </p:nvSpPr>
          <p:spPr>
            <a:xfrm>
              <a:off x="1762153" y="1191207"/>
              <a:ext cx="741898" cy="741899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solidFill>
              <a:schemeClr val="accent1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8" name="Freeform: Shape 19">
              <a:extLst>
                <a:ext uri="{FF2B5EF4-FFF2-40B4-BE49-F238E27FC236}">
                  <a16:creationId xmlns:a16="http://schemas.microsoft.com/office/drawing/2014/main" id="{A23A3D84-B5BE-46B2-824F-ACE46EA723FF}"/>
                </a:ext>
              </a:extLst>
            </p:cNvPr>
            <p:cNvSpPr/>
            <p:nvPr userDrawn="1"/>
          </p:nvSpPr>
          <p:spPr>
            <a:xfrm>
              <a:off x="-64314" y="1184277"/>
              <a:ext cx="4292803" cy="3586028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solidFill>
              <a:schemeClr val="accent1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3136F100-E86B-49A2-A07B-E42C8A9D8A6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22699" y="1342755"/>
            <a:ext cx="7954854" cy="490564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bg2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bg2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5581369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6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9E1E750-EF8B-46CD-A6E1-53E075D6A4F2}"/>
              </a:ext>
            </a:extLst>
          </p:cNvPr>
          <p:cNvSpPr/>
          <p:nvPr/>
        </p:nvSpPr>
        <p:spPr>
          <a:xfrm>
            <a:off x="21237" y="0"/>
            <a:ext cx="831853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AA16130E-9E57-4324-A058-BE89CCFC34EF}"/>
              </a:ext>
            </a:extLst>
          </p:cNvPr>
          <p:cNvSpPr/>
          <p:nvPr/>
        </p:nvSpPr>
        <p:spPr>
          <a:xfrm>
            <a:off x="7959373" y="1025659"/>
            <a:ext cx="741898" cy="741899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solidFill>
            <a:schemeClr val="accent1"/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7" name="Freeform: Shape 18">
            <a:extLst>
              <a:ext uri="{FF2B5EF4-FFF2-40B4-BE49-F238E27FC236}">
                <a16:creationId xmlns:a16="http://schemas.microsoft.com/office/drawing/2014/main" id="{D77201AA-D6C3-41DB-A3AE-E9444A012CE1}"/>
              </a:ext>
            </a:extLst>
          </p:cNvPr>
          <p:cNvSpPr/>
          <p:nvPr/>
        </p:nvSpPr>
        <p:spPr>
          <a:xfrm>
            <a:off x="9311221" y="1025659"/>
            <a:ext cx="741898" cy="741899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solidFill>
            <a:schemeClr val="accent1"/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pic>
        <p:nvPicPr>
          <p:cNvPr id="22" name="Picture 21" descr="A person holding a computer&#10;&#10;Description automatically generated with medium confidence">
            <a:extLst>
              <a:ext uri="{FF2B5EF4-FFF2-40B4-BE49-F238E27FC236}">
                <a16:creationId xmlns:a16="http://schemas.microsoft.com/office/drawing/2014/main" id="{611BB89D-49A6-4437-8123-94095576A9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1958" y="1213487"/>
            <a:ext cx="4207253" cy="5644514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89953" y="251668"/>
            <a:ext cx="6775523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924378A-8706-4C06-80C6-7A67F81AF735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7DD3747C-11C5-496B-9BDD-6C3ADA5067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02CE6138-DE38-4B88-BEAD-E1CB697746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" name="Rectangle 10">
              <a:extLst>
                <a:ext uri="{FF2B5EF4-FFF2-40B4-BE49-F238E27FC236}">
                  <a16:creationId xmlns:a16="http://schemas.microsoft.com/office/drawing/2014/main" id="{27B00F04-37EF-4916-8B2F-7508184C72F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27269F71-9BB4-43E8-BEF3-D70D147830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5" name="Rectangle 12">
              <a:extLst>
                <a:ext uri="{FF2B5EF4-FFF2-40B4-BE49-F238E27FC236}">
                  <a16:creationId xmlns:a16="http://schemas.microsoft.com/office/drawing/2014/main" id="{0A8A5892-F7FB-4189-9E44-CB30C0E15B3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Rectangle 13">
              <a:extLst>
                <a:ext uri="{FF2B5EF4-FFF2-40B4-BE49-F238E27FC236}">
                  <a16:creationId xmlns:a16="http://schemas.microsoft.com/office/drawing/2014/main" id="{1A7B9875-BD83-4A73-AFA6-DD848405137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Rectangle 14">
              <a:extLst>
                <a:ext uri="{FF2B5EF4-FFF2-40B4-BE49-F238E27FC236}">
                  <a16:creationId xmlns:a16="http://schemas.microsoft.com/office/drawing/2014/main" id="{D5290C81-1681-4B92-B1F2-D9778272EB8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18" name="Freeform: Shape 19">
            <a:extLst>
              <a:ext uri="{FF2B5EF4-FFF2-40B4-BE49-F238E27FC236}">
                <a16:creationId xmlns:a16="http://schemas.microsoft.com/office/drawing/2014/main" id="{A23A3D84-B5BE-46B2-824F-ACE46EA723FF}"/>
              </a:ext>
            </a:extLst>
          </p:cNvPr>
          <p:cNvSpPr/>
          <p:nvPr/>
        </p:nvSpPr>
        <p:spPr>
          <a:xfrm>
            <a:off x="7484754" y="1018729"/>
            <a:ext cx="4292803" cy="3586028"/>
          </a:xfrm>
          <a:custGeom>
            <a:avLst/>
            <a:gdLst>
              <a:gd name="connsiteX0" fmla="*/ 1597588 w 1879452"/>
              <a:gd name="connsiteY0" fmla="*/ 246887 h 1570015"/>
              <a:gd name="connsiteX1" fmla="*/ 554462 w 1879452"/>
              <a:gd name="connsiteY1" fmla="*/ 1290013 h 1570015"/>
              <a:gd name="connsiteX2" fmla="*/ 185419 w 1879452"/>
              <a:gd name="connsiteY2" fmla="*/ 1223036 h 1570015"/>
              <a:gd name="connsiteX3" fmla="*/ 5476 w 1879452"/>
              <a:gd name="connsiteY3" fmla="*/ 1301795 h 1570015"/>
              <a:gd name="connsiteX4" fmla="*/ 84235 w 1879452"/>
              <a:gd name="connsiteY4" fmla="*/ 1481711 h 1570015"/>
              <a:gd name="connsiteX5" fmla="*/ 87295 w 1879452"/>
              <a:gd name="connsiteY5" fmla="*/ 1482876 h 1570015"/>
              <a:gd name="connsiteX6" fmla="*/ 1789746 w 1879452"/>
              <a:gd name="connsiteY6" fmla="*/ 715840 h 1570015"/>
              <a:gd name="connsiteX7" fmla="*/ 1875358 w 1879452"/>
              <a:gd name="connsiteY7" fmla="*/ 246887 h 1570015"/>
              <a:gd name="connsiteX8" fmla="*/ 1875358 w 1879452"/>
              <a:gd name="connsiteY8" fmla="*/ -1172 h 1570015"/>
              <a:gd name="connsiteX9" fmla="*/ 1597588 w 1879452"/>
              <a:gd name="connsiteY9" fmla="*/ -1172 h 1570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79452" h="1570015">
                <a:moveTo>
                  <a:pt x="1597588" y="246887"/>
                </a:moveTo>
                <a:cubicBezTo>
                  <a:pt x="1597588" y="822062"/>
                  <a:pt x="1129636" y="1290013"/>
                  <a:pt x="554462" y="1290013"/>
                </a:cubicBezTo>
                <a:cubicBezTo>
                  <a:pt x="428414" y="1290230"/>
                  <a:pt x="303368" y="1267534"/>
                  <a:pt x="185419" y="1223036"/>
                </a:cubicBezTo>
                <a:cubicBezTo>
                  <a:pt x="113973" y="1195085"/>
                  <a:pt x="33425" y="1230348"/>
                  <a:pt x="5476" y="1301795"/>
                </a:cubicBezTo>
                <a:cubicBezTo>
                  <a:pt x="-22448" y="1373215"/>
                  <a:pt x="12815" y="1453788"/>
                  <a:pt x="84235" y="1481711"/>
                </a:cubicBezTo>
                <a:cubicBezTo>
                  <a:pt x="85264" y="1482118"/>
                  <a:pt x="86266" y="1482497"/>
                  <a:pt x="87295" y="1482876"/>
                </a:cubicBezTo>
                <a:cubicBezTo>
                  <a:pt x="769235" y="1741173"/>
                  <a:pt x="1531450" y="1397779"/>
                  <a:pt x="1789746" y="715840"/>
                </a:cubicBezTo>
                <a:cubicBezTo>
                  <a:pt x="1846487" y="566013"/>
                  <a:pt x="1875520" y="407114"/>
                  <a:pt x="1875358" y="246887"/>
                </a:cubicBezTo>
                <a:lnTo>
                  <a:pt x="1875358" y="-1172"/>
                </a:lnTo>
                <a:lnTo>
                  <a:pt x="1597588" y="-1172"/>
                </a:lnTo>
                <a:close/>
              </a:path>
            </a:pathLst>
          </a:custGeom>
          <a:solidFill>
            <a:schemeClr val="accent1"/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5CD4005D-C33B-4AAA-8E8E-F01C59F912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9310" y="1342755"/>
            <a:ext cx="6498611" cy="490564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bg2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bg2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03227357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0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7">
            <a:extLst>
              <a:ext uri="{FF2B5EF4-FFF2-40B4-BE49-F238E27FC236}">
                <a16:creationId xmlns:a16="http://schemas.microsoft.com/office/drawing/2014/main" id="{6E7D8DD7-DEAC-437B-901B-7C610BC89C36}"/>
              </a:ext>
            </a:extLst>
          </p:cNvPr>
          <p:cNvSpPr/>
          <p:nvPr/>
        </p:nvSpPr>
        <p:spPr>
          <a:xfrm>
            <a:off x="255595" y="3429000"/>
            <a:ext cx="3930815" cy="2460266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gradFill flip="none" rotWithShape="1">
            <a:gsLst>
              <a:gs pos="1000">
                <a:schemeClr val="accent5"/>
              </a:gs>
              <a:gs pos="100000">
                <a:schemeClr val="accent4"/>
              </a:gs>
            </a:gsLst>
            <a:lin ang="13500000" scaled="1"/>
            <a:tileRect/>
          </a:gra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5808A093-20EE-4B55-B26D-4BC893CED2B7}"/>
              </a:ext>
            </a:extLst>
          </p:cNvPr>
          <p:cNvSpPr/>
          <p:nvPr/>
        </p:nvSpPr>
        <p:spPr>
          <a:xfrm>
            <a:off x="21237" y="0"/>
            <a:ext cx="4165173" cy="6858000"/>
          </a:xfrm>
          <a:custGeom>
            <a:avLst/>
            <a:gdLst>
              <a:gd name="connsiteX0" fmla="*/ 0 w 4165173"/>
              <a:gd name="connsiteY0" fmla="*/ 0 h 6858000"/>
              <a:gd name="connsiteX1" fmla="*/ 4165173 w 4165173"/>
              <a:gd name="connsiteY1" fmla="*/ 0 h 6858000"/>
              <a:gd name="connsiteX2" fmla="*/ 4165173 w 4165173"/>
              <a:gd name="connsiteY2" fmla="*/ 3559953 h 6858000"/>
              <a:gd name="connsiteX3" fmla="*/ 4044741 w 4165173"/>
              <a:gd name="connsiteY3" fmla="*/ 3720902 h 6858000"/>
              <a:gd name="connsiteX4" fmla="*/ 1801909 w 4165173"/>
              <a:gd name="connsiteY4" fmla="*/ 4780082 h 6858000"/>
              <a:gd name="connsiteX5" fmla="*/ 773232 w 4165173"/>
              <a:gd name="connsiteY5" fmla="*/ 4593389 h 6858000"/>
              <a:gd name="connsiteX6" fmla="*/ 271656 w 4165173"/>
              <a:gd name="connsiteY6" fmla="*/ 4812924 h 6858000"/>
              <a:gd name="connsiteX7" fmla="*/ 491190 w 4165173"/>
              <a:gd name="connsiteY7" fmla="*/ 5314425 h 6858000"/>
              <a:gd name="connsiteX8" fmla="*/ 499720 w 4165173"/>
              <a:gd name="connsiteY8" fmla="*/ 5317672 h 6858000"/>
              <a:gd name="connsiteX9" fmla="*/ 3928478 w 4165173"/>
              <a:gd name="connsiteY9" fmla="*/ 4881287 h 6858000"/>
              <a:gd name="connsiteX10" fmla="*/ 4165173 w 4165173"/>
              <a:gd name="connsiteY10" fmla="*/ 4696532 h 6858000"/>
              <a:gd name="connsiteX11" fmla="*/ 4165173 w 4165173"/>
              <a:gd name="connsiteY11" fmla="*/ 6858000 h 6858000"/>
              <a:gd name="connsiteX12" fmla="*/ 0 w 4165173"/>
              <a:gd name="connsiteY12" fmla="*/ 6858000 h 6858000"/>
              <a:gd name="connsiteX13" fmla="*/ 0 w 4165173"/>
              <a:gd name="connsiteY1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165173" h="6858000">
                <a:moveTo>
                  <a:pt x="0" y="0"/>
                </a:moveTo>
                <a:lnTo>
                  <a:pt x="4165173" y="0"/>
                </a:lnTo>
                <a:lnTo>
                  <a:pt x="4165173" y="3559953"/>
                </a:lnTo>
                <a:lnTo>
                  <a:pt x="4044741" y="3720902"/>
                </a:lnTo>
                <a:cubicBezTo>
                  <a:pt x="3511001" y="4367370"/>
                  <a:pt x="2703738" y="4780082"/>
                  <a:pt x="1801909" y="4780082"/>
                </a:cubicBezTo>
                <a:cubicBezTo>
                  <a:pt x="1450561" y="4780687"/>
                  <a:pt x="1102005" y="4717424"/>
                  <a:pt x="773232" y="4593389"/>
                </a:cubicBezTo>
                <a:cubicBezTo>
                  <a:pt x="574082" y="4515478"/>
                  <a:pt x="349561" y="4613771"/>
                  <a:pt x="271656" y="4812924"/>
                </a:cubicBezTo>
                <a:cubicBezTo>
                  <a:pt x="193820" y="5012001"/>
                  <a:pt x="292113" y="5236592"/>
                  <a:pt x="491190" y="5314425"/>
                </a:cubicBezTo>
                <a:cubicBezTo>
                  <a:pt x="494058" y="5315559"/>
                  <a:pt x="496851" y="5316616"/>
                  <a:pt x="499720" y="5317672"/>
                </a:cubicBezTo>
                <a:cubicBezTo>
                  <a:pt x="1687752" y="5767661"/>
                  <a:pt x="2963191" y="5562507"/>
                  <a:pt x="3928478" y="4881287"/>
                </a:cubicBezTo>
                <a:lnTo>
                  <a:pt x="4165173" y="4696532"/>
                </a:lnTo>
                <a:lnTo>
                  <a:pt x="416517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24B12FB8-150D-4A2E-B1CF-0BAA2AE1943E}"/>
              </a:ext>
            </a:extLst>
          </p:cNvPr>
          <p:cNvSpPr/>
          <p:nvPr/>
        </p:nvSpPr>
        <p:spPr>
          <a:xfrm>
            <a:off x="4186410" y="1181010"/>
            <a:ext cx="1318627" cy="3515523"/>
          </a:xfrm>
          <a:custGeom>
            <a:avLst/>
            <a:gdLst>
              <a:gd name="connsiteX0" fmla="*/ 544365 w 1318627"/>
              <a:gd name="connsiteY0" fmla="*/ 0 h 3515523"/>
              <a:gd name="connsiteX1" fmla="*/ 1318626 w 1318627"/>
              <a:gd name="connsiteY1" fmla="*/ 0 h 3515523"/>
              <a:gd name="connsiteX2" fmla="*/ 1318626 w 1318627"/>
              <a:gd name="connsiteY2" fmla="*/ 691445 h 3515523"/>
              <a:gd name="connsiteX3" fmla="*/ 1079989 w 1318627"/>
              <a:gd name="connsiteY3" fmla="*/ 1998613 h 3515523"/>
              <a:gd name="connsiteX4" fmla="*/ 43190 w 1318627"/>
              <a:gd name="connsiteY4" fmla="*/ 3481810 h 3515523"/>
              <a:gd name="connsiteX5" fmla="*/ 0 w 1318627"/>
              <a:gd name="connsiteY5" fmla="*/ 3515523 h 3515523"/>
              <a:gd name="connsiteX6" fmla="*/ 0 w 1318627"/>
              <a:gd name="connsiteY6" fmla="*/ 2378944 h 3515523"/>
              <a:gd name="connsiteX7" fmla="*/ 47105 w 1318627"/>
              <a:gd name="connsiteY7" fmla="*/ 2315991 h 3515523"/>
              <a:gd name="connsiteX8" fmla="*/ 544365 w 1318627"/>
              <a:gd name="connsiteY8" fmla="*/ 691445 h 3515523"/>
              <a:gd name="connsiteX9" fmla="*/ 544365 w 1318627"/>
              <a:gd name="connsiteY9" fmla="*/ 0 h 3515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18627" h="3515523">
                <a:moveTo>
                  <a:pt x="544365" y="0"/>
                </a:moveTo>
                <a:lnTo>
                  <a:pt x="1318626" y="0"/>
                </a:lnTo>
                <a:lnTo>
                  <a:pt x="1318626" y="691445"/>
                </a:lnTo>
                <a:cubicBezTo>
                  <a:pt x="1319077" y="1138064"/>
                  <a:pt x="1238150" y="1580982"/>
                  <a:pt x="1079989" y="1998613"/>
                </a:cubicBezTo>
                <a:cubicBezTo>
                  <a:pt x="854996" y="2592628"/>
                  <a:pt x="492831" y="3094489"/>
                  <a:pt x="43190" y="3481810"/>
                </a:cubicBezTo>
                <a:lnTo>
                  <a:pt x="0" y="3515523"/>
                </a:lnTo>
                <a:lnTo>
                  <a:pt x="0" y="2378944"/>
                </a:lnTo>
                <a:lnTo>
                  <a:pt x="47105" y="2315991"/>
                </a:lnTo>
                <a:cubicBezTo>
                  <a:pt x="360937" y="1851855"/>
                  <a:pt x="544365" y="1292665"/>
                  <a:pt x="544365" y="691445"/>
                </a:cubicBezTo>
                <a:lnTo>
                  <a:pt x="544365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AA16130E-9E57-4324-A058-BE89CCFC34EF}"/>
              </a:ext>
            </a:extLst>
          </p:cNvPr>
          <p:cNvSpPr/>
          <p:nvPr/>
        </p:nvSpPr>
        <p:spPr>
          <a:xfrm>
            <a:off x="856840" y="1192733"/>
            <a:ext cx="905392" cy="905393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gradFill flip="none" rotWithShape="1">
            <a:gsLst>
              <a:gs pos="1000">
                <a:schemeClr val="accent5"/>
              </a:gs>
              <a:gs pos="100000">
                <a:schemeClr val="accent4"/>
              </a:gs>
            </a:gsLst>
            <a:lin ang="13500000" scaled="1"/>
            <a:tileRect/>
          </a:gra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7" name="Freeform: Shape 18">
            <a:extLst>
              <a:ext uri="{FF2B5EF4-FFF2-40B4-BE49-F238E27FC236}">
                <a16:creationId xmlns:a16="http://schemas.microsoft.com/office/drawing/2014/main" id="{D77201AA-D6C3-41DB-A3AE-E9444A012CE1}"/>
              </a:ext>
            </a:extLst>
          </p:cNvPr>
          <p:cNvSpPr/>
          <p:nvPr/>
        </p:nvSpPr>
        <p:spPr>
          <a:xfrm>
            <a:off x="2506599" y="1192733"/>
            <a:ext cx="905392" cy="905393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gradFill flip="none" rotWithShape="1">
            <a:gsLst>
              <a:gs pos="1000">
                <a:schemeClr val="accent5"/>
              </a:gs>
              <a:gs pos="100000">
                <a:schemeClr val="accent4"/>
              </a:gs>
            </a:gsLst>
            <a:lin ang="13500000" scaled="1"/>
            <a:tileRect/>
          </a:gra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5728771" y="251668"/>
            <a:ext cx="604878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595DD5E-1CF3-4292-BC8F-6597C1DBD298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C07286E9-F728-4CE1-A685-901C99A0DC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C61C7286-05FC-4A9D-B37E-B162390B79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Rectangle 10">
              <a:extLst>
                <a:ext uri="{FF2B5EF4-FFF2-40B4-BE49-F238E27FC236}">
                  <a16:creationId xmlns:a16="http://schemas.microsoft.com/office/drawing/2014/main" id="{2BAA3D65-04F8-4DBA-95BE-5AD5682534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1FC15826-42D3-42CF-8610-7A9FBF59B4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3" name="Rectangle 12">
              <a:extLst>
                <a:ext uri="{FF2B5EF4-FFF2-40B4-BE49-F238E27FC236}">
                  <a16:creationId xmlns:a16="http://schemas.microsoft.com/office/drawing/2014/main" id="{0F5F6F4E-24DB-4A8E-B17C-F38A9A4517E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4" name="Rectangle 13">
              <a:extLst>
                <a:ext uri="{FF2B5EF4-FFF2-40B4-BE49-F238E27FC236}">
                  <a16:creationId xmlns:a16="http://schemas.microsoft.com/office/drawing/2014/main" id="{B95D3D2D-5692-4E98-8F79-E8450152BF8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5" name="Rectangle 14">
              <a:extLst>
                <a:ext uri="{FF2B5EF4-FFF2-40B4-BE49-F238E27FC236}">
                  <a16:creationId xmlns:a16="http://schemas.microsoft.com/office/drawing/2014/main" id="{03F4BA39-5F54-449F-B8A4-6D7F1619E33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50DA0870-50ED-47F4-89E8-471AF8B6644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05010" y="1192732"/>
            <a:ext cx="6071008" cy="5055667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1984907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9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AA16130E-9E57-4324-A058-BE89CCFC34EF}"/>
              </a:ext>
            </a:extLst>
          </p:cNvPr>
          <p:cNvSpPr/>
          <p:nvPr/>
        </p:nvSpPr>
        <p:spPr>
          <a:xfrm>
            <a:off x="5017548" y="13025"/>
            <a:ext cx="1394902" cy="1394902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solidFill>
            <a:srgbClr val="F4F4F4"/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7" name="Freeform: Shape 18">
            <a:extLst>
              <a:ext uri="{FF2B5EF4-FFF2-40B4-BE49-F238E27FC236}">
                <a16:creationId xmlns:a16="http://schemas.microsoft.com/office/drawing/2014/main" id="{D77201AA-D6C3-41DB-A3AE-E9444A012CE1}"/>
              </a:ext>
            </a:extLst>
          </p:cNvPr>
          <p:cNvSpPr/>
          <p:nvPr/>
        </p:nvSpPr>
        <p:spPr>
          <a:xfrm>
            <a:off x="7559265" y="13025"/>
            <a:ext cx="1394902" cy="1394902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solidFill>
            <a:srgbClr val="F4F4F4"/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8" name="Freeform: Shape 19">
            <a:extLst>
              <a:ext uri="{FF2B5EF4-FFF2-40B4-BE49-F238E27FC236}">
                <a16:creationId xmlns:a16="http://schemas.microsoft.com/office/drawing/2014/main" id="{A23A3D84-B5BE-46B2-824F-ACE46EA723FF}"/>
              </a:ext>
            </a:extLst>
          </p:cNvPr>
          <p:cNvSpPr/>
          <p:nvPr/>
        </p:nvSpPr>
        <p:spPr>
          <a:xfrm>
            <a:off x="4125180" y="-4"/>
            <a:ext cx="8071239" cy="6742373"/>
          </a:xfrm>
          <a:custGeom>
            <a:avLst/>
            <a:gdLst>
              <a:gd name="connsiteX0" fmla="*/ 1597588 w 1879452"/>
              <a:gd name="connsiteY0" fmla="*/ 246887 h 1570015"/>
              <a:gd name="connsiteX1" fmla="*/ 554462 w 1879452"/>
              <a:gd name="connsiteY1" fmla="*/ 1290013 h 1570015"/>
              <a:gd name="connsiteX2" fmla="*/ 185419 w 1879452"/>
              <a:gd name="connsiteY2" fmla="*/ 1223036 h 1570015"/>
              <a:gd name="connsiteX3" fmla="*/ 5476 w 1879452"/>
              <a:gd name="connsiteY3" fmla="*/ 1301795 h 1570015"/>
              <a:gd name="connsiteX4" fmla="*/ 84235 w 1879452"/>
              <a:gd name="connsiteY4" fmla="*/ 1481711 h 1570015"/>
              <a:gd name="connsiteX5" fmla="*/ 87295 w 1879452"/>
              <a:gd name="connsiteY5" fmla="*/ 1482876 h 1570015"/>
              <a:gd name="connsiteX6" fmla="*/ 1789746 w 1879452"/>
              <a:gd name="connsiteY6" fmla="*/ 715840 h 1570015"/>
              <a:gd name="connsiteX7" fmla="*/ 1875358 w 1879452"/>
              <a:gd name="connsiteY7" fmla="*/ 246887 h 1570015"/>
              <a:gd name="connsiteX8" fmla="*/ 1875358 w 1879452"/>
              <a:gd name="connsiteY8" fmla="*/ -1172 h 1570015"/>
              <a:gd name="connsiteX9" fmla="*/ 1597588 w 1879452"/>
              <a:gd name="connsiteY9" fmla="*/ -1172 h 1570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79452" h="1570015">
                <a:moveTo>
                  <a:pt x="1597588" y="246887"/>
                </a:moveTo>
                <a:cubicBezTo>
                  <a:pt x="1597588" y="822062"/>
                  <a:pt x="1129636" y="1290013"/>
                  <a:pt x="554462" y="1290013"/>
                </a:cubicBezTo>
                <a:cubicBezTo>
                  <a:pt x="428414" y="1290230"/>
                  <a:pt x="303368" y="1267534"/>
                  <a:pt x="185419" y="1223036"/>
                </a:cubicBezTo>
                <a:cubicBezTo>
                  <a:pt x="113973" y="1195085"/>
                  <a:pt x="33425" y="1230348"/>
                  <a:pt x="5476" y="1301795"/>
                </a:cubicBezTo>
                <a:cubicBezTo>
                  <a:pt x="-22448" y="1373215"/>
                  <a:pt x="12815" y="1453788"/>
                  <a:pt x="84235" y="1481711"/>
                </a:cubicBezTo>
                <a:cubicBezTo>
                  <a:pt x="85264" y="1482118"/>
                  <a:pt x="86266" y="1482497"/>
                  <a:pt x="87295" y="1482876"/>
                </a:cubicBezTo>
                <a:cubicBezTo>
                  <a:pt x="769235" y="1741173"/>
                  <a:pt x="1531450" y="1397779"/>
                  <a:pt x="1789746" y="715840"/>
                </a:cubicBezTo>
                <a:cubicBezTo>
                  <a:pt x="1846487" y="566013"/>
                  <a:pt x="1875520" y="407114"/>
                  <a:pt x="1875358" y="246887"/>
                </a:cubicBezTo>
                <a:lnTo>
                  <a:pt x="1875358" y="-1172"/>
                </a:lnTo>
                <a:lnTo>
                  <a:pt x="1597588" y="-1172"/>
                </a:lnTo>
                <a:close/>
              </a:path>
            </a:pathLst>
          </a:custGeom>
          <a:solidFill>
            <a:srgbClr val="F4F4F4"/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4FD3A0C-3C40-4134-9813-D677477AA1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318" y="1192732"/>
            <a:ext cx="11267238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26948650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3_Title and Content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DCF3B0C-99F0-42EB-9803-C608F896797D}"/>
              </a:ext>
            </a:extLst>
          </p:cNvPr>
          <p:cNvGrpSpPr/>
          <p:nvPr/>
        </p:nvGrpSpPr>
        <p:grpSpPr>
          <a:xfrm>
            <a:off x="4125180" y="-4"/>
            <a:ext cx="8071239" cy="6742373"/>
            <a:chOff x="4125180" y="-4"/>
            <a:chExt cx="8071239" cy="6742373"/>
          </a:xfrm>
          <a:solidFill>
            <a:schemeClr val="tx1">
              <a:alpha val="12000"/>
            </a:schemeClr>
          </a:solidFill>
        </p:grpSpPr>
        <p:sp>
          <p:nvSpPr>
            <p:cNvPr id="16" name="Freeform: Shape 17">
              <a:extLst>
                <a:ext uri="{FF2B5EF4-FFF2-40B4-BE49-F238E27FC236}">
                  <a16:creationId xmlns:a16="http://schemas.microsoft.com/office/drawing/2014/main" id="{AA16130E-9E57-4324-A058-BE89CCFC34EF}"/>
                </a:ext>
              </a:extLst>
            </p:cNvPr>
            <p:cNvSpPr/>
            <p:nvPr/>
          </p:nvSpPr>
          <p:spPr>
            <a:xfrm>
              <a:off x="5017548" y="13025"/>
              <a:ext cx="1394902" cy="1394902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7" name="Freeform: Shape 18">
              <a:extLst>
                <a:ext uri="{FF2B5EF4-FFF2-40B4-BE49-F238E27FC236}">
                  <a16:creationId xmlns:a16="http://schemas.microsoft.com/office/drawing/2014/main" id="{D77201AA-D6C3-41DB-A3AE-E9444A012CE1}"/>
                </a:ext>
              </a:extLst>
            </p:cNvPr>
            <p:cNvSpPr/>
            <p:nvPr/>
          </p:nvSpPr>
          <p:spPr>
            <a:xfrm>
              <a:off x="7559265" y="13025"/>
              <a:ext cx="1394902" cy="1394902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8" name="Freeform: Shape 19">
              <a:extLst>
                <a:ext uri="{FF2B5EF4-FFF2-40B4-BE49-F238E27FC236}">
                  <a16:creationId xmlns:a16="http://schemas.microsoft.com/office/drawing/2014/main" id="{A23A3D84-B5BE-46B2-824F-ACE46EA723FF}"/>
                </a:ext>
              </a:extLst>
            </p:cNvPr>
            <p:cNvSpPr/>
            <p:nvPr/>
          </p:nvSpPr>
          <p:spPr>
            <a:xfrm>
              <a:off x="4125180" y="-4"/>
              <a:ext cx="8071239" cy="6742373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0D8928F-4047-4AF1-BC9D-999C7D556F9E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9CB2B28F-6F93-45A8-B59A-97A4D85CB3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F42344DF-A267-45F6-8138-A721AA67F7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2" name="Rectangle 10">
              <a:extLst>
                <a:ext uri="{FF2B5EF4-FFF2-40B4-BE49-F238E27FC236}">
                  <a16:creationId xmlns:a16="http://schemas.microsoft.com/office/drawing/2014/main" id="{22877F94-2794-4F27-9373-2BBC8CA6B22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083C1786-0C64-48B6-8261-2EF2BF47C5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" name="Rectangle 12">
              <a:extLst>
                <a:ext uri="{FF2B5EF4-FFF2-40B4-BE49-F238E27FC236}">
                  <a16:creationId xmlns:a16="http://schemas.microsoft.com/office/drawing/2014/main" id="{65448AC1-5361-4BA4-BEF7-57A8CEB432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5" name="Rectangle 13">
              <a:extLst>
                <a:ext uri="{FF2B5EF4-FFF2-40B4-BE49-F238E27FC236}">
                  <a16:creationId xmlns:a16="http://schemas.microsoft.com/office/drawing/2014/main" id="{F0317743-58EB-4C46-A631-E54EAEEBDAA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Rectangle 14">
              <a:extLst>
                <a:ext uri="{FF2B5EF4-FFF2-40B4-BE49-F238E27FC236}">
                  <a16:creationId xmlns:a16="http://schemas.microsoft.com/office/drawing/2014/main" id="{769F40C2-20AA-41AF-9A00-6B2B5794229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41A0B071-9957-43D4-B1FA-7F43CCF2E96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318" y="1192732"/>
            <a:ext cx="11267238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5438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1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5FA4060-FF0F-4A06-B456-6C5D9DC37BB9}"/>
              </a:ext>
            </a:extLst>
          </p:cNvPr>
          <p:cNvGrpSpPr/>
          <p:nvPr/>
        </p:nvGrpSpPr>
        <p:grpSpPr>
          <a:xfrm>
            <a:off x="9704654" y="4559263"/>
            <a:ext cx="1709939" cy="1428412"/>
            <a:chOff x="4109429" y="-4"/>
            <a:chExt cx="8071239" cy="6742373"/>
          </a:xfrm>
          <a:solidFill>
            <a:schemeClr val="bg1">
              <a:lumMod val="95000"/>
            </a:schemeClr>
          </a:solidFill>
        </p:grpSpPr>
        <p:sp>
          <p:nvSpPr>
            <p:cNvPr id="10" name="Freeform: Shape 17">
              <a:extLst>
                <a:ext uri="{FF2B5EF4-FFF2-40B4-BE49-F238E27FC236}">
                  <a16:creationId xmlns:a16="http://schemas.microsoft.com/office/drawing/2014/main" id="{080C2559-C4EF-4BCA-AA7F-F41F92940AA5}"/>
                </a:ext>
              </a:extLst>
            </p:cNvPr>
            <p:cNvSpPr/>
            <p:nvPr/>
          </p:nvSpPr>
          <p:spPr>
            <a:xfrm>
              <a:off x="5017548" y="13025"/>
              <a:ext cx="1394902" cy="1394902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1" name="Freeform: Shape 18">
              <a:extLst>
                <a:ext uri="{FF2B5EF4-FFF2-40B4-BE49-F238E27FC236}">
                  <a16:creationId xmlns:a16="http://schemas.microsoft.com/office/drawing/2014/main" id="{1C38599E-FB3B-4E45-A572-86212CC90DC0}"/>
                </a:ext>
              </a:extLst>
            </p:cNvPr>
            <p:cNvSpPr/>
            <p:nvPr/>
          </p:nvSpPr>
          <p:spPr>
            <a:xfrm>
              <a:off x="7559265" y="13025"/>
              <a:ext cx="1394902" cy="1394902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2" name="Freeform: Shape 19">
              <a:extLst>
                <a:ext uri="{FF2B5EF4-FFF2-40B4-BE49-F238E27FC236}">
                  <a16:creationId xmlns:a16="http://schemas.microsoft.com/office/drawing/2014/main" id="{9F69B542-B2C3-4ED4-9A49-B207A16DFB28}"/>
                </a:ext>
              </a:extLst>
            </p:cNvPr>
            <p:cNvSpPr/>
            <p:nvPr/>
          </p:nvSpPr>
          <p:spPr>
            <a:xfrm>
              <a:off x="4109429" y="-4"/>
              <a:ext cx="8071239" cy="6742373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13" name="Freeform: Shape 18">
            <a:extLst>
              <a:ext uri="{FF2B5EF4-FFF2-40B4-BE49-F238E27FC236}">
                <a16:creationId xmlns:a16="http://schemas.microsoft.com/office/drawing/2014/main" id="{6302E746-5F98-4FAF-9F0E-22D517758E2C}"/>
              </a:ext>
            </a:extLst>
          </p:cNvPr>
          <p:cNvSpPr/>
          <p:nvPr/>
        </p:nvSpPr>
        <p:spPr>
          <a:xfrm>
            <a:off x="11160454" y="-1"/>
            <a:ext cx="250982" cy="4307595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1BDEE1E-ADC3-41EF-B96E-A43BA37A6BD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318" y="1192732"/>
            <a:ext cx="11267238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6500128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7_Title and Content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5FA4060-FF0F-4A06-B456-6C5D9DC37BB9}"/>
              </a:ext>
            </a:extLst>
          </p:cNvPr>
          <p:cNvGrpSpPr/>
          <p:nvPr/>
        </p:nvGrpSpPr>
        <p:grpSpPr>
          <a:xfrm>
            <a:off x="9704654" y="4559263"/>
            <a:ext cx="1709939" cy="1428412"/>
            <a:chOff x="4109429" y="-4"/>
            <a:chExt cx="8071239" cy="6742373"/>
          </a:xfrm>
          <a:solidFill>
            <a:schemeClr val="tx1">
              <a:alpha val="26000"/>
            </a:schemeClr>
          </a:solidFill>
        </p:grpSpPr>
        <p:sp>
          <p:nvSpPr>
            <p:cNvPr id="10" name="Freeform: Shape 17">
              <a:extLst>
                <a:ext uri="{FF2B5EF4-FFF2-40B4-BE49-F238E27FC236}">
                  <a16:creationId xmlns:a16="http://schemas.microsoft.com/office/drawing/2014/main" id="{080C2559-C4EF-4BCA-AA7F-F41F92940AA5}"/>
                </a:ext>
              </a:extLst>
            </p:cNvPr>
            <p:cNvSpPr/>
            <p:nvPr/>
          </p:nvSpPr>
          <p:spPr>
            <a:xfrm>
              <a:off x="5017548" y="13025"/>
              <a:ext cx="1394902" cy="1394902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1" name="Freeform: Shape 18">
              <a:extLst>
                <a:ext uri="{FF2B5EF4-FFF2-40B4-BE49-F238E27FC236}">
                  <a16:creationId xmlns:a16="http://schemas.microsoft.com/office/drawing/2014/main" id="{1C38599E-FB3B-4E45-A572-86212CC90DC0}"/>
                </a:ext>
              </a:extLst>
            </p:cNvPr>
            <p:cNvSpPr/>
            <p:nvPr/>
          </p:nvSpPr>
          <p:spPr>
            <a:xfrm>
              <a:off x="7559265" y="13025"/>
              <a:ext cx="1394902" cy="1394902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2" name="Freeform: Shape 19">
              <a:extLst>
                <a:ext uri="{FF2B5EF4-FFF2-40B4-BE49-F238E27FC236}">
                  <a16:creationId xmlns:a16="http://schemas.microsoft.com/office/drawing/2014/main" id="{9F69B542-B2C3-4ED4-9A49-B207A16DFB28}"/>
                </a:ext>
              </a:extLst>
            </p:cNvPr>
            <p:cNvSpPr/>
            <p:nvPr/>
          </p:nvSpPr>
          <p:spPr>
            <a:xfrm>
              <a:off x="4109429" y="-4"/>
              <a:ext cx="8071239" cy="6742373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13" name="Freeform: Shape 18">
            <a:extLst>
              <a:ext uri="{FF2B5EF4-FFF2-40B4-BE49-F238E27FC236}">
                <a16:creationId xmlns:a16="http://schemas.microsoft.com/office/drawing/2014/main" id="{6302E746-5F98-4FAF-9F0E-22D517758E2C}"/>
              </a:ext>
            </a:extLst>
          </p:cNvPr>
          <p:cNvSpPr/>
          <p:nvPr/>
        </p:nvSpPr>
        <p:spPr>
          <a:xfrm>
            <a:off x="11160454" y="-1"/>
            <a:ext cx="250982" cy="4307595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solidFill>
            <a:schemeClr val="tx1">
              <a:alpha val="26000"/>
            </a:schemeClr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460E01F-24FB-4DED-842E-9084BEDA9F10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302BA09-44B8-4239-A4FB-4018A592FE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E7948252-968E-4B3A-8D49-60AA210926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" name="Rectangle 10">
              <a:extLst>
                <a:ext uri="{FF2B5EF4-FFF2-40B4-BE49-F238E27FC236}">
                  <a16:creationId xmlns:a16="http://schemas.microsoft.com/office/drawing/2014/main" id="{06898A0F-B2B8-400A-9EFF-B9FF81FA46A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626CB71D-6452-43DB-BBE5-29057ACB72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Rectangle 12">
              <a:extLst>
                <a:ext uri="{FF2B5EF4-FFF2-40B4-BE49-F238E27FC236}">
                  <a16:creationId xmlns:a16="http://schemas.microsoft.com/office/drawing/2014/main" id="{5C88EC47-B27A-4000-94DD-FEE54174A9E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Rectangle 13">
              <a:extLst>
                <a:ext uri="{FF2B5EF4-FFF2-40B4-BE49-F238E27FC236}">
                  <a16:creationId xmlns:a16="http://schemas.microsoft.com/office/drawing/2014/main" id="{ACDE9CE2-7DB7-496D-B0B0-34B50CE280F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2" name="Rectangle 14">
              <a:extLst>
                <a:ext uri="{FF2B5EF4-FFF2-40B4-BE49-F238E27FC236}">
                  <a16:creationId xmlns:a16="http://schemas.microsoft.com/office/drawing/2014/main" id="{874CBA14-CEB1-4B12-A7EF-4556451A930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FE8693E4-BF22-401B-9709-5721EE0A64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318" y="1192732"/>
            <a:ext cx="11267238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733121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5_Title Open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running in the snow&#10;&#10;Description automatically generated with low confidence">
            <a:extLst>
              <a:ext uri="{FF2B5EF4-FFF2-40B4-BE49-F238E27FC236}">
                <a16:creationId xmlns:a16="http://schemas.microsoft.com/office/drawing/2014/main" id="{D9737850-041B-4607-ACF4-3056FCC49B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AutoShape 3"/>
          <p:cNvSpPr>
            <a:spLocks noChangeAspect="1" noChangeArrowheads="1" noTextEdit="1"/>
          </p:cNvSpPr>
          <p:nvPr/>
        </p:nvSpPr>
        <p:spPr bwMode="auto">
          <a:xfrm>
            <a:off x="0" y="171265"/>
            <a:ext cx="12197291" cy="6686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894" tIns="30447" rIns="60894" bIns="30447" numCol="1" anchor="t" anchorCtr="0" compatLnSpc="1">
            <a:prstTxWarp prst="textNoShape">
              <a:avLst/>
            </a:prstTxWarp>
          </a:bodyPr>
          <a:lstStyle/>
          <a:p>
            <a:endParaRPr lang="en-US" sz="1199"/>
          </a:p>
        </p:txBody>
      </p:sp>
      <p:sp>
        <p:nvSpPr>
          <p:cNvPr id="19" name="Freeform 8"/>
          <p:cNvSpPr>
            <a:spLocks/>
          </p:cNvSpPr>
          <p:nvPr/>
        </p:nvSpPr>
        <p:spPr bwMode="auto">
          <a:xfrm>
            <a:off x="11942276" y="3473931"/>
            <a:ext cx="237026" cy="370017"/>
          </a:xfrm>
          <a:custGeom>
            <a:avLst/>
            <a:gdLst>
              <a:gd name="T0" fmla="*/ 0 w 37"/>
              <a:gd name="T1" fmla="*/ 0 h 58"/>
              <a:gd name="T2" fmla="*/ 37 w 37"/>
              <a:gd name="T3" fmla="*/ 58 h 58"/>
              <a:gd name="T4" fmla="*/ 37 w 37"/>
              <a:gd name="T5" fmla="*/ 58 h 58"/>
              <a:gd name="T6" fmla="*/ 0 w 37"/>
              <a:gd name="T7" fmla="*/ 0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7" h="58">
                <a:moveTo>
                  <a:pt x="0" y="0"/>
                </a:moveTo>
                <a:cubicBezTo>
                  <a:pt x="13" y="19"/>
                  <a:pt x="25" y="38"/>
                  <a:pt x="37" y="58"/>
                </a:cubicBezTo>
                <a:cubicBezTo>
                  <a:pt x="37" y="58"/>
                  <a:pt x="37" y="58"/>
                  <a:pt x="37" y="58"/>
                </a:cubicBezTo>
                <a:cubicBezTo>
                  <a:pt x="25" y="38"/>
                  <a:pt x="13" y="19"/>
                  <a:pt x="0" y="0"/>
                </a:cubicBezTo>
              </a:path>
            </a:pathLst>
          </a:custGeom>
          <a:solidFill>
            <a:srgbClr val="0081B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0894" tIns="30447" rIns="60894" bIns="30447" numCol="1" anchor="t" anchorCtr="0" compatLnSpc="1">
            <a:prstTxWarp prst="textNoShape">
              <a:avLst/>
            </a:prstTxWarp>
          </a:bodyPr>
          <a:lstStyle/>
          <a:p>
            <a:endParaRPr lang="en-US" sz="1199"/>
          </a:p>
        </p:txBody>
      </p:sp>
      <p:sp>
        <p:nvSpPr>
          <p:cNvPr id="18" name="Rectangle 1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291400" y="1746281"/>
            <a:ext cx="5296889" cy="2167497"/>
          </a:xfrm>
        </p:spPr>
        <p:txBody>
          <a:bodyPr anchor="b" anchorCtr="0"/>
          <a:lstStyle>
            <a:lvl1pPr marL="0" indent="0">
              <a:lnSpc>
                <a:spcPct val="80000"/>
              </a:lnSpc>
              <a:defRPr sz="4800" b="0" cap="none" baseline="0">
                <a:solidFill>
                  <a:srgbClr val="000000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28" name="Freeform 10"/>
          <p:cNvSpPr>
            <a:spLocks/>
          </p:cNvSpPr>
          <p:nvPr/>
        </p:nvSpPr>
        <p:spPr bwMode="auto">
          <a:xfrm>
            <a:off x="8634501" y="-3172"/>
            <a:ext cx="1434851" cy="5662316"/>
          </a:xfrm>
          <a:custGeom>
            <a:avLst/>
            <a:gdLst>
              <a:gd name="T0" fmla="*/ 1356 w 1356"/>
              <a:gd name="T1" fmla="*/ 0 h 5356"/>
              <a:gd name="T2" fmla="*/ 0 w 1356"/>
              <a:gd name="T3" fmla="*/ 0 h 5356"/>
              <a:gd name="T4" fmla="*/ 0 w 1356"/>
              <a:gd name="T5" fmla="*/ 5356 h 5356"/>
              <a:gd name="T6" fmla="*/ 0 w 1356"/>
              <a:gd name="T7" fmla="*/ 5356 h 5356"/>
              <a:gd name="T8" fmla="*/ 1356 w 1356"/>
              <a:gd name="T9" fmla="*/ 0 h 53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56" h="5356">
                <a:moveTo>
                  <a:pt x="1356" y="0"/>
                </a:moveTo>
                <a:lnTo>
                  <a:pt x="0" y="0"/>
                </a:lnTo>
                <a:lnTo>
                  <a:pt x="0" y="5356"/>
                </a:lnTo>
                <a:lnTo>
                  <a:pt x="0" y="5356"/>
                </a:lnTo>
                <a:lnTo>
                  <a:pt x="135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0894" tIns="30447" rIns="60894" bIns="30447" numCol="1" anchor="t" anchorCtr="0" compatLnSpc="1">
            <a:prstTxWarp prst="textNoShape">
              <a:avLst/>
            </a:prstTxWarp>
          </a:bodyPr>
          <a:lstStyle/>
          <a:p>
            <a:endParaRPr lang="en-US" sz="1199"/>
          </a:p>
        </p:txBody>
      </p: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6FB2E6ED-C0C9-4697-8717-31D32EB9925B}"/>
              </a:ext>
            </a:extLst>
          </p:cNvPr>
          <p:cNvGrpSpPr/>
          <p:nvPr/>
        </p:nvGrpSpPr>
        <p:grpSpPr>
          <a:xfrm>
            <a:off x="202791" y="1478756"/>
            <a:ext cx="5726179" cy="4989572"/>
            <a:chOff x="202791" y="1478756"/>
            <a:chExt cx="5726179" cy="4989572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E937200D-FA05-4C16-AC2B-431687517470}"/>
                </a:ext>
              </a:extLst>
            </p:cNvPr>
            <p:cNvSpPr/>
            <p:nvPr/>
          </p:nvSpPr>
          <p:spPr>
            <a:xfrm>
              <a:off x="901022" y="1774657"/>
              <a:ext cx="977360" cy="977360"/>
            </a:xfrm>
            <a:custGeom>
              <a:avLst/>
              <a:gdLst>
                <a:gd name="connsiteX0" fmla="*/ 0 w 977360"/>
                <a:gd name="connsiteY0" fmla="*/ 0 h 977360"/>
                <a:gd name="connsiteX1" fmla="*/ 977361 w 977360"/>
                <a:gd name="connsiteY1" fmla="*/ 0 h 977360"/>
                <a:gd name="connsiteX2" fmla="*/ 977361 w 977360"/>
                <a:gd name="connsiteY2" fmla="*/ 977360 h 977360"/>
                <a:gd name="connsiteX3" fmla="*/ 0 w 977360"/>
                <a:gd name="connsiteY3" fmla="*/ 977360 h 977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7360" h="977360">
                  <a:moveTo>
                    <a:pt x="0" y="0"/>
                  </a:moveTo>
                  <a:lnTo>
                    <a:pt x="977361" y="0"/>
                  </a:lnTo>
                  <a:lnTo>
                    <a:pt x="977361" y="977360"/>
                  </a:lnTo>
                  <a:lnTo>
                    <a:pt x="0" y="977360"/>
                  </a:lnTo>
                  <a:close/>
                </a:path>
              </a:pathLst>
            </a:custGeom>
            <a:solidFill>
              <a:schemeClr val="accent4"/>
            </a:solidFill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D41F4D4C-85E7-4869-8161-B6E2E4CF83BC}"/>
                </a:ext>
              </a:extLst>
            </p:cNvPr>
            <p:cNvSpPr/>
            <p:nvPr/>
          </p:nvSpPr>
          <p:spPr>
            <a:xfrm>
              <a:off x="2681997" y="1774657"/>
              <a:ext cx="977360" cy="977360"/>
            </a:xfrm>
            <a:custGeom>
              <a:avLst/>
              <a:gdLst>
                <a:gd name="connsiteX0" fmla="*/ 0 w 977360"/>
                <a:gd name="connsiteY0" fmla="*/ 0 h 977360"/>
                <a:gd name="connsiteX1" fmla="*/ 977360 w 977360"/>
                <a:gd name="connsiteY1" fmla="*/ 0 h 977360"/>
                <a:gd name="connsiteX2" fmla="*/ 977360 w 977360"/>
                <a:gd name="connsiteY2" fmla="*/ 977360 h 977360"/>
                <a:gd name="connsiteX3" fmla="*/ 0 w 977360"/>
                <a:gd name="connsiteY3" fmla="*/ 977360 h 977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7360" h="977360">
                  <a:moveTo>
                    <a:pt x="0" y="0"/>
                  </a:moveTo>
                  <a:lnTo>
                    <a:pt x="977360" y="0"/>
                  </a:lnTo>
                  <a:lnTo>
                    <a:pt x="977360" y="977360"/>
                  </a:lnTo>
                  <a:lnTo>
                    <a:pt x="0" y="977360"/>
                  </a:lnTo>
                  <a:close/>
                </a:path>
              </a:pathLst>
            </a:custGeom>
            <a:solidFill>
              <a:schemeClr val="accent4"/>
            </a:solidFill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grpSp>
          <p:nvGrpSpPr>
            <p:cNvPr id="12" name="Graphic 7">
              <a:extLst>
                <a:ext uri="{FF2B5EF4-FFF2-40B4-BE49-F238E27FC236}">
                  <a16:creationId xmlns:a16="http://schemas.microsoft.com/office/drawing/2014/main" id="{5CA249B0-7E04-41E3-AED4-68FE985432DD}"/>
                </a:ext>
              </a:extLst>
            </p:cNvPr>
            <p:cNvGrpSpPr/>
            <p:nvPr/>
          </p:nvGrpSpPr>
          <p:grpSpPr>
            <a:xfrm>
              <a:off x="202791" y="1877286"/>
              <a:ext cx="5726179" cy="4591042"/>
              <a:chOff x="202791" y="1877286"/>
              <a:chExt cx="5726179" cy="4591042"/>
            </a:xfrm>
            <a:gradFill>
              <a:gsLst>
                <a:gs pos="0">
                  <a:schemeClr val="accent4"/>
                </a:gs>
                <a:gs pos="96460">
                  <a:schemeClr val="accent5"/>
                </a:gs>
              </a:gsLst>
              <a:lin ang="5400000" scaled="1"/>
            </a:gradFill>
          </p:grpSpPr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D24658E9-1EBA-4806-BDAD-F7C1DB8B2EE7}"/>
                  </a:ext>
                </a:extLst>
              </p:cNvPr>
              <p:cNvSpPr/>
              <p:nvPr/>
            </p:nvSpPr>
            <p:spPr>
              <a:xfrm rot="-3065400">
                <a:off x="4602396" y="4635198"/>
                <a:ext cx="111439" cy="111439"/>
              </a:xfrm>
              <a:custGeom>
                <a:avLst/>
                <a:gdLst>
                  <a:gd name="connsiteX0" fmla="*/ 559 w 111439"/>
                  <a:gd name="connsiteY0" fmla="*/ 362 h 111439"/>
                  <a:gd name="connsiteX1" fmla="*/ 111999 w 111439"/>
                  <a:gd name="connsiteY1" fmla="*/ 362 h 111439"/>
                  <a:gd name="connsiteX2" fmla="*/ 111999 w 111439"/>
                  <a:gd name="connsiteY2" fmla="*/ 111801 h 111439"/>
                  <a:gd name="connsiteX3" fmla="*/ 559 w 111439"/>
                  <a:gd name="connsiteY3" fmla="*/ 111801 h 111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1439" h="111439">
                    <a:moveTo>
                      <a:pt x="559" y="362"/>
                    </a:moveTo>
                    <a:lnTo>
                      <a:pt x="111999" y="362"/>
                    </a:lnTo>
                    <a:lnTo>
                      <a:pt x="111999" y="111801"/>
                    </a:lnTo>
                    <a:lnTo>
                      <a:pt x="559" y="111801"/>
                    </a:lnTo>
                    <a:close/>
                  </a:path>
                </a:pathLst>
              </a:custGeom>
              <a:grpFill/>
              <a:ln w="40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B1026FA8-3E2D-43CC-9030-E03113FE85BC}"/>
                  </a:ext>
                </a:extLst>
              </p:cNvPr>
              <p:cNvSpPr/>
              <p:nvPr/>
            </p:nvSpPr>
            <p:spPr>
              <a:xfrm rot="-4340993">
                <a:off x="5380154" y="3533469"/>
                <a:ext cx="49476" cy="49476"/>
              </a:xfrm>
              <a:custGeom>
                <a:avLst/>
                <a:gdLst>
                  <a:gd name="connsiteX0" fmla="*/ 656 w 49476"/>
                  <a:gd name="connsiteY0" fmla="*/ 216 h 49476"/>
                  <a:gd name="connsiteX1" fmla="*/ 50132 w 49476"/>
                  <a:gd name="connsiteY1" fmla="*/ 216 h 49476"/>
                  <a:gd name="connsiteX2" fmla="*/ 50132 w 49476"/>
                  <a:gd name="connsiteY2" fmla="*/ 49692 h 49476"/>
                  <a:gd name="connsiteX3" fmla="*/ 656 w 49476"/>
                  <a:gd name="connsiteY3" fmla="*/ 49692 h 49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476" h="49476">
                    <a:moveTo>
                      <a:pt x="656" y="216"/>
                    </a:moveTo>
                    <a:lnTo>
                      <a:pt x="50132" y="216"/>
                    </a:lnTo>
                    <a:lnTo>
                      <a:pt x="50132" y="49692"/>
                    </a:lnTo>
                    <a:lnTo>
                      <a:pt x="656" y="49692"/>
                    </a:lnTo>
                    <a:close/>
                  </a:path>
                </a:pathLst>
              </a:custGeom>
              <a:grpFill/>
              <a:ln w="17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923CAD58-EF7F-4960-A004-B14E1B6F12CF}"/>
                  </a:ext>
                </a:extLst>
              </p:cNvPr>
              <p:cNvSpPr/>
              <p:nvPr/>
            </p:nvSpPr>
            <p:spPr>
              <a:xfrm rot="-4324325">
                <a:off x="5157471" y="3512043"/>
                <a:ext cx="76583" cy="76583"/>
              </a:xfrm>
              <a:custGeom>
                <a:avLst/>
                <a:gdLst>
                  <a:gd name="connsiteX0" fmla="*/ 629 w 76583"/>
                  <a:gd name="connsiteY0" fmla="*/ 215 h 76583"/>
                  <a:gd name="connsiteX1" fmla="*/ 77212 w 76583"/>
                  <a:gd name="connsiteY1" fmla="*/ 215 h 76583"/>
                  <a:gd name="connsiteX2" fmla="*/ 77212 w 76583"/>
                  <a:gd name="connsiteY2" fmla="*/ 76798 h 76583"/>
                  <a:gd name="connsiteX3" fmla="*/ 629 w 76583"/>
                  <a:gd name="connsiteY3" fmla="*/ 76798 h 76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583" h="76583">
                    <a:moveTo>
                      <a:pt x="629" y="215"/>
                    </a:moveTo>
                    <a:lnTo>
                      <a:pt x="77212" y="215"/>
                    </a:lnTo>
                    <a:lnTo>
                      <a:pt x="77212" y="76798"/>
                    </a:lnTo>
                    <a:lnTo>
                      <a:pt x="629" y="76798"/>
                    </a:lnTo>
                    <a:close/>
                  </a:path>
                </a:pathLst>
              </a:custGeom>
              <a:grpFill/>
              <a:ln w="27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5AC033E2-F11C-47F2-B367-55648CA057F6}"/>
                  </a:ext>
                </a:extLst>
              </p:cNvPr>
              <p:cNvSpPr/>
              <p:nvPr/>
            </p:nvSpPr>
            <p:spPr>
              <a:xfrm rot="-5400000">
                <a:off x="5742523" y="2019077"/>
                <a:ext cx="186447" cy="186447"/>
              </a:xfrm>
              <a:custGeom>
                <a:avLst/>
                <a:gdLst>
                  <a:gd name="connsiteX0" fmla="*/ 711 w 186447"/>
                  <a:gd name="connsiteY0" fmla="*/ 30 h 186447"/>
                  <a:gd name="connsiteX1" fmla="*/ 187159 w 186447"/>
                  <a:gd name="connsiteY1" fmla="*/ 30 h 186447"/>
                  <a:gd name="connsiteX2" fmla="*/ 187159 w 186447"/>
                  <a:gd name="connsiteY2" fmla="*/ 186477 h 186447"/>
                  <a:gd name="connsiteX3" fmla="*/ 711 w 186447"/>
                  <a:gd name="connsiteY3" fmla="*/ 186477 h 186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6447" h="186447">
                    <a:moveTo>
                      <a:pt x="711" y="30"/>
                    </a:moveTo>
                    <a:lnTo>
                      <a:pt x="187159" y="30"/>
                    </a:lnTo>
                    <a:lnTo>
                      <a:pt x="187159" y="186477"/>
                    </a:lnTo>
                    <a:lnTo>
                      <a:pt x="711" y="186477"/>
                    </a:lnTo>
                    <a:close/>
                  </a:path>
                </a:pathLst>
              </a:custGeom>
              <a:grpFill/>
              <a:ln w="6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F5696994-8666-408D-B1E8-7B8D4EFBAE5B}"/>
                  </a:ext>
                </a:extLst>
              </p:cNvPr>
              <p:cNvSpPr/>
              <p:nvPr/>
            </p:nvSpPr>
            <p:spPr>
              <a:xfrm rot="-2229602">
                <a:off x="4086310" y="5338797"/>
                <a:ext cx="79293" cy="79293"/>
              </a:xfrm>
              <a:custGeom>
                <a:avLst/>
                <a:gdLst>
                  <a:gd name="connsiteX0" fmla="*/ 491 w 79293"/>
                  <a:gd name="connsiteY0" fmla="*/ 450 h 79293"/>
                  <a:gd name="connsiteX1" fmla="*/ 79785 w 79293"/>
                  <a:gd name="connsiteY1" fmla="*/ 450 h 79293"/>
                  <a:gd name="connsiteX2" fmla="*/ 79785 w 79293"/>
                  <a:gd name="connsiteY2" fmla="*/ 79744 h 79293"/>
                  <a:gd name="connsiteX3" fmla="*/ 491 w 79293"/>
                  <a:gd name="connsiteY3" fmla="*/ 79744 h 79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293" h="79293">
                    <a:moveTo>
                      <a:pt x="491" y="450"/>
                    </a:moveTo>
                    <a:lnTo>
                      <a:pt x="79785" y="450"/>
                    </a:lnTo>
                    <a:lnTo>
                      <a:pt x="79785" y="79744"/>
                    </a:lnTo>
                    <a:lnTo>
                      <a:pt x="491" y="79744"/>
                    </a:lnTo>
                    <a:close/>
                  </a:path>
                </a:pathLst>
              </a:custGeom>
              <a:grpFill/>
              <a:ln w="287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531D4AA-F954-40F3-B573-F3A619E0E5D8}"/>
                  </a:ext>
                </a:extLst>
              </p:cNvPr>
              <p:cNvSpPr/>
              <p:nvPr/>
            </p:nvSpPr>
            <p:spPr>
              <a:xfrm rot="-1815386">
                <a:off x="3618086" y="5291207"/>
                <a:ext cx="59545" cy="59545"/>
              </a:xfrm>
              <a:custGeom>
                <a:avLst/>
                <a:gdLst>
                  <a:gd name="connsiteX0" fmla="*/ 429 w 59545"/>
                  <a:gd name="connsiteY0" fmla="*/ 443 h 59545"/>
                  <a:gd name="connsiteX1" fmla="*/ 59975 w 59545"/>
                  <a:gd name="connsiteY1" fmla="*/ 443 h 59545"/>
                  <a:gd name="connsiteX2" fmla="*/ 59975 w 59545"/>
                  <a:gd name="connsiteY2" fmla="*/ 59988 h 59545"/>
                  <a:gd name="connsiteX3" fmla="*/ 429 w 59545"/>
                  <a:gd name="connsiteY3" fmla="*/ 59988 h 59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545" h="59545">
                    <a:moveTo>
                      <a:pt x="429" y="443"/>
                    </a:moveTo>
                    <a:lnTo>
                      <a:pt x="59975" y="443"/>
                    </a:lnTo>
                    <a:lnTo>
                      <a:pt x="59975" y="59988"/>
                    </a:lnTo>
                    <a:lnTo>
                      <a:pt x="429" y="59988"/>
                    </a:lnTo>
                    <a:close/>
                  </a:path>
                </a:pathLst>
              </a:custGeom>
              <a:grpFill/>
              <a:ln w="2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D8545358-5F30-4494-8B0C-4BDB3592D55E}"/>
                  </a:ext>
                </a:extLst>
              </p:cNvPr>
              <p:cNvSpPr/>
              <p:nvPr/>
            </p:nvSpPr>
            <p:spPr>
              <a:xfrm rot="1246335">
                <a:off x="549919" y="5447852"/>
                <a:ext cx="199409" cy="199409"/>
              </a:xfrm>
              <a:custGeom>
                <a:avLst/>
                <a:gdLst>
                  <a:gd name="connsiteX0" fmla="*/ 44 w 199409"/>
                  <a:gd name="connsiteY0" fmla="*/ 472 h 199409"/>
                  <a:gd name="connsiteX1" fmla="*/ 199453 w 199409"/>
                  <a:gd name="connsiteY1" fmla="*/ 472 h 199409"/>
                  <a:gd name="connsiteX2" fmla="*/ 199453 w 199409"/>
                  <a:gd name="connsiteY2" fmla="*/ 199881 h 199409"/>
                  <a:gd name="connsiteX3" fmla="*/ 44 w 199409"/>
                  <a:gd name="connsiteY3" fmla="*/ 199881 h 199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9409" h="199409">
                    <a:moveTo>
                      <a:pt x="44" y="472"/>
                    </a:moveTo>
                    <a:lnTo>
                      <a:pt x="199453" y="472"/>
                    </a:lnTo>
                    <a:lnTo>
                      <a:pt x="199453" y="199881"/>
                    </a:lnTo>
                    <a:lnTo>
                      <a:pt x="44" y="199881"/>
                    </a:lnTo>
                    <a:close/>
                  </a:path>
                </a:pathLst>
              </a:custGeom>
              <a:grpFill/>
              <a:ln w="72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A0231B58-9BC8-44A2-AD3C-441AEBD368B8}"/>
                  </a:ext>
                </a:extLst>
              </p:cNvPr>
              <p:cNvSpPr/>
              <p:nvPr/>
            </p:nvSpPr>
            <p:spPr>
              <a:xfrm rot="1003202">
                <a:off x="758686" y="6186919"/>
                <a:ext cx="139299" cy="139299"/>
              </a:xfrm>
              <a:custGeom>
                <a:avLst/>
                <a:gdLst>
                  <a:gd name="connsiteX0" fmla="*/ 67 w 139299"/>
                  <a:gd name="connsiteY0" fmla="*/ 563 h 139299"/>
                  <a:gd name="connsiteX1" fmla="*/ 139366 w 139299"/>
                  <a:gd name="connsiteY1" fmla="*/ 563 h 139299"/>
                  <a:gd name="connsiteX2" fmla="*/ 139366 w 139299"/>
                  <a:gd name="connsiteY2" fmla="*/ 139863 h 139299"/>
                  <a:gd name="connsiteX3" fmla="*/ 67 w 139299"/>
                  <a:gd name="connsiteY3" fmla="*/ 139863 h 139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9299" h="139299">
                    <a:moveTo>
                      <a:pt x="67" y="563"/>
                    </a:moveTo>
                    <a:lnTo>
                      <a:pt x="139366" y="563"/>
                    </a:lnTo>
                    <a:lnTo>
                      <a:pt x="139366" y="139863"/>
                    </a:lnTo>
                    <a:lnTo>
                      <a:pt x="67" y="139863"/>
                    </a:lnTo>
                    <a:close/>
                  </a:path>
                </a:pathLst>
              </a:custGeom>
              <a:grpFill/>
              <a:ln w="50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ADEEA082-84CA-4C7F-A8A2-3BA7C1D4AAC2}"/>
                  </a:ext>
                </a:extLst>
              </p:cNvPr>
              <p:cNvSpPr/>
              <p:nvPr/>
            </p:nvSpPr>
            <p:spPr>
              <a:xfrm rot="-1851002">
                <a:off x="3779089" y="5626920"/>
                <a:ext cx="175732" cy="175732"/>
              </a:xfrm>
              <a:custGeom>
                <a:avLst/>
                <a:gdLst>
                  <a:gd name="connsiteX0" fmla="*/ 458 w 175732"/>
                  <a:gd name="connsiteY0" fmla="*/ 493 h 175732"/>
                  <a:gd name="connsiteX1" fmla="*/ 176190 w 175732"/>
                  <a:gd name="connsiteY1" fmla="*/ 493 h 175732"/>
                  <a:gd name="connsiteX2" fmla="*/ 176190 w 175732"/>
                  <a:gd name="connsiteY2" fmla="*/ 176225 h 175732"/>
                  <a:gd name="connsiteX3" fmla="*/ 458 w 175732"/>
                  <a:gd name="connsiteY3" fmla="*/ 176225 h 175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5732" h="175732">
                    <a:moveTo>
                      <a:pt x="458" y="493"/>
                    </a:moveTo>
                    <a:lnTo>
                      <a:pt x="176190" y="493"/>
                    </a:lnTo>
                    <a:lnTo>
                      <a:pt x="176190" y="176225"/>
                    </a:lnTo>
                    <a:lnTo>
                      <a:pt x="458" y="176225"/>
                    </a:lnTo>
                    <a:close/>
                  </a:path>
                </a:pathLst>
              </a:custGeom>
              <a:grpFill/>
              <a:ln w="63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D4736FA9-8801-4161-A9F5-A0AB79451DC2}"/>
                  </a:ext>
                </a:extLst>
              </p:cNvPr>
              <p:cNvSpPr/>
              <p:nvPr/>
            </p:nvSpPr>
            <p:spPr>
              <a:xfrm rot="1038000">
                <a:off x="898344" y="5446844"/>
                <a:ext cx="214307" cy="214307"/>
              </a:xfrm>
              <a:custGeom>
                <a:avLst/>
                <a:gdLst>
                  <a:gd name="connsiteX0" fmla="*/ 89 w 214307"/>
                  <a:gd name="connsiteY0" fmla="*/ 473 h 214307"/>
                  <a:gd name="connsiteX1" fmla="*/ 214397 w 214307"/>
                  <a:gd name="connsiteY1" fmla="*/ 473 h 214307"/>
                  <a:gd name="connsiteX2" fmla="*/ 214397 w 214307"/>
                  <a:gd name="connsiteY2" fmla="*/ 214780 h 214307"/>
                  <a:gd name="connsiteX3" fmla="*/ 89 w 214307"/>
                  <a:gd name="connsiteY3" fmla="*/ 214780 h 214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4307" h="214307">
                    <a:moveTo>
                      <a:pt x="89" y="473"/>
                    </a:moveTo>
                    <a:lnTo>
                      <a:pt x="214397" y="473"/>
                    </a:lnTo>
                    <a:lnTo>
                      <a:pt x="214397" y="214780"/>
                    </a:lnTo>
                    <a:lnTo>
                      <a:pt x="89" y="214780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B828E2BB-6D22-48AF-B86F-07BE6115DED3}"/>
                  </a:ext>
                </a:extLst>
              </p:cNvPr>
              <p:cNvSpPr/>
              <p:nvPr/>
            </p:nvSpPr>
            <p:spPr>
              <a:xfrm rot="-2736600">
                <a:off x="4191513" y="4697736"/>
                <a:ext cx="137156" cy="137156"/>
              </a:xfrm>
              <a:custGeom>
                <a:avLst/>
                <a:gdLst>
                  <a:gd name="connsiteX0" fmla="*/ 508 w 137156"/>
                  <a:gd name="connsiteY0" fmla="*/ 371 h 137156"/>
                  <a:gd name="connsiteX1" fmla="*/ 137665 w 137156"/>
                  <a:gd name="connsiteY1" fmla="*/ 371 h 137156"/>
                  <a:gd name="connsiteX2" fmla="*/ 137665 w 137156"/>
                  <a:gd name="connsiteY2" fmla="*/ 137528 h 137156"/>
                  <a:gd name="connsiteX3" fmla="*/ 508 w 137156"/>
                  <a:gd name="connsiteY3" fmla="*/ 137528 h 137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156" h="137156">
                    <a:moveTo>
                      <a:pt x="508" y="371"/>
                    </a:moveTo>
                    <a:lnTo>
                      <a:pt x="137665" y="371"/>
                    </a:lnTo>
                    <a:lnTo>
                      <a:pt x="137665" y="137528"/>
                    </a:lnTo>
                    <a:lnTo>
                      <a:pt x="508" y="137528"/>
                    </a:lnTo>
                    <a:close/>
                  </a:path>
                </a:pathLst>
              </a:custGeom>
              <a:grpFill/>
              <a:ln w="497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7056821C-1F29-443B-B919-78AC7A2C5141}"/>
                  </a:ext>
                </a:extLst>
              </p:cNvPr>
              <p:cNvSpPr/>
              <p:nvPr/>
            </p:nvSpPr>
            <p:spPr>
              <a:xfrm rot="-2924399">
                <a:off x="4321447" y="4574289"/>
                <a:ext cx="190733" cy="190733"/>
              </a:xfrm>
              <a:custGeom>
                <a:avLst/>
                <a:gdLst>
                  <a:gd name="connsiteX0" fmla="*/ 528 w 190733"/>
                  <a:gd name="connsiteY0" fmla="*/ 359 h 190733"/>
                  <a:gd name="connsiteX1" fmla="*/ 191262 w 190733"/>
                  <a:gd name="connsiteY1" fmla="*/ 359 h 190733"/>
                  <a:gd name="connsiteX2" fmla="*/ 191262 w 190733"/>
                  <a:gd name="connsiteY2" fmla="*/ 191093 h 190733"/>
                  <a:gd name="connsiteX3" fmla="*/ 528 w 190733"/>
                  <a:gd name="connsiteY3" fmla="*/ 191093 h 190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733" h="190733">
                    <a:moveTo>
                      <a:pt x="528" y="359"/>
                    </a:moveTo>
                    <a:lnTo>
                      <a:pt x="191262" y="359"/>
                    </a:lnTo>
                    <a:lnTo>
                      <a:pt x="191262" y="191093"/>
                    </a:lnTo>
                    <a:lnTo>
                      <a:pt x="528" y="191093"/>
                    </a:lnTo>
                    <a:close/>
                  </a:path>
                </a:pathLst>
              </a:custGeom>
              <a:grpFill/>
              <a:ln w="69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4098119F-6548-4790-ACDD-C536A5F07722}"/>
                  </a:ext>
                </a:extLst>
              </p:cNvPr>
              <p:cNvSpPr/>
              <p:nvPr/>
            </p:nvSpPr>
            <p:spPr>
              <a:xfrm rot="878513">
                <a:off x="871861" y="5985941"/>
                <a:ext cx="245865" cy="245865"/>
              </a:xfrm>
              <a:custGeom>
                <a:avLst/>
                <a:gdLst>
                  <a:gd name="connsiteX0" fmla="*/ 88 w 245865"/>
                  <a:gd name="connsiteY0" fmla="*/ 544 h 245865"/>
                  <a:gd name="connsiteX1" fmla="*/ 245954 w 245865"/>
                  <a:gd name="connsiteY1" fmla="*/ 544 h 245865"/>
                  <a:gd name="connsiteX2" fmla="*/ 245954 w 245865"/>
                  <a:gd name="connsiteY2" fmla="*/ 246410 h 245865"/>
                  <a:gd name="connsiteX3" fmla="*/ 88 w 245865"/>
                  <a:gd name="connsiteY3" fmla="*/ 246410 h 245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5865" h="245865">
                    <a:moveTo>
                      <a:pt x="88" y="544"/>
                    </a:moveTo>
                    <a:lnTo>
                      <a:pt x="245954" y="544"/>
                    </a:lnTo>
                    <a:lnTo>
                      <a:pt x="245954" y="246410"/>
                    </a:lnTo>
                    <a:lnTo>
                      <a:pt x="88" y="246410"/>
                    </a:lnTo>
                    <a:close/>
                  </a:path>
                </a:pathLst>
              </a:custGeom>
              <a:grpFill/>
              <a:ln w="89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F6A7B3EC-05F8-461D-8518-33C7AF5797BB}"/>
                  </a:ext>
                </a:extLst>
              </p:cNvPr>
              <p:cNvSpPr/>
              <p:nvPr/>
            </p:nvSpPr>
            <p:spPr>
              <a:xfrm rot="-1651796">
                <a:off x="3471066" y="5454493"/>
                <a:ext cx="70721" cy="70721"/>
              </a:xfrm>
              <a:custGeom>
                <a:avLst/>
                <a:gdLst>
                  <a:gd name="connsiteX0" fmla="*/ 411 w 70721"/>
                  <a:gd name="connsiteY0" fmla="*/ 464 h 70721"/>
                  <a:gd name="connsiteX1" fmla="*/ 71133 w 70721"/>
                  <a:gd name="connsiteY1" fmla="*/ 464 h 70721"/>
                  <a:gd name="connsiteX2" fmla="*/ 71133 w 70721"/>
                  <a:gd name="connsiteY2" fmla="*/ 71186 h 70721"/>
                  <a:gd name="connsiteX3" fmla="*/ 411 w 70721"/>
                  <a:gd name="connsiteY3" fmla="*/ 71186 h 70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721" h="70721">
                    <a:moveTo>
                      <a:pt x="411" y="464"/>
                    </a:moveTo>
                    <a:lnTo>
                      <a:pt x="71133" y="464"/>
                    </a:lnTo>
                    <a:lnTo>
                      <a:pt x="71133" y="71186"/>
                    </a:lnTo>
                    <a:lnTo>
                      <a:pt x="411" y="71186"/>
                    </a:lnTo>
                    <a:close/>
                  </a:path>
                </a:pathLst>
              </a:custGeom>
              <a:grpFill/>
              <a:ln w="25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C8286953-28E4-4A79-9CCA-9C9A9DCBDDCE}"/>
                  </a:ext>
                </a:extLst>
              </p:cNvPr>
              <p:cNvSpPr/>
              <p:nvPr/>
            </p:nvSpPr>
            <p:spPr>
              <a:xfrm rot="-5400000">
                <a:off x="5179014" y="1911635"/>
                <a:ext cx="45004" cy="45004"/>
              </a:xfrm>
              <a:custGeom>
                <a:avLst/>
                <a:gdLst>
                  <a:gd name="connsiteX0" fmla="*/ 629 w 45004"/>
                  <a:gd name="connsiteY0" fmla="*/ 7 h 45004"/>
                  <a:gd name="connsiteX1" fmla="*/ 45634 w 45004"/>
                  <a:gd name="connsiteY1" fmla="*/ 7 h 45004"/>
                  <a:gd name="connsiteX2" fmla="*/ 45634 w 45004"/>
                  <a:gd name="connsiteY2" fmla="*/ 45011 h 45004"/>
                  <a:gd name="connsiteX3" fmla="*/ 629 w 45004"/>
                  <a:gd name="connsiteY3" fmla="*/ 45011 h 45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004" h="45004">
                    <a:moveTo>
                      <a:pt x="629" y="7"/>
                    </a:moveTo>
                    <a:lnTo>
                      <a:pt x="45634" y="7"/>
                    </a:lnTo>
                    <a:lnTo>
                      <a:pt x="45634" y="45011"/>
                    </a:lnTo>
                    <a:lnTo>
                      <a:pt x="629" y="45011"/>
                    </a:lnTo>
                    <a:close/>
                  </a:path>
                </a:pathLst>
              </a:custGeom>
              <a:grpFill/>
              <a:ln w="16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038ED0F-E954-443B-99F8-824FE8B285FB}"/>
                  </a:ext>
                </a:extLst>
              </p:cNvPr>
              <p:cNvSpPr/>
              <p:nvPr/>
            </p:nvSpPr>
            <p:spPr>
              <a:xfrm rot="-2566197">
                <a:off x="4570734" y="5341203"/>
                <a:ext cx="57862" cy="57862"/>
              </a:xfrm>
              <a:custGeom>
                <a:avLst/>
                <a:gdLst>
                  <a:gd name="connsiteX0" fmla="*/ 552 w 57862"/>
                  <a:gd name="connsiteY0" fmla="*/ 449 h 57862"/>
                  <a:gd name="connsiteX1" fmla="*/ 58415 w 57862"/>
                  <a:gd name="connsiteY1" fmla="*/ 449 h 57862"/>
                  <a:gd name="connsiteX2" fmla="*/ 58415 w 57862"/>
                  <a:gd name="connsiteY2" fmla="*/ 58312 h 57862"/>
                  <a:gd name="connsiteX3" fmla="*/ 552 w 57862"/>
                  <a:gd name="connsiteY3" fmla="*/ 58312 h 57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862" h="57862">
                    <a:moveTo>
                      <a:pt x="552" y="449"/>
                    </a:moveTo>
                    <a:lnTo>
                      <a:pt x="58415" y="449"/>
                    </a:lnTo>
                    <a:lnTo>
                      <a:pt x="58415" y="58312"/>
                    </a:lnTo>
                    <a:lnTo>
                      <a:pt x="552" y="58312"/>
                    </a:lnTo>
                    <a:close/>
                  </a:path>
                </a:pathLst>
              </a:custGeom>
              <a:grpFill/>
              <a:ln w="20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7F18C6E2-44DD-41B0-87B2-01676422EA85}"/>
                  </a:ext>
                </a:extLst>
              </p:cNvPr>
              <p:cNvSpPr/>
              <p:nvPr/>
            </p:nvSpPr>
            <p:spPr>
              <a:xfrm rot="1241402">
                <a:off x="410153" y="5546873"/>
                <a:ext cx="124298" cy="124298"/>
              </a:xfrm>
              <a:custGeom>
                <a:avLst/>
                <a:gdLst>
                  <a:gd name="connsiteX0" fmla="*/ 21 w 124298"/>
                  <a:gd name="connsiteY0" fmla="*/ 480 h 124298"/>
                  <a:gd name="connsiteX1" fmla="*/ 124319 w 124298"/>
                  <a:gd name="connsiteY1" fmla="*/ 480 h 124298"/>
                  <a:gd name="connsiteX2" fmla="*/ 124319 w 124298"/>
                  <a:gd name="connsiteY2" fmla="*/ 124778 h 124298"/>
                  <a:gd name="connsiteX3" fmla="*/ 21 w 124298"/>
                  <a:gd name="connsiteY3" fmla="*/ 124778 h 124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298" h="124298">
                    <a:moveTo>
                      <a:pt x="21" y="480"/>
                    </a:moveTo>
                    <a:lnTo>
                      <a:pt x="124319" y="480"/>
                    </a:lnTo>
                    <a:lnTo>
                      <a:pt x="124319" y="124778"/>
                    </a:lnTo>
                    <a:lnTo>
                      <a:pt x="21" y="124778"/>
                    </a:lnTo>
                    <a:close/>
                  </a:path>
                </a:pathLst>
              </a:custGeom>
              <a:grpFill/>
              <a:ln w="45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DDA5A7C3-DC8F-49D8-9A02-1D539B47A446}"/>
                  </a:ext>
                </a:extLst>
              </p:cNvPr>
              <p:cNvSpPr/>
              <p:nvPr/>
            </p:nvSpPr>
            <p:spPr>
              <a:xfrm rot="-2622000">
                <a:off x="4234936" y="4898164"/>
                <a:ext cx="70721" cy="70721"/>
              </a:xfrm>
              <a:custGeom>
                <a:avLst/>
                <a:gdLst>
                  <a:gd name="connsiteX0" fmla="*/ 510 w 70721"/>
                  <a:gd name="connsiteY0" fmla="*/ 393 h 70721"/>
                  <a:gd name="connsiteX1" fmla="*/ 71231 w 70721"/>
                  <a:gd name="connsiteY1" fmla="*/ 393 h 70721"/>
                  <a:gd name="connsiteX2" fmla="*/ 71231 w 70721"/>
                  <a:gd name="connsiteY2" fmla="*/ 71114 h 70721"/>
                  <a:gd name="connsiteX3" fmla="*/ 510 w 70721"/>
                  <a:gd name="connsiteY3" fmla="*/ 71114 h 70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721" h="70721">
                    <a:moveTo>
                      <a:pt x="510" y="393"/>
                    </a:moveTo>
                    <a:lnTo>
                      <a:pt x="71231" y="393"/>
                    </a:lnTo>
                    <a:lnTo>
                      <a:pt x="71231" y="71114"/>
                    </a:lnTo>
                    <a:lnTo>
                      <a:pt x="510" y="71114"/>
                    </a:lnTo>
                    <a:close/>
                  </a:path>
                </a:pathLst>
              </a:custGeom>
              <a:grpFill/>
              <a:ln w="25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596E1706-0796-4834-A505-DED97DCBA227}"/>
                  </a:ext>
                </a:extLst>
              </p:cNvPr>
              <p:cNvSpPr/>
              <p:nvPr/>
            </p:nvSpPr>
            <p:spPr>
              <a:xfrm rot="633000">
                <a:off x="1212119" y="6152109"/>
                <a:ext cx="102867" cy="102867"/>
              </a:xfrm>
              <a:custGeom>
                <a:avLst/>
                <a:gdLst>
                  <a:gd name="connsiteX0" fmla="*/ 123 w 102867"/>
                  <a:gd name="connsiteY0" fmla="*/ 556 h 102867"/>
                  <a:gd name="connsiteX1" fmla="*/ 102990 w 102867"/>
                  <a:gd name="connsiteY1" fmla="*/ 556 h 102867"/>
                  <a:gd name="connsiteX2" fmla="*/ 102990 w 102867"/>
                  <a:gd name="connsiteY2" fmla="*/ 103424 h 102867"/>
                  <a:gd name="connsiteX3" fmla="*/ 123 w 102867"/>
                  <a:gd name="connsiteY3" fmla="*/ 103424 h 102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2867" h="102867">
                    <a:moveTo>
                      <a:pt x="123" y="556"/>
                    </a:moveTo>
                    <a:lnTo>
                      <a:pt x="102990" y="556"/>
                    </a:lnTo>
                    <a:lnTo>
                      <a:pt x="102990" y="103424"/>
                    </a:lnTo>
                    <a:lnTo>
                      <a:pt x="123" y="103424"/>
                    </a:lnTo>
                    <a:close/>
                  </a:path>
                </a:pathLst>
              </a:custGeom>
              <a:grpFill/>
              <a:ln w="37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4CCEB459-A847-4DBE-B395-FCA52B60908D}"/>
                  </a:ext>
                </a:extLst>
              </p:cNvPr>
              <p:cNvSpPr/>
              <p:nvPr/>
            </p:nvSpPr>
            <p:spPr>
              <a:xfrm rot="1257943">
                <a:off x="238596" y="5713841"/>
                <a:ext cx="245566" cy="245566"/>
              </a:xfrm>
              <a:custGeom>
                <a:avLst/>
                <a:gdLst>
                  <a:gd name="connsiteX0" fmla="*/ 6 w 245566"/>
                  <a:gd name="connsiteY0" fmla="*/ 509 h 245566"/>
                  <a:gd name="connsiteX1" fmla="*/ 245573 w 245566"/>
                  <a:gd name="connsiteY1" fmla="*/ 509 h 245566"/>
                  <a:gd name="connsiteX2" fmla="*/ 245573 w 245566"/>
                  <a:gd name="connsiteY2" fmla="*/ 246076 h 245566"/>
                  <a:gd name="connsiteX3" fmla="*/ 6 w 245566"/>
                  <a:gd name="connsiteY3" fmla="*/ 246076 h 245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5566" h="245566">
                    <a:moveTo>
                      <a:pt x="6" y="509"/>
                    </a:moveTo>
                    <a:lnTo>
                      <a:pt x="245573" y="509"/>
                    </a:lnTo>
                    <a:lnTo>
                      <a:pt x="245573" y="246076"/>
                    </a:lnTo>
                    <a:lnTo>
                      <a:pt x="6" y="246076"/>
                    </a:lnTo>
                    <a:close/>
                  </a:path>
                </a:pathLst>
              </a:custGeom>
              <a:grpFill/>
              <a:ln w="89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7B08FD70-F386-4B96-B9C0-279F38FB3F68}"/>
                  </a:ext>
                </a:extLst>
              </p:cNvPr>
              <p:cNvSpPr/>
              <p:nvPr/>
            </p:nvSpPr>
            <p:spPr>
              <a:xfrm rot="-4652505">
                <a:off x="5462277" y="3207170"/>
                <a:ext cx="188748" cy="188748"/>
              </a:xfrm>
              <a:custGeom>
                <a:avLst/>
                <a:gdLst>
                  <a:gd name="connsiteX0" fmla="*/ 675 w 188748"/>
                  <a:gd name="connsiteY0" fmla="*/ 183 h 188748"/>
                  <a:gd name="connsiteX1" fmla="*/ 189424 w 188748"/>
                  <a:gd name="connsiteY1" fmla="*/ 183 h 188748"/>
                  <a:gd name="connsiteX2" fmla="*/ 189424 w 188748"/>
                  <a:gd name="connsiteY2" fmla="*/ 188932 h 188748"/>
                  <a:gd name="connsiteX3" fmla="*/ 675 w 188748"/>
                  <a:gd name="connsiteY3" fmla="*/ 188932 h 188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8748" h="188748">
                    <a:moveTo>
                      <a:pt x="675" y="183"/>
                    </a:moveTo>
                    <a:lnTo>
                      <a:pt x="189424" y="183"/>
                    </a:lnTo>
                    <a:lnTo>
                      <a:pt x="189424" y="188932"/>
                    </a:lnTo>
                    <a:lnTo>
                      <a:pt x="675" y="188932"/>
                    </a:lnTo>
                    <a:close/>
                  </a:path>
                </a:pathLst>
              </a:custGeom>
              <a:grpFill/>
              <a:ln w="6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BBEF3912-84E7-4041-A789-69DFEF521C49}"/>
                  </a:ext>
                </a:extLst>
              </p:cNvPr>
              <p:cNvSpPr/>
              <p:nvPr/>
            </p:nvSpPr>
            <p:spPr>
              <a:xfrm rot="385800">
                <a:off x="1428136" y="6276589"/>
                <a:ext cx="177875" cy="177875"/>
              </a:xfrm>
              <a:custGeom>
                <a:avLst/>
                <a:gdLst>
                  <a:gd name="connsiteX0" fmla="*/ 155 w 177875"/>
                  <a:gd name="connsiteY0" fmla="*/ 577 h 177875"/>
                  <a:gd name="connsiteX1" fmla="*/ 178031 w 177875"/>
                  <a:gd name="connsiteY1" fmla="*/ 577 h 177875"/>
                  <a:gd name="connsiteX2" fmla="*/ 178031 w 177875"/>
                  <a:gd name="connsiteY2" fmla="*/ 178452 h 177875"/>
                  <a:gd name="connsiteX3" fmla="*/ 155 w 177875"/>
                  <a:gd name="connsiteY3" fmla="*/ 178452 h 177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7875" h="177875">
                    <a:moveTo>
                      <a:pt x="155" y="577"/>
                    </a:moveTo>
                    <a:lnTo>
                      <a:pt x="178031" y="577"/>
                    </a:lnTo>
                    <a:lnTo>
                      <a:pt x="178031" y="178452"/>
                    </a:lnTo>
                    <a:lnTo>
                      <a:pt x="155" y="178452"/>
                    </a:lnTo>
                    <a:close/>
                  </a:path>
                </a:pathLst>
              </a:custGeom>
              <a:grpFill/>
              <a:ln w="64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E07A116A-21E6-4076-B742-8C584918B14B}"/>
                  </a:ext>
                </a:extLst>
              </p:cNvPr>
              <p:cNvSpPr/>
              <p:nvPr/>
            </p:nvSpPr>
            <p:spPr>
              <a:xfrm rot="-1688397">
                <a:off x="3536424" y="5521426"/>
                <a:ext cx="120012" cy="120012"/>
              </a:xfrm>
              <a:custGeom>
                <a:avLst/>
                <a:gdLst>
                  <a:gd name="connsiteX0" fmla="*/ 423 w 120012"/>
                  <a:gd name="connsiteY0" fmla="*/ 476 h 120012"/>
                  <a:gd name="connsiteX1" fmla="*/ 120435 w 120012"/>
                  <a:gd name="connsiteY1" fmla="*/ 476 h 120012"/>
                  <a:gd name="connsiteX2" fmla="*/ 120435 w 120012"/>
                  <a:gd name="connsiteY2" fmla="*/ 120488 h 120012"/>
                  <a:gd name="connsiteX3" fmla="*/ 423 w 120012"/>
                  <a:gd name="connsiteY3" fmla="*/ 120488 h 120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0012" h="120012">
                    <a:moveTo>
                      <a:pt x="423" y="476"/>
                    </a:moveTo>
                    <a:lnTo>
                      <a:pt x="120435" y="476"/>
                    </a:lnTo>
                    <a:lnTo>
                      <a:pt x="120435" y="120488"/>
                    </a:lnTo>
                    <a:lnTo>
                      <a:pt x="423" y="120488"/>
                    </a:lnTo>
                    <a:close/>
                  </a:path>
                </a:pathLst>
              </a:custGeom>
              <a:grpFill/>
              <a:ln w="4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24ACC772-8FEC-4500-9B96-E3FB13F0C2BF}"/>
                  </a:ext>
                </a:extLst>
              </p:cNvPr>
              <p:cNvSpPr/>
              <p:nvPr/>
            </p:nvSpPr>
            <p:spPr>
              <a:xfrm rot="1118999">
                <a:off x="729440" y="6008610"/>
                <a:ext cx="66435" cy="66435"/>
              </a:xfrm>
              <a:custGeom>
                <a:avLst/>
                <a:gdLst>
                  <a:gd name="connsiteX0" fmla="*/ 58 w 66435"/>
                  <a:gd name="connsiteY0" fmla="*/ 535 h 66435"/>
                  <a:gd name="connsiteX1" fmla="*/ 66494 w 66435"/>
                  <a:gd name="connsiteY1" fmla="*/ 535 h 66435"/>
                  <a:gd name="connsiteX2" fmla="*/ 66494 w 66435"/>
                  <a:gd name="connsiteY2" fmla="*/ 66971 h 66435"/>
                  <a:gd name="connsiteX3" fmla="*/ 58 w 66435"/>
                  <a:gd name="connsiteY3" fmla="*/ 66971 h 66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435" h="66435">
                    <a:moveTo>
                      <a:pt x="58" y="535"/>
                    </a:moveTo>
                    <a:lnTo>
                      <a:pt x="66494" y="535"/>
                    </a:lnTo>
                    <a:lnTo>
                      <a:pt x="66494" y="66971"/>
                    </a:lnTo>
                    <a:lnTo>
                      <a:pt x="58" y="66971"/>
                    </a:lnTo>
                    <a:close/>
                  </a:path>
                </a:pathLst>
              </a:custGeom>
              <a:grpFill/>
              <a:ln w="24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1FD03635-390D-4428-BFA1-F98045932E68}"/>
                  </a:ext>
                </a:extLst>
              </p:cNvPr>
              <p:cNvSpPr/>
              <p:nvPr/>
            </p:nvSpPr>
            <p:spPr>
              <a:xfrm rot="-5400000">
                <a:off x="5728925" y="2287103"/>
                <a:ext cx="70721" cy="70721"/>
              </a:xfrm>
              <a:custGeom>
                <a:avLst/>
                <a:gdLst>
                  <a:gd name="connsiteX0" fmla="*/ 702 w 70721"/>
                  <a:gd name="connsiteY0" fmla="*/ 57 h 70721"/>
                  <a:gd name="connsiteX1" fmla="*/ 71423 w 70721"/>
                  <a:gd name="connsiteY1" fmla="*/ 57 h 70721"/>
                  <a:gd name="connsiteX2" fmla="*/ 71423 w 70721"/>
                  <a:gd name="connsiteY2" fmla="*/ 70778 h 70721"/>
                  <a:gd name="connsiteX3" fmla="*/ 702 w 70721"/>
                  <a:gd name="connsiteY3" fmla="*/ 70778 h 70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721" h="70721">
                    <a:moveTo>
                      <a:pt x="702" y="57"/>
                    </a:moveTo>
                    <a:lnTo>
                      <a:pt x="71423" y="57"/>
                    </a:lnTo>
                    <a:lnTo>
                      <a:pt x="71423" y="70778"/>
                    </a:lnTo>
                    <a:lnTo>
                      <a:pt x="702" y="70778"/>
                    </a:lnTo>
                    <a:close/>
                  </a:path>
                </a:pathLst>
              </a:custGeom>
              <a:grpFill/>
              <a:ln w="25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C46B0EBA-68C7-4831-9D95-97826B5015E7}"/>
                  </a:ext>
                </a:extLst>
              </p:cNvPr>
              <p:cNvSpPr/>
              <p:nvPr/>
            </p:nvSpPr>
            <p:spPr>
              <a:xfrm rot="-1510800">
                <a:off x="3486884" y="5809756"/>
                <a:ext cx="70721" cy="70721"/>
              </a:xfrm>
              <a:custGeom>
                <a:avLst/>
                <a:gdLst>
                  <a:gd name="connsiteX0" fmla="*/ 413 w 70721"/>
                  <a:gd name="connsiteY0" fmla="*/ 510 h 70721"/>
                  <a:gd name="connsiteX1" fmla="*/ 71135 w 70721"/>
                  <a:gd name="connsiteY1" fmla="*/ 510 h 70721"/>
                  <a:gd name="connsiteX2" fmla="*/ 71135 w 70721"/>
                  <a:gd name="connsiteY2" fmla="*/ 71232 h 70721"/>
                  <a:gd name="connsiteX3" fmla="*/ 413 w 70721"/>
                  <a:gd name="connsiteY3" fmla="*/ 71232 h 70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721" h="70721">
                    <a:moveTo>
                      <a:pt x="413" y="510"/>
                    </a:moveTo>
                    <a:lnTo>
                      <a:pt x="71135" y="510"/>
                    </a:lnTo>
                    <a:lnTo>
                      <a:pt x="71135" y="71232"/>
                    </a:lnTo>
                    <a:lnTo>
                      <a:pt x="413" y="71232"/>
                    </a:lnTo>
                    <a:close/>
                  </a:path>
                </a:pathLst>
              </a:custGeom>
              <a:grpFill/>
              <a:ln w="25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F7EA4F65-0400-46D6-84BB-A302D5933810}"/>
                  </a:ext>
                </a:extLst>
              </p:cNvPr>
              <p:cNvSpPr/>
              <p:nvPr/>
            </p:nvSpPr>
            <p:spPr>
              <a:xfrm rot="-4341597">
                <a:off x="5665337" y="3678049"/>
                <a:ext cx="47147" cy="47147"/>
              </a:xfrm>
              <a:custGeom>
                <a:avLst/>
                <a:gdLst>
                  <a:gd name="connsiteX0" fmla="*/ 692 w 47147"/>
                  <a:gd name="connsiteY0" fmla="*/ 234 h 47147"/>
                  <a:gd name="connsiteX1" fmla="*/ 47840 w 47147"/>
                  <a:gd name="connsiteY1" fmla="*/ 234 h 47147"/>
                  <a:gd name="connsiteX2" fmla="*/ 47840 w 47147"/>
                  <a:gd name="connsiteY2" fmla="*/ 47382 h 47147"/>
                  <a:gd name="connsiteX3" fmla="*/ 692 w 47147"/>
                  <a:gd name="connsiteY3" fmla="*/ 47382 h 47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147" h="47147">
                    <a:moveTo>
                      <a:pt x="692" y="234"/>
                    </a:moveTo>
                    <a:lnTo>
                      <a:pt x="47840" y="234"/>
                    </a:lnTo>
                    <a:lnTo>
                      <a:pt x="47840" y="47382"/>
                    </a:lnTo>
                    <a:lnTo>
                      <a:pt x="692" y="47382"/>
                    </a:lnTo>
                    <a:close/>
                  </a:path>
                </a:pathLst>
              </a:custGeom>
              <a:grpFill/>
              <a:ln w="1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D64A4872-1C09-49C4-8376-52ADADE0460E}"/>
                  </a:ext>
                </a:extLst>
              </p:cNvPr>
              <p:cNvSpPr/>
              <p:nvPr/>
            </p:nvSpPr>
            <p:spPr>
              <a:xfrm rot="-4091916">
                <a:off x="5217023" y="3743671"/>
                <a:ext cx="92326" cy="92326"/>
              </a:xfrm>
              <a:custGeom>
                <a:avLst/>
                <a:gdLst>
                  <a:gd name="connsiteX0" fmla="*/ 637 w 92326"/>
                  <a:gd name="connsiteY0" fmla="*/ 246 h 92326"/>
                  <a:gd name="connsiteX1" fmla="*/ 92964 w 92326"/>
                  <a:gd name="connsiteY1" fmla="*/ 246 h 92326"/>
                  <a:gd name="connsiteX2" fmla="*/ 92964 w 92326"/>
                  <a:gd name="connsiteY2" fmla="*/ 92572 h 92326"/>
                  <a:gd name="connsiteX3" fmla="*/ 637 w 92326"/>
                  <a:gd name="connsiteY3" fmla="*/ 92572 h 92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326" h="92326">
                    <a:moveTo>
                      <a:pt x="637" y="246"/>
                    </a:moveTo>
                    <a:lnTo>
                      <a:pt x="92964" y="246"/>
                    </a:lnTo>
                    <a:lnTo>
                      <a:pt x="92964" y="92572"/>
                    </a:lnTo>
                    <a:lnTo>
                      <a:pt x="637" y="92572"/>
                    </a:lnTo>
                    <a:close/>
                  </a:path>
                </a:pathLst>
              </a:custGeom>
              <a:grpFill/>
              <a:ln w="33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BB520DC4-CC19-4C76-A28F-4B38F4D29442}"/>
                  </a:ext>
                </a:extLst>
              </p:cNvPr>
              <p:cNvSpPr/>
              <p:nvPr/>
            </p:nvSpPr>
            <p:spPr>
              <a:xfrm rot="-1712401">
                <a:off x="3402858" y="5246770"/>
                <a:ext cx="171446" cy="171446"/>
              </a:xfrm>
              <a:custGeom>
                <a:avLst/>
                <a:gdLst>
                  <a:gd name="connsiteX0" fmla="*/ 409 w 171446"/>
                  <a:gd name="connsiteY0" fmla="*/ 444 h 171446"/>
                  <a:gd name="connsiteX1" fmla="*/ 171855 w 171446"/>
                  <a:gd name="connsiteY1" fmla="*/ 444 h 171446"/>
                  <a:gd name="connsiteX2" fmla="*/ 171855 w 171446"/>
                  <a:gd name="connsiteY2" fmla="*/ 171890 h 171446"/>
                  <a:gd name="connsiteX3" fmla="*/ 409 w 171446"/>
                  <a:gd name="connsiteY3" fmla="*/ 171890 h 171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1446" h="171446">
                    <a:moveTo>
                      <a:pt x="409" y="444"/>
                    </a:moveTo>
                    <a:lnTo>
                      <a:pt x="171855" y="444"/>
                    </a:lnTo>
                    <a:lnTo>
                      <a:pt x="171855" y="171890"/>
                    </a:lnTo>
                    <a:lnTo>
                      <a:pt x="409" y="171890"/>
                    </a:lnTo>
                    <a:close/>
                  </a:path>
                </a:pathLst>
              </a:custGeom>
              <a:grpFill/>
              <a:ln w="62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3F1BE422-D29F-4916-BF04-6C04E33FAF72}"/>
                  </a:ext>
                </a:extLst>
              </p:cNvPr>
              <p:cNvSpPr/>
              <p:nvPr/>
            </p:nvSpPr>
            <p:spPr>
              <a:xfrm rot="-5400000">
                <a:off x="5705070" y="1885730"/>
                <a:ext cx="68578" cy="68578"/>
              </a:xfrm>
              <a:custGeom>
                <a:avLst/>
                <a:gdLst>
                  <a:gd name="connsiteX0" fmla="*/ 699 w 68578"/>
                  <a:gd name="connsiteY0" fmla="*/ 5 h 68578"/>
                  <a:gd name="connsiteX1" fmla="*/ 69277 w 68578"/>
                  <a:gd name="connsiteY1" fmla="*/ 5 h 68578"/>
                  <a:gd name="connsiteX2" fmla="*/ 69277 w 68578"/>
                  <a:gd name="connsiteY2" fmla="*/ 68583 h 68578"/>
                  <a:gd name="connsiteX3" fmla="*/ 699 w 68578"/>
                  <a:gd name="connsiteY3" fmla="*/ 68583 h 68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578" h="68578">
                    <a:moveTo>
                      <a:pt x="699" y="5"/>
                    </a:moveTo>
                    <a:lnTo>
                      <a:pt x="69277" y="5"/>
                    </a:lnTo>
                    <a:lnTo>
                      <a:pt x="69277" y="68583"/>
                    </a:lnTo>
                    <a:lnTo>
                      <a:pt x="699" y="68583"/>
                    </a:lnTo>
                    <a:close/>
                  </a:path>
                </a:pathLst>
              </a:custGeom>
              <a:grpFill/>
              <a:ln w="24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DE7DAC19-7412-4603-88C3-FD705F2627E6}"/>
                  </a:ext>
                </a:extLst>
              </p:cNvPr>
              <p:cNvSpPr/>
              <p:nvPr/>
            </p:nvSpPr>
            <p:spPr>
              <a:xfrm rot="-2044797">
                <a:off x="4100283" y="5705303"/>
                <a:ext cx="92152" cy="92152"/>
              </a:xfrm>
              <a:custGeom>
                <a:avLst/>
                <a:gdLst>
                  <a:gd name="connsiteX0" fmla="*/ 494 w 92152"/>
                  <a:gd name="connsiteY0" fmla="*/ 498 h 92152"/>
                  <a:gd name="connsiteX1" fmla="*/ 92646 w 92152"/>
                  <a:gd name="connsiteY1" fmla="*/ 498 h 92152"/>
                  <a:gd name="connsiteX2" fmla="*/ 92646 w 92152"/>
                  <a:gd name="connsiteY2" fmla="*/ 92650 h 92152"/>
                  <a:gd name="connsiteX3" fmla="*/ 494 w 92152"/>
                  <a:gd name="connsiteY3" fmla="*/ 92650 h 92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152" h="92152">
                    <a:moveTo>
                      <a:pt x="494" y="498"/>
                    </a:moveTo>
                    <a:lnTo>
                      <a:pt x="92646" y="498"/>
                    </a:lnTo>
                    <a:lnTo>
                      <a:pt x="92646" y="92650"/>
                    </a:lnTo>
                    <a:lnTo>
                      <a:pt x="494" y="92650"/>
                    </a:lnTo>
                    <a:close/>
                  </a:path>
                </a:pathLst>
              </a:custGeom>
              <a:grpFill/>
              <a:ln w="33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3F1058C8-7046-4FCD-B8A0-CC80E106D9FA}"/>
                  </a:ext>
                </a:extLst>
              </p:cNvPr>
              <p:cNvSpPr/>
              <p:nvPr/>
            </p:nvSpPr>
            <p:spPr>
              <a:xfrm rot="510601">
                <a:off x="1399307" y="5968952"/>
                <a:ext cx="60006" cy="60006"/>
              </a:xfrm>
              <a:custGeom>
                <a:avLst/>
                <a:gdLst>
                  <a:gd name="connsiteX0" fmla="*/ 144 w 60006"/>
                  <a:gd name="connsiteY0" fmla="*/ 530 h 60006"/>
                  <a:gd name="connsiteX1" fmla="*/ 60150 w 60006"/>
                  <a:gd name="connsiteY1" fmla="*/ 530 h 60006"/>
                  <a:gd name="connsiteX2" fmla="*/ 60150 w 60006"/>
                  <a:gd name="connsiteY2" fmla="*/ 60536 h 60006"/>
                  <a:gd name="connsiteX3" fmla="*/ 144 w 60006"/>
                  <a:gd name="connsiteY3" fmla="*/ 60536 h 6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006" h="60006">
                    <a:moveTo>
                      <a:pt x="144" y="530"/>
                    </a:moveTo>
                    <a:lnTo>
                      <a:pt x="60150" y="530"/>
                    </a:lnTo>
                    <a:lnTo>
                      <a:pt x="60150" y="60536"/>
                    </a:lnTo>
                    <a:lnTo>
                      <a:pt x="144" y="60536"/>
                    </a:lnTo>
                    <a:close/>
                  </a:path>
                </a:pathLst>
              </a:custGeom>
              <a:grpFill/>
              <a:ln w="2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98D7ED11-0A9E-4C41-8420-84BBF4E61D50}"/>
                  </a:ext>
                </a:extLst>
              </p:cNvPr>
              <p:cNvSpPr/>
              <p:nvPr/>
            </p:nvSpPr>
            <p:spPr>
              <a:xfrm rot="-1575015">
                <a:off x="3300418" y="5344439"/>
                <a:ext cx="174433" cy="174433"/>
              </a:xfrm>
              <a:custGeom>
                <a:avLst/>
                <a:gdLst>
                  <a:gd name="connsiteX0" fmla="*/ 396 w 174433"/>
                  <a:gd name="connsiteY0" fmla="*/ 457 h 174433"/>
                  <a:gd name="connsiteX1" fmla="*/ 174830 w 174433"/>
                  <a:gd name="connsiteY1" fmla="*/ 457 h 174433"/>
                  <a:gd name="connsiteX2" fmla="*/ 174830 w 174433"/>
                  <a:gd name="connsiteY2" fmla="*/ 174891 h 174433"/>
                  <a:gd name="connsiteX3" fmla="*/ 396 w 174433"/>
                  <a:gd name="connsiteY3" fmla="*/ 174891 h 174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4433" h="174433">
                    <a:moveTo>
                      <a:pt x="396" y="457"/>
                    </a:moveTo>
                    <a:lnTo>
                      <a:pt x="174830" y="457"/>
                    </a:lnTo>
                    <a:lnTo>
                      <a:pt x="174830" y="174891"/>
                    </a:lnTo>
                    <a:lnTo>
                      <a:pt x="396" y="174891"/>
                    </a:lnTo>
                    <a:close/>
                  </a:path>
                </a:pathLst>
              </a:custGeom>
              <a:grpFill/>
              <a:ln w="63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C13474BF-6435-4181-BDEB-04D3E45D538C}"/>
                  </a:ext>
                </a:extLst>
              </p:cNvPr>
              <p:cNvSpPr/>
              <p:nvPr/>
            </p:nvSpPr>
            <p:spPr>
              <a:xfrm rot="-2352432">
                <a:off x="4319937" y="5415962"/>
                <a:ext cx="105098" cy="105098"/>
              </a:xfrm>
              <a:custGeom>
                <a:avLst/>
                <a:gdLst>
                  <a:gd name="connsiteX0" fmla="*/ 523 w 105098"/>
                  <a:gd name="connsiteY0" fmla="*/ 462 h 105098"/>
                  <a:gd name="connsiteX1" fmla="*/ 105621 w 105098"/>
                  <a:gd name="connsiteY1" fmla="*/ 462 h 105098"/>
                  <a:gd name="connsiteX2" fmla="*/ 105621 w 105098"/>
                  <a:gd name="connsiteY2" fmla="*/ 105560 h 105098"/>
                  <a:gd name="connsiteX3" fmla="*/ 523 w 105098"/>
                  <a:gd name="connsiteY3" fmla="*/ 105560 h 105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098" h="105098">
                    <a:moveTo>
                      <a:pt x="523" y="462"/>
                    </a:moveTo>
                    <a:lnTo>
                      <a:pt x="105621" y="462"/>
                    </a:lnTo>
                    <a:lnTo>
                      <a:pt x="105621" y="105560"/>
                    </a:lnTo>
                    <a:lnTo>
                      <a:pt x="523" y="105560"/>
                    </a:lnTo>
                    <a:close/>
                  </a:path>
                </a:pathLst>
              </a:custGeom>
              <a:grpFill/>
              <a:ln w="38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06A92734-AFD0-47FF-886D-15EA45C99220}"/>
                  </a:ext>
                </a:extLst>
              </p:cNvPr>
              <p:cNvSpPr/>
              <p:nvPr/>
            </p:nvSpPr>
            <p:spPr>
              <a:xfrm rot="-5035652">
                <a:off x="5140107" y="2797243"/>
                <a:ext cx="101292" cy="101292"/>
              </a:xfrm>
              <a:custGeom>
                <a:avLst/>
                <a:gdLst>
                  <a:gd name="connsiteX0" fmla="*/ 628 w 101292"/>
                  <a:gd name="connsiteY0" fmla="*/ 124 h 101292"/>
                  <a:gd name="connsiteX1" fmla="*/ 101921 w 101292"/>
                  <a:gd name="connsiteY1" fmla="*/ 124 h 101292"/>
                  <a:gd name="connsiteX2" fmla="*/ 101921 w 101292"/>
                  <a:gd name="connsiteY2" fmla="*/ 101417 h 101292"/>
                  <a:gd name="connsiteX3" fmla="*/ 628 w 101292"/>
                  <a:gd name="connsiteY3" fmla="*/ 101417 h 101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1292" h="101292">
                    <a:moveTo>
                      <a:pt x="628" y="124"/>
                    </a:moveTo>
                    <a:lnTo>
                      <a:pt x="101921" y="124"/>
                    </a:lnTo>
                    <a:lnTo>
                      <a:pt x="101921" y="101417"/>
                    </a:lnTo>
                    <a:lnTo>
                      <a:pt x="628" y="101417"/>
                    </a:lnTo>
                    <a:close/>
                  </a:path>
                </a:pathLst>
              </a:custGeom>
              <a:grpFill/>
              <a:ln w="367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E12C85AB-9851-422E-837D-9C54369E9367}"/>
                  </a:ext>
                </a:extLst>
              </p:cNvPr>
              <p:cNvSpPr/>
              <p:nvPr/>
            </p:nvSpPr>
            <p:spPr>
              <a:xfrm rot="775201">
                <a:off x="991075" y="6157684"/>
                <a:ext cx="203592" cy="203592"/>
              </a:xfrm>
              <a:custGeom>
                <a:avLst/>
                <a:gdLst>
                  <a:gd name="connsiteX0" fmla="*/ 101 w 203592"/>
                  <a:gd name="connsiteY0" fmla="*/ 563 h 203592"/>
                  <a:gd name="connsiteX1" fmla="*/ 203693 w 203592"/>
                  <a:gd name="connsiteY1" fmla="*/ 563 h 203592"/>
                  <a:gd name="connsiteX2" fmla="*/ 203693 w 203592"/>
                  <a:gd name="connsiteY2" fmla="*/ 204156 h 203592"/>
                  <a:gd name="connsiteX3" fmla="*/ 101 w 203592"/>
                  <a:gd name="connsiteY3" fmla="*/ 204156 h 203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3592" h="203592">
                    <a:moveTo>
                      <a:pt x="101" y="563"/>
                    </a:moveTo>
                    <a:lnTo>
                      <a:pt x="203693" y="563"/>
                    </a:lnTo>
                    <a:lnTo>
                      <a:pt x="203693" y="204156"/>
                    </a:lnTo>
                    <a:lnTo>
                      <a:pt x="101" y="204156"/>
                    </a:lnTo>
                    <a:close/>
                  </a:path>
                </a:pathLst>
              </a:custGeom>
              <a:grpFill/>
              <a:ln w="737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A40198C7-72B5-4A9A-A522-286A92D99C52}"/>
                  </a:ext>
                </a:extLst>
              </p:cNvPr>
              <p:cNvSpPr/>
              <p:nvPr/>
            </p:nvSpPr>
            <p:spPr>
              <a:xfrm rot="1006199">
                <a:off x="804182" y="5880741"/>
                <a:ext cx="205735" cy="205735"/>
              </a:xfrm>
              <a:custGeom>
                <a:avLst/>
                <a:gdLst>
                  <a:gd name="connsiteX0" fmla="*/ 77 w 205735"/>
                  <a:gd name="connsiteY0" fmla="*/ 528 h 205735"/>
                  <a:gd name="connsiteX1" fmla="*/ 205812 w 205735"/>
                  <a:gd name="connsiteY1" fmla="*/ 528 h 205735"/>
                  <a:gd name="connsiteX2" fmla="*/ 205812 w 205735"/>
                  <a:gd name="connsiteY2" fmla="*/ 206263 h 205735"/>
                  <a:gd name="connsiteX3" fmla="*/ 77 w 205735"/>
                  <a:gd name="connsiteY3" fmla="*/ 206263 h 205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5735" h="205735">
                    <a:moveTo>
                      <a:pt x="77" y="528"/>
                    </a:moveTo>
                    <a:lnTo>
                      <a:pt x="205812" y="528"/>
                    </a:lnTo>
                    <a:lnTo>
                      <a:pt x="205812" y="206263"/>
                    </a:lnTo>
                    <a:lnTo>
                      <a:pt x="77" y="206263"/>
                    </a:lnTo>
                    <a:close/>
                  </a:path>
                </a:pathLst>
              </a:custGeom>
              <a:grpFill/>
              <a:ln w="74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37EBBC95-5937-4785-B2F9-0AA07706B67F}"/>
                  </a:ext>
                </a:extLst>
              </p:cNvPr>
              <p:cNvSpPr/>
              <p:nvPr/>
            </p:nvSpPr>
            <p:spPr>
              <a:xfrm rot="330000">
                <a:off x="1526834" y="5938727"/>
                <a:ext cx="173589" cy="173589"/>
              </a:xfrm>
              <a:custGeom>
                <a:avLst/>
                <a:gdLst>
                  <a:gd name="connsiteX0" fmla="*/ 168 w 173589"/>
                  <a:gd name="connsiteY0" fmla="*/ 533 h 173589"/>
                  <a:gd name="connsiteX1" fmla="*/ 173757 w 173589"/>
                  <a:gd name="connsiteY1" fmla="*/ 533 h 173589"/>
                  <a:gd name="connsiteX2" fmla="*/ 173757 w 173589"/>
                  <a:gd name="connsiteY2" fmla="*/ 174122 h 173589"/>
                  <a:gd name="connsiteX3" fmla="*/ 168 w 173589"/>
                  <a:gd name="connsiteY3" fmla="*/ 174122 h 173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3589" h="173589">
                    <a:moveTo>
                      <a:pt x="168" y="533"/>
                    </a:moveTo>
                    <a:lnTo>
                      <a:pt x="173757" y="533"/>
                    </a:lnTo>
                    <a:lnTo>
                      <a:pt x="173757" y="174122"/>
                    </a:lnTo>
                    <a:lnTo>
                      <a:pt x="168" y="174122"/>
                    </a:lnTo>
                    <a:close/>
                  </a:path>
                </a:pathLst>
              </a:custGeom>
              <a:grpFill/>
              <a:ln w="62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3502F7BE-D504-415B-91AB-016C68B60EB7}"/>
                  </a:ext>
                </a:extLst>
              </p:cNvPr>
              <p:cNvSpPr/>
              <p:nvPr/>
            </p:nvSpPr>
            <p:spPr>
              <a:xfrm rot="-1267799">
                <a:off x="3213286" y="5929493"/>
                <a:ext cx="212164" cy="212164"/>
              </a:xfrm>
              <a:custGeom>
                <a:avLst/>
                <a:gdLst>
                  <a:gd name="connsiteX0" fmla="*/ 387 w 212164"/>
                  <a:gd name="connsiteY0" fmla="*/ 535 h 212164"/>
                  <a:gd name="connsiteX1" fmla="*/ 212552 w 212164"/>
                  <a:gd name="connsiteY1" fmla="*/ 535 h 212164"/>
                  <a:gd name="connsiteX2" fmla="*/ 212552 w 212164"/>
                  <a:gd name="connsiteY2" fmla="*/ 212699 h 212164"/>
                  <a:gd name="connsiteX3" fmla="*/ 387 w 212164"/>
                  <a:gd name="connsiteY3" fmla="*/ 212699 h 212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2164" h="212164">
                    <a:moveTo>
                      <a:pt x="387" y="535"/>
                    </a:moveTo>
                    <a:lnTo>
                      <a:pt x="212552" y="535"/>
                    </a:lnTo>
                    <a:lnTo>
                      <a:pt x="212552" y="212699"/>
                    </a:lnTo>
                    <a:lnTo>
                      <a:pt x="387" y="212699"/>
                    </a:lnTo>
                    <a:close/>
                  </a:path>
                </a:pathLst>
              </a:custGeom>
              <a:grpFill/>
              <a:ln w="76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08A6C0C2-47F8-46D7-9D62-B4F78C0B1E05}"/>
                  </a:ext>
                </a:extLst>
              </p:cNvPr>
              <p:cNvSpPr/>
              <p:nvPr/>
            </p:nvSpPr>
            <p:spPr>
              <a:xfrm rot="-492599">
                <a:off x="2423172" y="6188452"/>
                <a:ext cx="160730" cy="160730"/>
              </a:xfrm>
              <a:custGeom>
                <a:avLst/>
                <a:gdLst>
                  <a:gd name="connsiteX0" fmla="*/ 282 w 160730"/>
                  <a:gd name="connsiteY0" fmla="*/ 565 h 160730"/>
                  <a:gd name="connsiteX1" fmla="*/ 161013 w 160730"/>
                  <a:gd name="connsiteY1" fmla="*/ 565 h 160730"/>
                  <a:gd name="connsiteX2" fmla="*/ 161013 w 160730"/>
                  <a:gd name="connsiteY2" fmla="*/ 161295 h 160730"/>
                  <a:gd name="connsiteX3" fmla="*/ 282 w 160730"/>
                  <a:gd name="connsiteY3" fmla="*/ 161295 h 160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0730" h="160730">
                    <a:moveTo>
                      <a:pt x="282" y="565"/>
                    </a:moveTo>
                    <a:lnTo>
                      <a:pt x="161013" y="565"/>
                    </a:lnTo>
                    <a:lnTo>
                      <a:pt x="161013" y="161295"/>
                    </a:lnTo>
                    <a:lnTo>
                      <a:pt x="282" y="161295"/>
                    </a:lnTo>
                    <a:close/>
                  </a:path>
                </a:pathLst>
              </a:custGeom>
              <a:grpFill/>
              <a:ln w="58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DF3D6E8-3C11-462C-8306-569EECB86AC5}"/>
                  </a:ext>
                </a:extLst>
              </p:cNvPr>
              <p:cNvSpPr/>
              <p:nvPr/>
            </p:nvSpPr>
            <p:spPr>
              <a:xfrm rot="789001">
                <a:off x="1201972" y="5596531"/>
                <a:ext cx="47147" cy="47147"/>
              </a:xfrm>
              <a:custGeom>
                <a:avLst/>
                <a:gdLst>
                  <a:gd name="connsiteX0" fmla="*/ 118 w 47147"/>
                  <a:gd name="connsiteY0" fmla="*/ 481 h 47147"/>
                  <a:gd name="connsiteX1" fmla="*/ 47265 w 47147"/>
                  <a:gd name="connsiteY1" fmla="*/ 481 h 47147"/>
                  <a:gd name="connsiteX2" fmla="*/ 47265 w 47147"/>
                  <a:gd name="connsiteY2" fmla="*/ 47629 h 47147"/>
                  <a:gd name="connsiteX3" fmla="*/ 118 w 47147"/>
                  <a:gd name="connsiteY3" fmla="*/ 47629 h 47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147" h="47147">
                    <a:moveTo>
                      <a:pt x="118" y="481"/>
                    </a:moveTo>
                    <a:lnTo>
                      <a:pt x="47265" y="481"/>
                    </a:lnTo>
                    <a:lnTo>
                      <a:pt x="47265" y="47629"/>
                    </a:lnTo>
                    <a:lnTo>
                      <a:pt x="118" y="47629"/>
                    </a:lnTo>
                    <a:close/>
                  </a:path>
                </a:pathLst>
              </a:custGeom>
              <a:grpFill/>
              <a:ln w="1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DCC2A866-02BB-4B4A-8D2E-09CB2BE8F900}"/>
                  </a:ext>
                </a:extLst>
              </p:cNvPr>
              <p:cNvSpPr/>
              <p:nvPr/>
            </p:nvSpPr>
            <p:spPr>
              <a:xfrm rot="1241401">
                <a:off x="718108" y="5659826"/>
                <a:ext cx="45004" cy="45004"/>
              </a:xfrm>
              <a:custGeom>
                <a:avLst/>
                <a:gdLst>
                  <a:gd name="connsiteX0" fmla="*/ 55 w 45004"/>
                  <a:gd name="connsiteY0" fmla="*/ 489 h 45004"/>
                  <a:gd name="connsiteX1" fmla="*/ 45060 w 45004"/>
                  <a:gd name="connsiteY1" fmla="*/ 489 h 45004"/>
                  <a:gd name="connsiteX2" fmla="*/ 45060 w 45004"/>
                  <a:gd name="connsiteY2" fmla="*/ 45494 h 45004"/>
                  <a:gd name="connsiteX3" fmla="*/ 55 w 45004"/>
                  <a:gd name="connsiteY3" fmla="*/ 45494 h 45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004" h="45004">
                    <a:moveTo>
                      <a:pt x="55" y="489"/>
                    </a:moveTo>
                    <a:lnTo>
                      <a:pt x="45060" y="489"/>
                    </a:lnTo>
                    <a:lnTo>
                      <a:pt x="45060" y="45494"/>
                    </a:lnTo>
                    <a:lnTo>
                      <a:pt x="55" y="45494"/>
                    </a:lnTo>
                    <a:close/>
                  </a:path>
                </a:pathLst>
              </a:custGeom>
              <a:grpFill/>
              <a:ln w="16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8DC91C4C-3E31-44F5-8840-EAED58363E50}"/>
                  </a:ext>
                </a:extLst>
              </p:cNvPr>
              <p:cNvSpPr/>
              <p:nvPr/>
            </p:nvSpPr>
            <p:spPr>
              <a:xfrm rot="-1729201">
                <a:off x="3600369" y="5578170"/>
                <a:ext cx="182161" cy="182161"/>
              </a:xfrm>
              <a:custGeom>
                <a:avLst/>
                <a:gdLst>
                  <a:gd name="connsiteX0" fmla="*/ 435 w 182161"/>
                  <a:gd name="connsiteY0" fmla="*/ 487 h 182161"/>
                  <a:gd name="connsiteX1" fmla="*/ 182597 w 182161"/>
                  <a:gd name="connsiteY1" fmla="*/ 487 h 182161"/>
                  <a:gd name="connsiteX2" fmla="*/ 182597 w 182161"/>
                  <a:gd name="connsiteY2" fmla="*/ 182649 h 182161"/>
                  <a:gd name="connsiteX3" fmla="*/ 435 w 182161"/>
                  <a:gd name="connsiteY3" fmla="*/ 182649 h 182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2161" h="182161">
                    <a:moveTo>
                      <a:pt x="435" y="487"/>
                    </a:moveTo>
                    <a:lnTo>
                      <a:pt x="182597" y="487"/>
                    </a:lnTo>
                    <a:lnTo>
                      <a:pt x="182597" y="182649"/>
                    </a:lnTo>
                    <a:lnTo>
                      <a:pt x="435" y="182649"/>
                    </a:lnTo>
                    <a:close/>
                  </a:path>
                </a:pathLst>
              </a:custGeom>
              <a:grpFill/>
              <a:ln w="66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944D561-A3CD-4339-9764-6198BC93AC49}"/>
                  </a:ext>
                </a:extLst>
              </p:cNvPr>
              <p:cNvSpPr/>
              <p:nvPr/>
            </p:nvSpPr>
            <p:spPr>
              <a:xfrm rot="868218">
                <a:off x="1045268" y="5642109"/>
                <a:ext cx="137223" cy="137223"/>
              </a:xfrm>
              <a:custGeom>
                <a:avLst/>
                <a:gdLst>
                  <a:gd name="connsiteX0" fmla="*/ 103 w 137223"/>
                  <a:gd name="connsiteY0" fmla="*/ 493 h 137223"/>
                  <a:gd name="connsiteX1" fmla="*/ 137327 w 137223"/>
                  <a:gd name="connsiteY1" fmla="*/ 493 h 137223"/>
                  <a:gd name="connsiteX2" fmla="*/ 137327 w 137223"/>
                  <a:gd name="connsiteY2" fmla="*/ 137717 h 137223"/>
                  <a:gd name="connsiteX3" fmla="*/ 103 w 137223"/>
                  <a:gd name="connsiteY3" fmla="*/ 137717 h 137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223" h="137223">
                    <a:moveTo>
                      <a:pt x="103" y="493"/>
                    </a:moveTo>
                    <a:lnTo>
                      <a:pt x="137327" y="493"/>
                    </a:lnTo>
                    <a:lnTo>
                      <a:pt x="137327" y="137717"/>
                    </a:lnTo>
                    <a:lnTo>
                      <a:pt x="103" y="137717"/>
                    </a:lnTo>
                    <a:close/>
                  </a:path>
                </a:pathLst>
              </a:custGeom>
              <a:grpFill/>
              <a:ln w="49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8EA976D6-5D70-4E09-B688-7485873641A0}"/>
                  </a:ext>
                </a:extLst>
              </p:cNvPr>
              <p:cNvSpPr/>
              <p:nvPr/>
            </p:nvSpPr>
            <p:spPr>
              <a:xfrm rot="-2357364">
                <a:off x="4071377" y="5080475"/>
                <a:ext cx="91376" cy="91376"/>
              </a:xfrm>
              <a:custGeom>
                <a:avLst/>
                <a:gdLst>
                  <a:gd name="connsiteX0" fmla="*/ 490 w 91376"/>
                  <a:gd name="connsiteY0" fmla="*/ 418 h 91376"/>
                  <a:gd name="connsiteX1" fmla="*/ 91866 w 91376"/>
                  <a:gd name="connsiteY1" fmla="*/ 418 h 91376"/>
                  <a:gd name="connsiteX2" fmla="*/ 91866 w 91376"/>
                  <a:gd name="connsiteY2" fmla="*/ 91794 h 91376"/>
                  <a:gd name="connsiteX3" fmla="*/ 490 w 91376"/>
                  <a:gd name="connsiteY3" fmla="*/ 91794 h 91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376" h="91376">
                    <a:moveTo>
                      <a:pt x="490" y="418"/>
                    </a:moveTo>
                    <a:lnTo>
                      <a:pt x="91866" y="418"/>
                    </a:lnTo>
                    <a:lnTo>
                      <a:pt x="91866" y="91794"/>
                    </a:lnTo>
                    <a:lnTo>
                      <a:pt x="490" y="91794"/>
                    </a:lnTo>
                    <a:close/>
                  </a:path>
                </a:pathLst>
              </a:custGeom>
              <a:grpFill/>
              <a:ln w="3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415A910E-7825-48FE-98FB-43272C824648}"/>
                  </a:ext>
                </a:extLst>
              </p:cNvPr>
              <p:cNvSpPr/>
              <p:nvPr/>
            </p:nvSpPr>
            <p:spPr>
              <a:xfrm rot="-5400000">
                <a:off x="5359986" y="2516956"/>
                <a:ext cx="55719" cy="55719"/>
              </a:xfrm>
              <a:custGeom>
                <a:avLst/>
                <a:gdLst>
                  <a:gd name="connsiteX0" fmla="*/ 653 w 55719"/>
                  <a:gd name="connsiteY0" fmla="*/ 85 h 55719"/>
                  <a:gd name="connsiteX1" fmla="*/ 56373 w 55719"/>
                  <a:gd name="connsiteY1" fmla="*/ 85 h 55719"/>
                  <a:gd name="connsiteX2" fmla="*/ 56373 w 55719"/>
                  <a:gd name="connsiteY2" fmla="*/ 55805 h 55719"/>
                  <a:gd name="connsiteX3" fmla="*/ 653 w 55719"/>
                  <a:gd name="connsiteY3" fmla="*/ 55805 h 55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719" h="55719">
                    <a:moveTo>
                      <a:pt x="653" y="85"/>
                    </a:moveTo>
                    <a:lnTo>
                      <a:pt x="56373" y="85"/>
                    </a:lnTo>
                    <a:lnTo>
                      <a:pt x="56373" y="55805"/>
                    </a:lnTo>
                    <a:lnTo>
                      <a:pt x="653" y="55805"/>
                    </a:lnTo>
                    <a:close/>
                  </a:path>
                </a:pathLst>
              </a:custGeom>
              <a:grpFill/>
              <a:ln w="20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385DE3A0-ED24-4BDC-BE08-B4C4E67A6BAD}"/>
                  </a:ext>
                </a:extLst>
              </p:cNvPr>
              <p:cNvSpPr/>
              <p:nvPr/>
            </p:nvSpPr>
            <p:spPr>
              <a:xfrm rot="-3425685">
                <a:off x="5177210" y="4594072"/>
                <a:ext cx="86787" cy="86787"/>
              </a:xfrm>
              <a:custGeom>
                <a:avLst/>
                <a:gdLst>
                  <a:gd name="connsiteX0" fmla="*/ 632 w 86787"/>
                  <a:gd name="connsiteY0" fmla="*/ 355 h 86787"/>
                  <a:gd name="connsiteX1" fmla="*/ 87420 w 86787"/>
                  <a:gd name="connsiteY1" fmla="*/ 355 h 86787"/>
                  <a:gd name="connsiteX2" fmla="*/ 87420 w 86787"/>
                  <a:gd name="connsiteY2" fmla="*/ 87143 h 86787"/>
                  <a:gd name="connsiteX3" fmla="*/ 632 w 86787"/>
                  <a:gd name="connsiteY3" fmla="*/ 87143 h 86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6787" h="86787">
                    <a:moveTo>
                      <a:pt x="632" y="355"/>
                    </a:moveTo>
                    <a:lnTo>
                      <a:pt x="87420" y="355"/>
                    </a:lnTo>
                    <a:lnTo>
                      <a:pt x="87420" y="87143"/>
                    </a:lnTo>
                    <a:lnTo>
                      <a:pt x="632" y="87143"/>
                    </a:lnTo>
                    <a:close/>
                  </a:path>
                </a:pathLst>
              </a:custGeom>
              <a:grpFill/>
              <a:ln w="31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1E91BC47-802E-4111-9F9A-CF2484995539}"/>
                  </a:ext>
                </a:extLst>
              </p:cNvPr>
              <p:cNvSpPr/>
              <p:nvPr/>
            </p:nvSpPr>
            <p:spPr>
              <a:xfrm rot="-1334941">
                <a:off x="3298532" y="5788608"/>
                <a:ext cx="101880" cy="101880"/>
              </a:xfrm>
              <a:custGeom>
                <a:avLst/>
                <a:gdLst>
                  <a:gd name="connsiteX0" fmla="*/ 391 w 101880"/>
                  <a:gd name="connsiteY0" fmla="*/ 509 h 101880"/>
                  <a:gd name="connsiteX1" fmla="*/ 102272 w 101880"/>
                  <a:gd name="connsiteY1" fmla="*/ 509 h 101880"/>
                  <a:gd name="connsiteX2" fmla="*/ 102272 w 101880"/>
                  <a:gd name="connsiteY2" fmla="*/ 102390 h 101880"/>
                  <a:gd name="connsiteX3" fmla="*/ 391 w 101880"/>
                  <a:gd name="connsiteY3" fmla="*/ 102390 h 101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1880" h="101880">
                    <a:moveTo>
                      <a:pt x="391" y="509"/>
                    </a:moveTo>
                    <a:lnTo>
                      <a:pt x="102272" y="509"/>
                    </a:lnTo>
                    <a:lnTo>
                      <a:pt x="102272" y="102390"/>
                    </a:lnTo>
                    <a:lnTo>
                      <a:pt x="391" y="102390"/>
                    </a:lnTo>
                    <a:close/>
                  </a:path>
                </a:pathLst>
              </a:custGeom>
              <a:grpFill/>
              <a:ln w="3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5F1C3210-61DB-4E34-8A93-D67E87E6C9C1}"/>
                  </a:ext>
                </a:extLst>
              </p:cNvPr>
              <p:cNvSpPr/>
              <p:nvPr/>
            </p:nvSpPr>
            <p:spPr>
              <a:xfrm rot="-5400000">
                <a:off x="5135500" y="2429219"/>
                <a:ext cx="85723" cy="85723"/>
              </a:xfrm>
              <a:custGeom>
                <a:avLst/>
                <a:gdLst>
                  <a:gd name="connsiteX0" fmla="*/ 626 w 85723"/>
                  <a:gd name="connsiteY0" fmla="*/ 76 h 85723"/>
                  <a:gd name="connsiteX1" fmla="*/ 86349 w 85723"/>
                  <a:gd name="connsiteY1" fmla="*/ 76 h 85723"/>
                  <a:gd name="connsiteX2" fmla="*/ 86349 w 85723"/>
                  <a:gd name="connsiteY2" fmla="*/ 85799 h 85723"/>
                  <a:gd name="connsiteX3" fmla="*/ 626 w 85723"/>
                  <a:gd name="connsiteY3" fmla="*/ 85799 h 85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23" h="85723">
                    <a:moveTo>
                      <a:pt x="626" y="76"/>
                    </a:moveTo>
                    <a:lnTo>
                      <a:pt x="86349" y="76"/>
                    </a:lnTo>
                    <a:lnTo>
                      <a:pt x="86349" y="85799"/>
                    </a:lnTo>
                    <a:lnTo>
                      <a:pt x="626" y="85799"/>
                    </a:lnTo>
                    <a:close/>
                  </a:path>
                </a:pathLst>
              </a:custGeom>
              <a:grpFill/>
              <a:ln w="31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94AFE7CA-8CB9-4746-AC36-B64939DE44E7}"/>
                  </a:ext>
                </a:extLst>
              </p:cNvPr>
              <p:cNvSpPr/>
              <p:nvPr/>
            </p:nvSpPr>
            <p:spPr>
              <a:xfrm rot="-4605002">
                <a:off x="5687639" y="3353398"/>
                <a:ext cx="107153" cy="107153"/>
              </a:xfrm>
              <a:custGeom>
                <a:avLst/>
                <a:gdLst>
                  <a:gd name="connsiteX0" fmla="*/ 699 w 107153"/>
                  <a:gd name="connsiteY0" fmla="*/ 196 h 107153"/>
                  <a:gd name="connsiteX1" fmla="*/ 107853 w 107153"/>
                  <a:gd name="connsiteY1" fmla="*/ 196 h 107153"/>
                  <a:gd name="connsiteX2" fmla="*/ 107853 w 107153"/>
                  <a:gd name="connsiteY2" fmla="*/ 107350 h 107153"/>
                  <a:gd name="connsiteX3" fmla="*/ 699 w 107153"/>
                  <a:gd name="connsiteY3" fmla="*/ 107350 h 107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7153" h="107153">
                    <a:moveTo>
                      <a:pt x="699" y="196"/>
                    </a:moveTo>
                    <a:lnTo>
                      <a:pt x="107853" y="196"/>
                    </a:lnTo>
                    <a:lnTo>
                      <a:pt x="107853" y="107350"/>
                    </a:lnTo>
                    <a:lnTo>
                      <a:pt x="699" y="107350"/>
                    </a:lnTo>
                    <a:close/>
                  </a:path>
                </a:pathLst>
              </a:custGeom>
              <a:grpFill/>
              <a:ln w="3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6B26C0C5-3FB6-4ECA-88AD-3592A6EF9611}"/>
                  </a:ext>
                </a:extLst>
              </p:cNvPr>
              <p:cNvSpPr/>
              <p:nvPr/>
            </p:nvSpPr>
            <p:spPr>
              <a:xfrm rot="-1411198">
                <a:off x="3126150" y="5351158"/>
                <a:ext cx="233595" cy="233595"/>
              </a:xfrm>
              <a:custGeom>
                <a:avLst/>
                <a:gdLst>
                  <a:gd name="connsiteX0" fmla="*/ 377 w 233595"/>
                  <a:gd name="connsiteY0" fmla="*/ 462 h 233595"/>
                  <a:gd name="connsiteX1" fmla="*/ 233973 w 233595"/>
                  <a:gd name="connsiteY1" fmla="*/ 462 h 233595"/>
                  <a:gd name="connsiteX2" fmla="*/ 233973 w 233595"/>
                  <a:gd name="connsiteY2" fmla="*/ 234057 h 233595"/>
                  <a:gd name="connsiteX3" fmla="*/ 377 w 233595"/>
                  <a:gd name="connsiteY3" fmla="*/ 234057 h 233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3595" h="233595">
                    <a:moveTo>
                      <a:pt x="377" y="462"/>
                    </a:moveTo>
                    <a:lnTo>
                      <a:pt x="233973" y="462"/>
                    </a:lnTo>
                    <a:lnTo>
                      <a:pt x="233973" y="234057"/>
                    </a:lnTo>
                    <a:lnTo>
                      <a:pt x="377" y="234057"/>
                    </a:lnTo>
                    <a:close/>
                  </a:path>
                </a:pathLst>
              </a:custGeom>
              <a:grpFill/>
              <a:ln w="8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A8E65C47-5F3A-4F12-A45E-20E400F54640}"/>
                  </a:ext>
                </a:extLst>
              </p:cNvPr>
              <p:cNvSpPr/>
              <p:nvPr/>
            </p:nvSpPr>
            <p:spPr>
              <a:xfrm rot="-1222203">
                <a:off x="3100657" y="5650722"/>
                <a:ext cx="72864" cy="72864"/>
              </a:xfrm>
              <a:custGeom>
                <a:avLst/>
                <a:gdLst>
                  <a:gd name="connsiteX0" fmla="*/ 364 w 72864"/>
                  <a:gd name="connsiteY0" fmla="*/ 490 h 72864"/>
                  <a:gd name="connsiteX1" fmla="*/ 73228 w 72864"/>
                  <a:gd name="connsiteY1" fmla="*/ 490 h 72864"/>
                  <a:gd name="connsiteX2" fmla="*/ 73228 w 72864"/>
                  <a:gd name="connsiteY2" fmla="*/ 73354 h 72864"/>
                  <a:gd name="connsiteX3" fmla="*/ 364 w 72864"/>
                  <a:gd name="connsiteY3" fmla="*/ 73354 h 7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864" h="72864">
                    <a:moveTo>
                      <a:pt x="364" y="490"/>
                    </a:moveTo>
                    <a:lnTo>
                      <a:pt x="73228" y="490"/>
                    </a:lnTo>
                    <a:lnTo>
                      <a:pt x="73228" y="73354"/>
                    </a:lnTo>
                    <a:lnTo>
                      <a:pt x="364" y="73354"/>
                    </a:lnTo>
                    <a:close/>
                  </a:path>
                </a:pathLst>
              </a:custGeom>
              <a:grpFill/>
              <a:ln w="26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2011F-FAB6-42AF-A957-02F06E7F875A}"/>
                  </a:ext>
                </a:extLst>
              </p:cNvPr>
              <p:cNvSpPr/>
              <p:nvPr/>
            </p:nvSpPr>
            <p:spPr>
              <a:xfrm rot="1241403">
                <a:off x="382098" y="5915989"/>
                <a:ext cx="87866" cy="87866"/>
              </a:xfrm>
              <a:custGeom>
                <a:avLst/>
                <a:gdLst>
                  <a:gd name="connsiteX0" fmla="*/ 15 w 87866"/>
                  <a:gd name="connsiteY0" fmla="*/ 525 h 87866"/>
                  <a:gd name="connsiteX1" fmla="*/ 87881 w 87866"/>
                  <a:gd name="connsiteY1" fmla="*/ 525 h 87866"/>
                  <a:gd name="connsiteX2" fmla="*/ 87881 w 87866"/>
                  <a:gd name="connsiteY2" fmla="*/ 88391 h 87866"/>
                  <a:gd name="connsiteX3" fmla="*/ 15 w 87866"/>
                  <a:gd name="connsiteY3" fmla="*/ 88391 h 87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7866" h="87866">
                    <a:moveTo>
                      <a:pt x="15" y="525"/>
                    </a:moveTo>
                    <a:lnTo>
                      <a:pt x="87881" y="525"/>
                    </a:lnTo>
                    <a:lnTo>
                      <a:pt x="87881" y="88391"/>
                    </a:lnTo>
                    <a:lnTo>
                      <a:pt x="15" y="88391"/>
                    </a:lnTo>
                    <a:close/>
                  </a:path>
                </a:pathLst>
              </a:custGeom>
              <a:grpFill/>
              <a:ln w="31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266C0482-A92A-492C-A141-B9E42496A4A2}"/>
                  </a:ext>
                </a:extLst>
              </p:cNvPr>
              <p:cNvSpPr/>
              <p:nvPr/>
            </p:nvSpPr>
            <p:spPr>
              <a:xfrm rot="-5184000">
                <a:off x="5163831" y="2665865"/>
                <a:ext cx="111439" cy="111439"/>
              </a:xfrm>
              <a:custGeom>
                <a:avLst/>
                <a:gdLst>
                  <a:gd name="connsiteX0" fmla="*/ 632 w 111439"/>
                  <a:gd name="connsiteY0" fmla="*/ 108 h 111439"/>
                  <a:gd name="connsiteX1" fmla="*/ 112072 w 111439"/>
                  <a:gd name="connsiteY1" fmla="*/ 108 h 111439"/>
                  <a:gd name="connsiteX2" fmla="*/ 112072 w 111439"/>
                  <a:gd name="connsiteY2" fmla="*/ 111548 h 111439"/>
                  <a:gd name="connsiteX3" fmla="*/ 632 w 111439"/>
                  <a:gd name="connsiteY3" fmla="*/ 111548 h 111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1439" h="111439">
                    <a:moveTo>
                      <a:pt x="632" y="108"/>
                    </a:moveTo>
                    <a:lnTo>
                      <a:pt x="112072" y="108"/>
                    </a:lnTo>
                    <a:lnTo>
                      <a:pt x="112072" y="111548"/>
                    </a:lnTo>
                    <a:lnTo>
                      <a:pt x="632" y="111548"/>
                    </a:lnTo>
                    <a:close/>
                  </a:path>
                </a:pathLst>
              </a:custGeom>
              <a:grpFill/>
              <a:ln w="40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C47BC3DE-853E-4EEE-BE9C-BAAF86189E8B}"/>
                  </a:ext>
                </a:extLst>
              </p:cNvPr>
              <p:cNvSpPr/>
              <p:nvPr/>
            </p:nvSpPr>
            <p:spPr>
              <a:xfrm rot="-1406996">
                <a:off x="3461077" y="6034635"/>
                <a:ext cx="81436" cy="81436"/>
              </a:xfrm>
              <a:custGeom>
                <a:avLst/>
                <a:gdLst>
                  <a:gd name="connsiteX0" fmla="*/ 411 w 81436"/>
                  <a:gd name="connsiteY0" fmla="*/ 540 h 81436"/>
                  <a:gd name="connsiteX1" fmla="*/ 81847 w 81436"/>
                  <a:gd name="connsiteY1" fmla="*/ 540 h 81436"/>
                  <a:gd name="connsiteX2" fmla="*/ 81847 w 81436"/>
                  <a:gd name="connsiteY2" fmla="*/ 81977 h 81436"/>
                  <a:gd name="connsiteX3" fmla="*/ 411 w 81436"/>
                  <a:gd name="connsiteY3" fmla="*/ 81977 h 81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1436" h="81436">
                    <a:moveTo>
                      <a:pt x="411" y="540"/>
                    </a:moveTo>
                    <a:lnTo>
                      <a:pt x="81847" y="540"/>
                    </a:lnTo>
                    <a:lnTo>
                      <a:pt x="81847" y="81977"/>
                    </a:lnTo>
                    <a:lnTo>
                      <a:pt x="411" y="81977"/>
                    </a:lnTo>
                    <a:close/>
                  </a:path>
                </a:pathLst>
              </a:custGeom>
              <a:grpFill/>
              <a:ln w="29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2BA56090-F347-467B-983E-751FAF1DD914}"/>
                  </a:ext>
                </a:extLst>
              </p:cNvPr>
              <p:cNvSpPr/>
              <p:nvPr/>
            </p:nvSpPr>
            <p:spPr>
              <a:xfrm rot="-4484399">
                <a:off x="4997832" y="3316600"/>
                <a:ext cx="79293" cy="79293"/>
              </a:xfrm>
              <a:custGeom>
                <a:avLst/>
                <a:gdLst>
                  <a:gd name="connsiteX0" fmla="*/ 608 w 79293"/>
                  <a:gd name="connsiteY0" fmla="*/ 190 h 79293"/>
                  <a:gd name="connsiteX1" fmla="*/ 79902 w 79293"/>
                  <a:gd name="connsiteY1" fmla="*/ 190 h 79293"/>
                  <a:gd name="connsiteX2" fmla="*/ 79902 w 79293"/>
                  <a:gd name="connsiteY2" fmla="*/ 79483 h 79293"/>
                  <a:gd name="connsiteX3" fmla="*/ 608 w 79293"/>
                  <a:gd name="connsiteY3" fmla="*/ 79483 h 79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293" h="79293">
                    <a:moveTo>
                      <a:pt x="608" y="190"/>
                    </a:moveTo>
                    <a:lnTo>
                      <a:pt x="79902" y="190"/>
                    </a:lnTo>
                    <a:lnTo>
                      <a:pt x="79902" y="79483"/>
                    </a:lnTo>
                    <a:lnTo>
                      <a:pt x="608" y="79483"/>
                    </a:lnTo>
                    <a:close/>
                  </a:path>
                </a:pathLst>
              </a:custGeom>
              <a:grpFill/>
              <a:ln w="287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D528A3E6-70E3-46AB-8E28-CC4B75ECBA57}"/>
                  </a:ext>
                </a:extLst>
              </p:cNvPr>
              <p:cNvSpPr/>
              <p:nvPr/>
            </p:nvSpPr>
            <p:spPr>
              <a:xfrm rot="-3913202">
                <a:off x="5232976" y="3968364"/>
                <a:ext cx="203592" cy="203592"/>
              </a:xfrm>
              <a:custGeom>
                <a:avLst/>
                <a:gdLst>
                  <a:gd name="connsiteX0" fmla="*/ 647 w 203592"/>
                  <a:gd name="connsiteY0" fmla="*/ 282 h 203592"/>
                  <a:gd name="connsiteX1" fmla="*/ 204239 w 203592"/>
                  <a:gd name="connsiteY1" fmla="*/ 282 h 203592"/>
                  <a:gd name="connsiteX2" fmla="*/ 204239 w 203592"/>
                  <a:gd name="connsiteY2" fmla="*/ 203874 h 203592"/>
                  <a:gd name="connsiteX3" fmla="*/ 647 w 203592"/>
                  <a:gd name="connsiteY3" fmla="*/ 203874 h 203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3592" h="203592">
                    <a:moveTo>
                      <a:pt x="647" y="282"/>
                    </a:moveTo>
                    <a:lnTo>
                      <a:pt x="204239" y="282"/>
                    </a:lnTo>
                    <a:lnTo>
                      <a:pt x="204239" y="203874"/>
                    </a:lnTo>
                    <a:lnTo>
                      <a:pt x="647" y="203874"/>
                    </a:lnTo>
                    <a:close/>
                  </a:path>
                </a:pathLst>
              </a:custGeom>
              <a:grpFill/>
              <a:ln w="737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4B63BB8D-67A7-4749-90A0-5CF44BC3AB9A}"/>
                  </a:ext>
                </a:extLst>
              </p:cNvPr>
              <p:cNvSpPr/>
              <p:nvPr/>
            </p:nvSpPr>
            <p:spPr>
              <a:xfrm rot="51600">
                <a:off x="1843787" y="6362536"/>
                <a:ext cx="105010" cy="105010"/>
              </a:xfrm>
              <a:custGeom>
                <a:avLst/>
                <a:gdLst>
                  <a:gd name="connsiteX0" fmla="*/ 204 w 105010"/>
                  <a:gd name="connsiteY0" fmla="*/ 583 h 105010"/>
                  <a:gd name="connsiteX1" fmla="*/ 105215 w 105010"/>
                  <a:gd name="connsiteY1" fmla="*/ 583 h 105010"/>
                  <a:gd name="connsiteX2" fmla="*/ 105215 w 105010"/>
                  <a:gd name="connsiteY2" fmla="*/ 105594 h 105010"/>
                  <a:gd name="connsiteX3" fmla="*/ 204 w 105010"/>
                  <a:gd name="connsiteY3" fmla="*/ 105594 h 105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010" h="105010">
                    <a:moveTo>
                      <a:pt x="204" y="583"/>
                    </a:moveTo>
                    <a:lnTo>
                      <a:pt x="105215" y="583"/>
                    </a:lnTo>
                    <a:lnTo>
                      <a:pt x="105215" y="105594"/>
                    </a:lnTo>
                    <a:lnTo>
                      <a:pt x="204" y="105594"/>
                    </a:lnTo>
                    <a:close/>
                  </a:path>
                </a:pathLst>
              </a:custGeom>
              <a:grpFill/>
              <a:ln w="38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580974EF-7060-47AF-AEA5-47F27AA4ECA1}"/>
                  </a:ext>
                </a:extLst>
              </p:cNvPr>
              <p:cNvSpPr/>
              <p:nvPr/>
            </p:nvSpPr>
            <p:spPr>
              <a:xfrm rot="-5400000">
                <a:off x="5404278" y="1984521"/>
                <a:ext cx="45004" cy="45004"/>
              </a:xfrm>
              <a:custGeom>
                <a:avLst/>
                <a:gdLst>
                  <a:gd name="connsiteX0" fmla="*/ 658 w 45004"/>
                  <a:gd name="connsiteY0" fmla="*/ 16 h 45004"/>
                  <a:gd name="connsiteX1" fmla="*/ 45663 w 45004"/>
                  <a:gd name="connsiteY1" fmla="*/ 16 h 45004"/>
                  <a:gd name="connsiteX2" fmla="*/ 45663 w 45004"/>
                  <a:gd name="connsiteY2" fmla="*/ 45021 h 45004"/>
                  <a:gd name="connsiteX3" fmla="*/ 658 w 45004"/>
                  <a:gd name="connsiteY3" fmla="*/ 45021 h 45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004" h="45004">
                    <a:moveTo>
                      <a:pt x="658" y="16"/>
                    </a:moveTo>
                    <a:lnTo>
                      <a:pt x="45663" y="16"/>
                    </a:lnTo>
                    <a:lnTo>
                      <a:pt x="45663" y="45021"/>
                    </a:lnTo>
                    <a:lnTo>
                      <a:pt x="658" y="45021"/>
                    </a:lnTo>
                    <a:close/>
                  </a:path>
                </a:pathLst>
              </a:custGeom>
              <a:grpFill/>
              <a:ln w="16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0D4B9DB0-22B9-4BC7-BE37-B19F61B4D2BC}"/>
                  </a:ext>
                </a:extLst>
              </p:cNvPr>
              <p:cNvSpPr/>
              <p:nvPr/>
            </p:nvSpPr>
            <p:spPr>
              <a:xfrm rot="-3764680">
                <a:off x="5284752" y="4170842"/>
                <a:ext cx="238662" cy="238661"/>
              </a:xfrm>
              <a:custGeom>
                <a:avLst/>
                <a:gdLst>
                  <a:gd name="connsiteX0" fmla="*/ 655 w 238662"/>
                  <a:gd name="connsiteY0" fmla="*/ 310 h 238661"/>
                  <a:gd name="connsiteX1" fmla="*/ 239317 w 238662"/>
                  <a:gd name="connsiteY1" fmla="*/ 310 h 238661"/>
                  <a:gd name="connsiteX2" fmla="*/ 239317 w 238662"/>
                  <a:gd name="connsiteY2" fmla="*/ 238972 h 238661"/>
                  <a:gd name="connsiteX3" fmla="*/ 655 w 238662"/>
                  <a:gd name="connsiteY3" fmla="*/ 238972 h 238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8662" h="238661">
                    <a:moveTo>
                      <a:pt x="655" y="310"/>
                    </a:moveTo>
                    <a:lnTo>
                      <a:pt x="239317" y="310"/>
                    </a:lnTo>
                    <a:lnTo>
                      <a:pt x="239317" y="238972"/>
                    </a:lnTo>
                    <a:lnTo>
                      <a:pt x="655" y="238972"/>
                    </a:lnTo>
                    <a:close/>
                  </a:path>
                </a:pathLst>
              </a:custGeom>
              <a:grpFill/>
              <a:ln w="86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5F62DBC8-B1E2-46B3-9F83-5B9500CE0244}"/>
                  </a:ext>
                </a:extLst>
              </p:cNvPr>
              <p:cNvSpPr/>
              <p:nvPr/>
            </p:nvSpPr>
            <p:spPr>
              <a:xfrm rot="304801">
                <a:off x="1543160" y="5623789"/>
                <a:ext cx="242167" cy="242167"/>
              </a:xfrm>
              <a:custGeom>
                <a:avLst/>
                <a:gdLst>
                  <a:gd name="connsiteX0" fmla="*/ 174 w 242167"/>
                  <a:gd name="connsiteY0" fmla="*/ 497 h 242167"/>
                  <a:gd name="connsiteX1" fmla="*/ 242341 w 242167"/>
                  <a:gd name="connsiteY1" fmla="*/ 497 h 242167"/>
                  <a:gd name="connsiteX2" fmla="*/ 242341 w 242167"/>
                  <a:gd name="connsiteY2" fmla="*/ 242664 h 242167"/>
                  <a:gd name="connsiteX3" fmla="*/ 174 w 242167"/>
                  <a:gd name="connsiteY3" fmla="*/ 242664 h 242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2167" h="242167">
                    <a:moveTo>
                      <a:pt x="174" y="497"/>
                    </a:moveTo>
                    <a:lnTo>
                      <a:pt x="242341" y="497"/>
                    </a:lnTo>
                    <a:lnTo>
                      <a:pt x="242341" y="242664"/>
                    </a:lnTo>
                    <a:lnTo>
                      <a:pt x="174" y="242664"/>
                    </a:lnTo>
                    <a:close/>
                  </a:path>
                </a:pathLst>
              </a:custGeom>
              <a:grpFill/>
              <a:ln w="8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2C72DEA4-B7E4-4A84-9A52-A0185A3CA115}"/>
                  </a:ext>
                </a:extLst>
              </p:cNvPr>
              <p:cNvSpPr/>
              <p:nvPr/>
            </p:nvSpPr>
            <p:spPr>
              <a:xfrm rot="1215000">
                <a:off x="625765" y="6024610"/>
                <a:ext cx="49290" cy="49290"/>
              </a:xfrm>
              <a:custGeom>
                <a:avLst/>
                <a:gdLst>
                  <a:gd name="connsiteX0" fmla="*/ 44 w 49290"/>
                  <a:gd name="connsiteY0" fmla="*/ 536 h 49290"/>
                  <a:gd name="connsiteX1" fmla="*/ 49334 w 49290"/>
                  <a:gd name="connsiteY1" fmla="*/ 536 h 49290"/>
                  <a:gd name="connsiteX2" fmla="*/ 49334 w 49290"/>
                  <a:gd name="connsiteY2" fmla="*/ 49827 h 49290"/>
                  <a:gd name="connsiteX3" fmla="*/ 44 w 49290"/>
                  <a:gd name="connsiteY3" fmla="*/ 49827 h 49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290" h="49290">
                    <a:moveTo>
                      <a:pt x="44" y="536"/>
                    </a:moveTo>
                    <a:lnTo>
                      <a:pt x="49334" y="536"/>
                    </a:lnTo>
                    <a:lnTo>
                      <a:pt x="49334" y="49827"/>
                    </a:lnTo>
                    <a:lnTo>
                      <a:pt x="44" y="49827"/>
                    </a:lnTo>
                    <a:close/>
                  </a:path>
                </a:pathLst>
              </a:custGeom>
              <a:grpFill/>
              <a:ln w="17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DA9C5870-CAE2-45A4-B9CE-D9FD66C02D08}"/>
                  </a:ext>
                </a:extLst>
              </p:cNvPr>
              <p:cNvSpPr/>
              <p:nvPr/>
            </p:nvSpPr>
            <p:spPr>
              <a:xfrm rot="-4147199">
                <a:off x="5452919" y="3776427"/>
                <a:ext cx="227166" cy="227166"/>
              </a:xfrm>
              <a:custGeom>
                <a:avLst/>
                <a:gdLst>
                  <a:gd name="connsiteX0" fmla="*/ 676 w 227166"/>
                  <a:gd name="connsiteY0" fmla="*/ 258 h 227166"/>
                  <a:gd name="connsiteX1" fmla="*/ 227842 w 227166"/>
                  <a:gd name="connsiteY1" fmla="*/ 258 h 227166"/>
                  <a:gd name="connsiteX2" fmla="*/ 227842 w 227166"/>
                  <a:gd name="connsiteY2" fmla="*/ 227425 h 227166"/>
                  <a:gd name="connsiteX3" fmla="*/ 676 w 227166"/>
                  <a:gd name="connsiteY3" fmla="*/ 227425 h 2271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7166" h="227166">
                    <a:moveTo>
                      <a:pt x="676" y="258"/>
                    </a:moveTo>
                    <a:lnTo>
                      <a:pt x="227842" y="258"/>
                    </a:lnTo>
                    <a:lnTo>
                      <a:pt x="227842" y="227425"/>
                    </a:lnTo>
                    <a:lnTo>
                      <a:pt x="676" y="227425"/>
                    </a:lnTo>
                    <a:close/>
                  </a:path>
                </a:pathLst>
              </a:custGeom>
              <a:grpFill/>
              <a:ln w="82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5BD3175D-CB34-4F14-BF12-4CA2C33CDD0C}"/>
                  </a:ext>
                </a:extLst>
              </p:cNvPr>
              <p:cNvSpPr/>
              <p:nvPr/>
            </p:nvSpPr>
            <p:spPr>
              <a:xfrm rot="-993002">
                <a:off x="2919471" y="5794128"/>
                <a:ext cx="42861" cy="42861"/>
              </a:xfrm>
              <a:custGeom>
                <a:avLst/>
                <a:gdLst>
                  <a:gd name="connsiteX0" fmla="*/ 338 w 42861"/>
                  <a:gd name="connsiteY0" fmla="*/ 506 h 42861"/>
                  <a:gd name="connsiteX1" fmla="*/ 43200 w 42861"/>
                  <a:gd name="connsiteY1" fmla="*/ 506 h 42861"/>
                  <a:gd name="connsiteX2" fmla="*/ 43200 w 42861"/>
                  <a:gd name="connsiteY2" fmla="*/ 43368 h 42861"/>
                  <a:gd name="connsiteX3" fmla="*/ 338 w 42861"/>
                  <a:gd name="connsiteY3" fmla="*/ 43368 h 42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861" h="42861">
                    <a:moveTo>
                      <a:pt x="338" y="506"/>
                    </a:moveTo>
                    <a:lnTo>
                      <a:pt x="43200" y="506"/>
                    </a:lnTo>
                    <a:lnTo>
                      <a:pt x="43200" y="43368"/>
                    </a:lnTo>
                    <a:lnTo>
                      <a:pt x="338" y="43368"/>
                    </a:lnTo>
                    <a:close/>
                  </a:path>
                </a:pathLst>
              </a:custGeom>
              <a:grpFill/>
              <a:ln w="15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4A580308-0DDD-45C4-861C-CCB89CAC00A2}"/>
                  </a:ext>
                </a:extLst>
              </p:cNvPr>
              <p:cNvSpPr/>
              <p:nvPr/>
            </p:nvSpPr>
            <p:spPr>
              <a:xfrm rot="-3526795">
                <a:off x="5078241" y="4386846"/>
                <a:ext cx="72864" cy="72864"/>
              </a:xfrm>
              <a:custGeom>
                <a:avLst/>
                <a:gdLst>
                  <a:gd name="connsiteX0" fmla="*/ 618 w 72864"/>
                  <a:gd name="connsiteY0" fmla="*/ 327 h 72864"/>
                  <a:gd name="connsiteX1" fmla="*/ 73483 w 72864"/>
                  <a:gd name="connsiteY1" fmla="*/ 327 h 72864"/>
                  <a:gd name="connsiteX2" fmla="*/ 73483 w 72864"/>
                  <a:gd name="connsiteY2" fmla="*/ 73192 h 72864"/>
                  <a:gd name="connsiteX3" fmla="*/ 618 w 72864"/>
                  <a:gd name="connsiteY3" fmla="*/ 73192 h 7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864" h="72864">
                    <a:moveTo>
                      <a:pt x="618" y="327"/>
                    </a:moveTo>
                    <a:lnTo>
                      <a:pt x="73483" y="327"/>
                    </a:lnTo>
                    <a:lnTo>
                      <a:pt x="73483" y="73192"/>
                    </a:lnTo>
                    <a:lnTo>
                      <a:pt x="618" y="73192"/>
                    </a:lnTo>
                    <a:close/>
                  </a:path>
                </a:pathLst>
              </a:custGeom>
              <a:grpFill/>
              <a:ln w="26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24A6F43D-6C32-45D2-9BA4-E885C2D12CE7}"/>
                  </a:ext>
                </a:extLst>
              </p:cNvPr>
              <p:cNvSpPr/>
              <p:nvPr/>
            </p:nvSpPr>
            <p:spPr>
              <a:xfrm rot="-4764000">
                <a:off x="5724532" y="3180416"/>
                <a:ext cx="102867" cy="102867"/>
              </a:xfrm>
              <a:custGeom>
                <a:avLst/>
                <a:gdLst>
                  <a:gd name="connsiteX0" fmla="*/ 703 w 102867"/>
                  <a:gd name="connsiteY0" fmla="*/ 174 h 102867"/>
                  <a:gd name="connsiteX1" fmla="*/ 103571 w 102867"/>
                  <a:gd name="connsiteY1" fmla="*/ 174 h 102867"/>
                  <a:gd name="connsiteX2" fmla="*/ 103571 w 102867"/>
                  <a:gd name="connsiteY2" fmla="*/ 103041 h 102867"/>
                  <a:gd name="connsiteX3" fmla="*/ 703 w 102867"/>
                  <a:gd name="connsiteY3" fmla="*/ 103041 h 102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2867" h="102867">
                    <a:moveTo>
                      <a:pt x="703" y="174"/>
                    </a:moveTo>
                    <a:lnTo>
                      <a:pt x="103571" y="174"/>
                    </a:lnTo>
                    <a:lnTo>
                      <a:pt x="103571" y="103041"/>
                    </a:lnTo>
                    <a:lnTo>
                      <a:pt x="703" y="103041"/>
                    </a:lnTo>
                    <a:close/>
                  </a:path>
                </a:pathLst>
              </a:custGeom>
              <a:grpFill/>
              <a:ln w="37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193F9FFF-154F-4D1D-944A-F8CF063EEF5A}"/>
                  </a:ext>
                </a:extLst>
              </p:cNvPr>
              <p:cNvSpPr/>
              <p:nvPr/>
            </p:nvSpPr>
            <p:spPr>
              <a:xfrm rot="-2021404">
                <a:off x="3966000" y="5520274"/>
                <a:ext cx="77269" cy="77269"/>
              </a:xfrm>
              <a:custGeom>
                <a:avLst/>
                <a:gdLst>
                  <a:gd name="connsiteX0" fmla="*/ 475 w 77269"/>
                  <a:gd name="connsiteY0" fmla="*/ 473 h 77269"/>
                  <a:gd name="connsiteX1" fmla="*/ 77745 w 77269"/>
                  <a:gd name="connsiteY1" fmla="*/ 473 h 77269"/>
                  <a:gd name="connsiteX2" fmla="*/ 77745 w 77269"/>
                  <a:gd name="connsiteY2" fmla="*/ 77743 h 77269"/>
                  <a:gd name="connsiteX3" fmla="*/ 475 w 77269"/>
                  <a:gd name="connsiteY3" fmla="*/ 77743 h 77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269" h="77269">
                    <a:moveTo>
                      <a:pt x="475" y="473"/>
                    </a:moveTo>
                    <a:lnTo>
                      <a:pt x="77745" y="473"/>
                    </a:lnTo>
                    <a:lnTo>
                      <a:pt x="77745" y="77743"/>
                    </a:lnTo>
                    <a:lnTo>
                      <a:pt x="475" y="77743"/>
                    </a:lnTo>
                    <a:close/>
                  </a:path>
                </a:pathLst>
              </a:custGeom>
              <a:grpFill/>
              <a:ln w="28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9F7F6411-14C2-4A4F-B5D7-536504AABF0A}"/>
                  </a:ext>
                </a:extLst>
              </p:cNvPr>
              <p:cNvSpPr/>
              <p:nvPr/>
            </p:nvSpPr>
            <p:spPr>
              <a:xfrm rot="591948">
                <a:off x="1259166" y="6359998"/>
                <a:ext cx="50030" cy="50030"/>
              </a:xfrm>
              <a:custGeom>
                <a:avLst/>
                <a:gdLst>
                  <a:gd name="connsiteX0" fmla="*/ 125 w 50030"/>
                  <a:gd name="connsiteY0" fmla="*/ 580 h 50030"/>
                  <a:gd name="connsiteX1" fmla="*/ 50156 w 50030"/>
                  <a:gd name="connsiteY1" fmla="*/ 580 h 50030"/>
                  <a:gd name="connsiteX2" fmla="*/ 50156 w 50030"/>
                  <a:gd name="connsiteY2" fmla="*/ 50610 h 50030"/>
                  <a:gd name="connsiteX3" fmla="*/ 125 w 50030"/>
                  <a:gd name="connsiteY3" fmla="*/ 50610 h 50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030" h="50030">
                    <a:moveTo>
                      <a:pt x="125" y="580"/>
                    </a:moveTo>
                    <a:lnTo>
                      <a:pt x="50156" y="580"/>
                    </a:lnTo>
                    <a:lnTo>
                      <a:pt x="50156" y="50610"/>
                    </a:lnTo>
                    <a:lnTo>
                      <a:pt x="125" y="50610"/>
                    </a:lnTo>
                    <a:close/>
                  </a:path>
                </a:pathLst>
              </a:custGeom>
              <a:grpFill/>
              <a:ln w="18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528D5A5B-8E86-486D-B518-D25C21F52EF5}"/>
                  </a:ext>
                </a:extLst>
              </p:cNvPr>
              <p:cNvSpPr/>
              <p:nvPr/>
            </p:nvSpPr>
            <p:spPr>
              <a:xfrm rot="1241401">
                <a:off x="439859" y="6060627"/>
                <a:ext cx="162873" cy="162873"/>
              </a:xfrm>
              <a:custGeom>
                <a:avLst/>
                <a:gdLst>
                  <a:gd name="connsiteX0" fmla="*/ 27 w 162873"/>
                  <a:gd name="connsiteY0" fmla="*/ 548 h 162873"/>
                  <a:gd name="connsiteX1" fmla="*/ 162901 w 162873"/>
                  <a:gd name="connsiteY1" fmla="*/ 548 h 162873"/>
                  <a:gd name="connsiteX2" fmla="*/ 162901 w 162873"/>
                  <a:gd name="connsiteY2" fmla="*/ 163422 h 162873"/>
                  <a:gd name="connsiteX3" fmla="*/ 27 w 162873"/>
                  <a:gd name="connsiteY3" fmla="*/ 163422 h 162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2873" h="162873">
                    <a:moveTo>
                      <a:pt x="27" y="548"/>
                    </a:moveTo>
                    <a:lnTo>
                      <a:pt x="162901" y="548"/>
                    </a:lnTo>
                    <a:lnTo>
                      <a:pt x="162901" y="163422"/>
                    </a:lnTo>
                    <a:lnTo>
                      <a:pt x="27" y="163422"/>
                    </a:lnTo>
                    <a:close/>
                  </a:path>
                </a:pathLst>
              </a:custGeom>
              <a:grpFill/>
              <a:ln w="59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3E51790D-7DD5-4422-AB93-D7955A443F70}"/>
                  </a:ext>
                </a:extLst>
              </p:cNvPr>
              <p:cNvSpPr/>
              <p:nvPr/>
            </p:nvSpPr>
            <p:spPr>
              <a:xfrm rot="1172399">
                <a:off x="838475" y="5566765"/>
                <a:ext cx="47147" cy="47147"/>
              </a:xfrm>
              <a:custGeom>
                <a:avLst/>
                <a:gdLst>
                  <a:gd name="connsiteX0" fmla="*/ 71 w 47147"/>
                  <a:gd name="connsiteY0" fmla="*/ 477 h 47147"/>
                  <a:gd name="connsiteX1" fmla="*/ 47219 w 47147"/>
                  <a:gd name="connsiteY1" fmla="*/ 477 h 47147"/>
                  <a:gd name="connsiteX2" fmla="*/ 47219 w 47147"/>
                  <a:gd name="connsiteY2" fmla="*/ 47625 h 47147"/>
                  <a:gd name="connsiteX3" fmla="*/ 71 w 47147"/>
                  <a:gd name="connsiteY3" fmla="*/ 47625 h 47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147" h="47147">
                    <a:moveTo>
                      <a:pt x="71" y="477"/>
                    </a:moveTo>
                    <a:lnTo>
                      <a:pt x="47219" y="477"/>
                    </a:lnTo>
                    <a:lnTo>
                      <a:pt x="47219" y="47625"/>
                    </a:lnTo>
                    <a:lnTo>
                      <a:pt x="71" y="47625"/>
                    </a:lnTo>
                    <a:close/>
                  </a:path>
                </a:pathLst>
              </a:custGeom>
              <a:grpFill/>
              <a:ln w="1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5C3241CC-584F-48F0-B299-E3503D11EB25}"/>
                  </a:ext>
                </a:extLst>
              </p:cNvPr>
              <p:cNvSpPr/>
              <p:nvPr/>
            </p:nvSpPr>
            <p:spPr>
              <a:xfrm rot="-773999">
                <a:off x="2742539" y="6177451"/>
                <a:ext cx="150015" cy="150015"/>
              </a:xfrm>
              <a:custGeom>
                <a:avLst/>
                <a:gdLst>
                  <a:gd name="connsiteX0" fmla="*/ 323 w 150015"/>
                  <a:gd name="connsiteY0" fmla="*/ 562 h 150015"/>
                  <a:gd name="connsiteX1" fmla="*/ 150338 w 150015"/>
                  <a:gd name="connsiteY1" fmla="*/ 562 h 150015"/>
                  <a:gd name="connsiteX2" fmla="*/ 150338 w 150015"/>
                  <a:gd name="connsiteY2" fmla="*/ 150578 h 150015"/>
                  <a:gd name="connsiteX3" fmla="*/ 323 w 150015"/>
                  <a:gd name="connsiteY3" fmla="*/ 150578 h 150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0015" h="150015">
                    <a:moveTo>
                      <a:pt x="323" y="562"/>
                    </a:moveTo>
                    <a:lnTo>
                      <a:pt x="150338" y="562"/>
                    </a:lnTo>
                    <a:lnTo>
                      <a:pt x="150338" y="150578"/>
                    </a:lnTo>
                    <a:lnTo>
                      <a:pt x="323" y="150578"/>
                    </a:lnTo>
                    <a:close/>
                  </a:path>
                </a:pathLst>
              </a:custGeom>
              <a:grpFill/>
              <a:ln w="54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9AA44DB8-39EC-4743-886D-4137EF78A057}"/>
                  </a:ext>
                </a:extLst>
              </p:cNvPr>
              <p:cNvSpPr/>
              <p:nvPr/>
            </p:nvSpPr>
            <p:spPr>
              <a:xfrm rot="-842175">
                <a:off x="2962544" y="6268009"/>
                <a:ext cx="44180" cy="44180"/>
              </a:xfrm>
              <a:custGeom>
                <a:avLst/>
                <a:gdLst>
                  <a:gd name="connsiteX0" fmla="*/ 344 w 44180"/>
                  <a:gd name="connsiteY0" fmla="*/ 567 h 44180"/>
                  <a:gd name="connsiteX1" fmla="*/ 44525 w 44180"/>
                  <a:gd name="connsiteY1" fmla="*/ 567 h 44180"/>
                  <a:gd name="connsiteX2" fmla="*/ 44525 w 44180"/>
                  <a:gd name="connsiteY2" fmla="*/ 44748 h 44180"/>
                  <a:gd name="connsiteX3" fmla="*/ 344 w 44180"/>
                  <a:gd name="connsiteY3" fmla="*/ 44748 h 44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180" h="44180">
                    <a:moveTo>
                      <a:pt x="344" y="567"/>
                    </a:moveTo>
                    <a:lnTo>
                      <a:pt x="44525" y="567"/>
                    </a:lnTo>
                    <a:lnTo>
                      <a:pt x="44525" y="44748"/>
                    </a:lnTo>
                    <a:lnTo>
                      <a:pt x="344" y="44748"/>
                    </a:lnTo>
                    <a:close/>
                  </a:path>
                </a:pathLst>
              </a:custGeom>
              <a:grpFill/>
              <a:ln w="16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D1ACCF2C-5851-4817-AD29-FC962D2CE4A7}"/>
                  </a:ext>
                </a:extLst>
              </p:cNvPr>
              <p:cNvSpPr/>
              <p:nvPr/>
            </p:nvSpPr>
            <p:spPr>
              <a:xfrm rot="-1080598">
                <a:off x="3106031" y="6181623"/>
                <a:ext cx="135013" cy="135013"/>
              </a:xfrm>
              <a:custGeom>
                <a:avLst/>
                <a:gdLst>
                  <a:gd name="connsiteX0" fmla="*/ 368 w 135013"/>
                  <a:gd name="connsiteY0" fmla="*/ 562 h 135013"/>
                  <a:gd name="connsiteX1" fmla="*/ 135382 w 135013"/>
                  <a:gd name="connsiteY1" fmla="*/ 562 h 135013"/>
                  <a:gd name="connsiteX2" fmla="*/ 135382 w 135013"/>
                  <a:gd name="connsiteY2" fmla="*/ 135576 h 135013"/>
                  <a:gd name="connsiteX3" fmla="*/ 368 w 135013"/>
                  <a:gd name="connsiteY3" fmla="*/ 135576 h 135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5013" h="135013">
                    <a:moveTo>
                      <a:pt x="368" y="562"/>
                    </a:moveTo>
                    <a:lnTo>
                      <a:pt x="135382" y="562"/>
                    </a:lnTo>
                    <a:lnTo>
                      <a:pt x="135382" y="135576"/>
                    </a:lnTo>
                    <a:lnTo>
                      <a:pt x="368" y="135576"/>
                    </a:lnTo>
                    <a:close/>
                  </a:path>
                </a:pathLst>
              </a:custGeom>
              <a:grpFill/>
              <a:ln w="48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CD27A388-6179-4B83-A040-90C51D79BBB6}"/>
                  </a:ext>
                </a:extLst>
              </p:cNvPr>
              <p:cNvSpPr/>
              <p:nvPr/>
            </p:nvSpPr>
            <p:spPr>
              <a:xfrm rot="-2485420">
                <a:off x="4072248" y="4877138"/>
                <a:ext cx="48586" cy="48586"/>
              </a:xfrm>
              <a:custGeom>
                <a:avLst/>
                <a:gdLst>
                  <a:gd name="connsiteX0" fmla="*/ 487 w 48586"/>
                  <a:gd name="connsiteY0" fmla="*/ 389 h 48586"/>
                  <a:gd name="connsiteX1" fmla="*/ 49074 w 48586"/>
                  <a:gd name="connsiteY1" fmla="*/ 389 h 48586"/>
                  <a:gd name="connsiteX2" fmla="*/ 49074 w 48586"/>
                  <a:gd name="connsiteY2" fmla="*/ 48975 h 48586"/>
                  <a:gd name="connsiteX3" fmla="*/ 487 w 48586"/>
                  <a:gd name="connsiteY3" fmla="*/ 48975 h 48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586" h="48586">
                    <a:moveTo>
                      <a:pt x="487" y="389"/>
                    </a:moveTo>
                    <a:lnTo>
                      <a:pt x="49074" y="389"/>
                    </a:lnTo>
                    <a:lnTo>
                      <a:pt x="49074" y="48975"/>
                    </a:lnTo>
                    <a:lnTo>
                      <a:pt x="487" y="48975"/>
                    </a:lnTo>
                    <a:close/>
                  </a:path>
                </a:pathLst>
              </a:custGeom>
              <a:grpFill/>
              <a:ln w="17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22F17809-E909-47F4-B300-953B9DD55B85}"/>
                  </a:ext>
                </a:extLst>
              </p:cNvPr>
              <p:cNvSpPr/>
              <p:nvPr/>
            </p:nvSpPr>
            <p:spPr>
              <a:xfrm rot="-1489802">
                <a:off x="3367293" y="5626803"/>
                <a:ext cx="109296" cy="109296"/>
              </a:xfrm>
              <a:custGeom>
                <a:avLst/>
                <a:gdLst>
                  <a:gd name="connsiteX0" fmla="*/ 400 w 109296"/>
                  <a:gd name="connsiteY0" fmla="*/ 489 h 109296"/>
                  <a:gd name="connsiteX1" fmla="*/ 109697 w 109296"/>
                  <a:gd name="connsiteY1" fmla="*/ 489 h 109296"/>
                  <a:gd name="connsiteX2" fmla="*/ 109697 w 109296"/>
                  <a:gd name="connsiteY2" fmla="*/ 109786 h 109296"/>
                  <a:gd name="connsiteX3" fmla="*/ 400 w 109296"/>
                  <a:gd name="connsiteY3" fmla="*/ 109786 h 109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296" h="109296">
                    <a:moveTo>
                      <a:pt x="400" y="489"/>
                    </a:moveTo>
                    <a:lnTo>
                      <a:pt x="109697" y="489"/>
                    </a:lnTo>
                    <a:lnTo>
                      <a:pt x="109697" y="109786"/>
                    </a:lnTo>
                    <a:lnTo>
                      <a:pt x="400" y="109786"/>
                    </a:lnTo>
                    <a:close/>
                  </a:path>
                </a:pathLst>
              </a:custGeom>
              <a:grpFill/>
              <a:ln w="39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FFCAA791-1612-4F6C-9C2D-81997D70C7CE}"/>
                  </a:ext>
                </a:extLst>
              </p:cNvPr>
              <p:cNvSpPr/>
              <p:nvPr/>
            </p:nvSpPr>
            <p:spPr>
              <a:xfrm rot="-487806">
                <a:off x="2536957" y="6040890"/>
                <a:ext cx="45461" cy="45461"/>
              </a:xfrm>
              <a:custGeom>
                <a:avLst/>
                <a:gdLst>
                  <a:gd name="connsiteX0" fmla="*/ 289 w 45461"/>
                  <a:gd name="connsiteY0" fmla="*/ 538 h 45461"/>
                  <a:gd name="connsiteX1" fmla="*/ 45751 w 45461"/>
                  <a:gd name="connsiteY1" fmla="*/ 538 h 45461"/>
                  <a:gd name="connsiteX2" fmla="*/ 45751 w 45461"/>
                  <a:gd name="connsiteY2" fmla="*/ 46000 h 45461"/>
                  <a:gd name="connsiteX3" fmla="*/ 289 w 45461"/>
                  <a:gd name="connsiteY3" fmla="*/ 46000 h 45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461" h="45461">
                    <a:moveTo>
                      <a:pt x="289" y="538"/>
                    </a:moveTo>
                    <a:lnTo>
                      <a:pt x="45751" y="538"/>
                    </a:lnTo>
                    <a:lnTo>
                      <a:pt x="45751" y="46000"/>
                    </a:lnTo>
                    <a:lnTo>
                      <a:pt x="289" y="46000"/>
                    </a:lnTo>
                    <a:close/>
                  </a:path>
                </a:pathLst>
              </a:custGeom>
              <a:grpFill/>
              <a:ln w="16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7395CA59-D159-4A5E-8C22-811C32B22FF2}"/>
                  </a:ext>
                </a:extLst>
              </p:cNvPr>
              <p:cNvSpPr/>
              <p:nvPr/>
            </p:nvSpPr>
            <p:spPr>
              <a:xfrm rot="-39000">
                <a:off x="1902345" y="5693847"/>
                <a:ext cx="184304" cy="184304"/>
              </a:xfrm>
              <a:custGeom>
                <a:avLst/>
                <a:gdLst>
                  <a:gd name="connsiteX0" fmla="*/ 217 w 184304"/>
                  <a:gd name="connsiteY0" fmla="*/ 502 h 184304"/>
                  <a:gd name="connsiteX1" fmla="*/ 184521 w 184304"/>
                  <a:gd name="connsiteY1" fmla="*/ 502 h 184304"/>
                  <a:gd name="connsiteX2" fmla="*/ 184521 w 184304"/>
                  <a:gd name="connsiteY2" fmla="*/ 184807 h 184304"/>
                  <a:gd name="connsiteX3" fmla="*/ 217 w 184304"/>
                  <a:gd name="connsiteY3" fmla="*/ 184807 h 184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4304" h="184304">
                    <a:moveTo>
                      <a:pt x="217" y="502"/>
                    </a:moveTo>
                    <a:lnTo>
                      <a:pt x="184521" y="502"/>
                    </a:lnTo>
                    <a:lnTo>
                      <a:pt x="184521" y="184807"/>
                    </a:lnTo>
                    <a:lnTo>
                      <a:pt x="217" y="184807"/>
                    </a:lnTo>
                    <a:close/>
                  </a:path>
                </a:pathLst>
              </a:custGeom>
              <a:grpFill/>
              <a:ln w="6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8D152936-723B-4D51-B4EC-B24DC792EA55}"/>
                  </a:ext>
                </a:extLst>
              </p:cNvPr>
              <p:cNvSpPr/>
              <p:nvPr/>
            </p:nvSpPr>
            <p:spPr>
              <a:xfrm rot="-2833799">
                <a:off x="4705355" y="5051622"/>
                <a:ext cx="68578" cy="68578"/>
              </a:xfrm>
              <a:custGeom>
                <a:avLst/>
                <a:gdLst>
                  <a:gd name="connsiteX0" fmla="*/ 570 w 68578"/>
                  <a:gd name="connsiteY0" fmla="*/ 412 h 68578"/>
                  <a:gd name="connsiteX1" fmla="*/ 69148 w 68578"/>
                  <a:gd name="connsiteY1" fmla="*/ 412 h 68578"/>
                  <a:gd name="connsiteX2" fmla="*/ 69148 w 68578"/>
                  <a:gd name="connsiteY2" fmla="*/ 68991 h 68578"/>
                  <a:gd name="connsiteX3" fmla="*/ 570 w 68578"/>
                  <a:gd name="connsiteY3" fmla="*/ 68991 h 68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578" h="68578">
                    <a:moveTo>
                      <a:pt x="570" y="412"/>
                    </a:moveTo>
                    <a:lnTo>
                      <a:pt x="69148" y="412"/>
                    </a:lnTo>
                    <a:lnTo>
                      <a:pt x="69148" y="68991"/>
                    </a:lnTo>
                    <a:lnTo>
                      <a:pt x="570" y="68991"/>
                    </a:lnTo>
                    <a:close/>
                  </a:path>
                </a:pathLst>
              </a:custGeom>
              <a:grpFill/>
              <a:ln w="24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B2593E31-9B69-4FC8-BCCD-5703CE1FD03E}"/>
                  </a:ext>
                </a:extLst>
              </p:cNvPr>
              <p:cNvSpPr/>
              <p:nvPr/>
            </p:nvSpPr>
            <p:spPr>
              <a:xfrm rot="1141536">
                <a:off x="820132" y="5806466"/>
                <a:ext cx="65740" cy="65740"/>
              </a:xfrm>
              <a:custGeom>
                <a:avLst/>
                <a:gdLst>
                  <a:gd name="connsiteX0" fmla="*/ 70 w 65740"/>
                  <a:gd name="connsiteY0" fmla="*/ 509 h 65740"/>
                  <a:gd name="connsiteX1" fmla="*/ 65810 w 65740"/>
                  <a:gd name="connsiteY1" fmla="*/ 509 h 65740"/>
                  <a:gd name="connsiteX2" fmla="*/ 65810 w 65740"/>
                  <a:gd name="connsiteY2" fmla="*/ 66250 h 65740"/>
                  <a:gd name="connsiteX3" fmla="*/ 70 w 65740"/>
                  <a:gd name="connsiteY3" fmla="*/ 66250 h 65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740" h="65740">
                    <a:moveTo>
                      <a:pt x="70" y="509"/>
                    </a:moveTo>
                    <a:lnTo>
                      <a:pt x="65810" y="509"/>
                    </a:lnTo>
                    <a:lnTo>
                      <a:pt x="65810" y="66250"/>
                    </a:lnTo>
                    <a:lnTo>
                      <a:pt x="70" y="66250"/>
                    </a:lnTo>
                    <a:close/>
                  </a:path>
                </a:pathLst>
              </a:custGeom>
              <a:grpFill/>
              <a:ln w="23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59DDCF54-FB64-428A-A063-596F5A2A4F96}"/>
                  </a:ext>
                </a:extLst>
              </p:cNvPr>
              <p:cNvSpPr/>
              <p:nvPr/>
            </p:nvSpPr>
            <p:spPr>
              <a:xfrm rot="-2132261">
                <a:off x="3853403" y="5194209"/>
                <a:ext cx="221225" cy="221225"/>
              </a:xfrm>
              <a:custGeom>
                <a:avLst/>
                <a:gdLst>
                  <a:gd name="connsiteX0" fmla="*/ 470 w 221225"/>
                  <a:gd name="connsiteY0" fmla="*/ 441 h 221225"/>
                  <a:gd name="connsiteX1" fmla="*/ 221695 w 221225"/>
                  <a:gd name="connsiteY1" fmla="*/ 441 h 221225"/>
                  <a:gd name="connsiteX2" fmla="*/ 221695 w 221225"/>
                  <a:gd name="connsiteY2" fmla="*/ 221666 h 221225"/>
                  <a:gd name="connsiteX3" fmla="*/ 470 w 221225"/>
                  <a:gd name="connsiteY3" fmla="*/ 221666 h 221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1225" h="221225">
                    <a:moveTo>
                      <a:pt x="470" y="441"/>
                    </a:moveTo>
                    <a:lnTo>
                      <a:pt x="221695" y="441"/>
                    </a:lnTo>
                    <a:lnTo>
                      <a:pt x="221695" y="221666"/>
                    </a:lnTo>
                    <a:lnTo>
                      <a:pt x="470" y="221666"/>
                    </a:lnTo>
                    <a:close/>
                  </a:path>
                </a:pathLst>
              </a:custGeom>
              <a:grpFill/>
              <a:ln w="80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AC5A5AB2-5574-4759-8C8D-8997C8B29BCB}"/>
                  </a:ext>
                </a:extLst>
              </p:cNvPr>
              <p:cNvSpPr/>
              <p:nvPr/>
            </p:nvSpPr>
            <p:spPr>
              <a:xfrm rot="-5400000">
                <a:off x="5467062" y="2165782"/>
                <a:ext cx="186447" cy="186447"/>
              </a:xfrm>
              <a:custGeom>
                <a:avLst/>
                <a:gdLst>
                  <a:gd name="connsiteX0" fmla="*/ 676 w 186447"/>
                  <a:gd name="connsiteY0" fmla="*/ 49 h 186447"/>
                  <a:gd name="connsiteX1" fmla="*/ 187123 w 186447"/>
                  <a:gd name="connsiteY1" fmla="*/ 49 h 186447"/>
                  <a:gd name="connsiteX2" fmla="*/ 187123 w 186447"/>
                  <a:gd name="connsiteY2" fmla="*/ 186496 h 186447"/>
                  <a:gd name="connsiteX3" fmla="*/ 676 w 186447"/>
                  <a:gd name="connsiteY3" fmla="*/ 186496 h 186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6447" h="186447">
                    <a:moveTo>
                      <a:pt x="676" y="49"/>
                    </a:moveTo>
                    <a:lnTo>
                      <a:pt x="187123" y="49"/>
                    </a:lnTo>
                    <a:lnTo>
                      <a:pt x="187123" y="186496"/>
                    </a:lnTo>
                    <a:lnTo>
                      <a:pt x="676" y="186496"/>
                    </a:lnTo>
                    <a:close/>
                  </a:path>
                </a:pathLst>
              </a:custGeom>
              <a:grpFill/>
              <a:ln w="6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03C90A53-1F49-4FE9-AF30-54A7840F19EF}"/>
                  </a:ext>
                </a:extLst>
              </p:cNvPr>
              <p:cNvSpPr/>
              <p:nvPr/>
            </p:nvSpPr>
            <p:spPr>
              <a:xfrm rot="-5400000">
                <a:off x="5478640" y="1877286"/>
                <a:ext cx="126441" cy="126441"/>
              </a:xfrm>
              <a:custGeom>
                <a:avLst/>
                <a:gdLst>
                  <a:gd name="connsiteX0" fmla="*/ 673 w 126441"/>
                  <a:gd name="connsiteY0" fmla="*/ 8 h 126441"/>
                  <a:gd name="connsiteX1" fmla="*/ 127115 w 126441"/>
                  <a:gd name="connsiteY1" fmla="*/ 8 h 126441"/>
                  <a:gd name="connsiteX2" fmla="*/ 127115 w 126441"/>
                  <a:gd name="connsiteY2" fmla="*/ 126449 h 126441"/>
                  <a:gd name="connsiteX3" fmla="*/ 673 w 126441"/>
                  <a:gd name="connsiteY3" fmla="*/ 126449 h 126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441" h="126441">
                    <a:moveTo>
                      <a:pt x="673" y="8"/>
                    </a:moveTo>
                    <a:lnTo>
                      <a:pt x="127115" y="8"/>
                    </a:lnTo>
                    <a:lnTo>
                      <a:pt x="127115" y="126449"/>
                    </a:lnTo>
                    <a:lnTo>
                      <a:pt x="673" y="126449"/>
                    </a:lnTo>
                    <a:close/>
                  </a:path>
                </a:pathLst>
              </a:custGeom>
              <a:grpFill/>
              <a:ln w="45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EDBF203D-3BD1-47A7-8052-C5CE3E9C48BA}"/>
                  </a:ext>
                </a:extLst>
              </p:cNvPr>
              <p:cNvSpPr/>
              <p:nvPr/>
            </p:nvSpPr>
            <p:spPr>
              <a:xfrm rot="1241402">
                <a:off x="462653" y="5778515"/>
                <a:ext cx="237881" cy="237881"/>
              </a:xfrm>
              <a:custGeom>
                <a:avLst/>
                <a:gdLst>
                  <a:gd name="connsiteX0" fmla="*/ 35 w 237881"/>
                  <a:gd name="connsiteY0" fmla="*/ 517 h 237881"/>
                  <a:gd name="connsiteX1" fmla="*/ 237916 w 237881"/>
                  <a:gd name="connsiteY1" fmla="*/ 517 h 237881"/>
                  <a:gd name="connsiteX2" fmla="*/ 237916 w 237881"/>
                  <a:gd name="connsiteY2" fmla="*/ 238398 h 237881"/>
                  <a:gd name="connsiteX3" fmla="*/ 35 w 237881"/>
                  <a:gd name="connsiteY3" fmla="*/ 238398 h 237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7881" h="237881">
                    <a:moveTo>
                      <a:pt x="35" y="517"/>
                    </a:moveTo>
                    <a:lnTo>
                      <a:pt x="237916" y="517"/>
                    </a:lnTo>
                    <a:lnTo>
                      <a:pt x="237916" y="238398"/>
                    </a:lnTo>
                    <a:lnTo>
                      <a:pt x="35" y="238398"/>
                    </a:lnTo>
                    <a:close/>
                  </a:path>
                </a:pathLst>
              </a:custGeom>
              <a:grpFill/>
              <a:ln w="86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09C43C18-88DF-4E5F-96CE-83D8FB71C58B}"/>
                  </a:ext>
                </a:extLst>
              </p:cNvPr>
              <p:cNvSpPr/>
              <p:nvPr/>
            </p:nvSpPr>
            <p:spPr>
              <a:xfrm rot="-2810997">
                <a:off x="4567423" y="4954580"/>
                <a:ext cx="135013" cy="135013"/>
              </a:xfrm>
              <a:custGeom>
                <a:avLst/>
                <a:gdLst>
                  <a:gd name="connsiteX0" fmla="*/ 556 w 135013"/>
                  <a:gd name="connsiteY0" fmla="*/ 404 h 135013"/>
                  <a:gd name="connsiteX1" fmla="*/ 135570 w 135013"/>
                  <a:gd name="connsiteY1" fmla="*/ 404 h 135013"/>
                  <a:gd name="connsiteX2" fmla="*/ 135570 w 135013"/>
                  <a:gd name="connsiteY2" fmla="*/ 135418 h 135013"/>
                  <a:gd name="connsiteX3" fmla="*/ 556 w 135013"/>
                  <a:gd name="connsiteY3" fmla="*/ 135418 h 135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5013" h="135013">
                    <a:moveTo>
                      <a:pt x="556" y="404"/>
                    </a:moveTo>
                    <a:lnTo>
                      <a:pt x="135570" y="404"/>
                    </a:lnTo>
                    <a:lnTo>
                      <a:pt x="135570" y="135418"/>
                    </a:lnTo>
                    <a:lnTo>
                      <a:pt x="556" y="135418"/>
                    </a:lnTo>
                    <a:close/>
                  </a:path>
                </a:pathLst>
              </a:custGeom>
              <a:grpFill/>
              <a:ln w="48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7AB6B043-A260-4C38-8DB3-2CDA4BE9D444}"/>
                  </a:ext>
                </a:extLst>
              </p:cNvPr>
              <p:cNvSpPr/>
              <p:nvPr/>
            </p:nvSpPr>
            <p:spPr>
              <a:xfrm rot="-3823798">
                <a:off x="5068296" y="4026678"/>
                <a:ext cx="79293" cy="79293"/>
              </a:xfrm>
              <a:custGeom>
                <a:avLst/>
                <a:gdLst>
                  <a:gd name="connsiteX0" fmla="*/ 617 w 79293"/>
                  <a:gd name="connsiteY0" fmla="*/ 281 h 79293"/>
                  <a:gd name="connsiteX1" fmla="*/ 79911 w 79293"/>
                  <a:gd name="connsiteY1" fmla="*/ 281 h 79293"/>
                  <a:gd name="connsiteX2" fmla="*/ 79911 w 79293"/>
                  <a:gd name="connsiteY2" fmla="*/ 79575 h 79293"/>
                  <a:gd name="connsiteX3" fmla="*/ 617 w 79293"/>
                  <a:gd name="connsiteY3" fmla="*/ 79575 h 79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293" h="79293">
                    <a:moveTo>
                      <a:pt x="617" y="281"/>
                    </a:moveTo>
                    <a:lnTo>
                      <a:pt x="79911" y="281"/>
                    </a:lnTo>
                    <a:lnTo>
                      <a:pt x="79911" y="79575"/>
                    </a:lnTo>
                    <a:lnTo>
                      <a:pt x="617" y="79575"/>
                    </a:lnTo>
                    <a:close/>
                  </a:path>
                </a:pathLst>
              </a:custGeom>
              <a:grpFill/>
              <a:ln w="287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0D509D8D-7745-4548-9A52-942113F85F46}"/>
                  </a:ext>
                </a:extLst>
              </p:cNvPr>
              <p:cNvSpPr/>
              <p:nvPr/>
            </p:nvSpPr>
            <p:spPr>
              <a:xfrm rot="-3806097">
                <a:off x="4778843" y="3875061"/>
                <a:ext cx="215642" cy="215642"/>
              </a:xfrm>
              <a:custGeom>
                <a:avLst/>
                <a:gdLst>
                  <a:gd name="connsiteX0" fmla="*/ 589 w 215642"/>
                  <a:gd name="connsiteY0" fmla="*/ 270 h 215642"/>
                  <a:gd name="connsiteX1" fmla="*/ 216232 w 215642"/>
                  <a:gd name="connsiteY1" fmla="*/ 270 h 215642"/>
                  <a:gd name="connsiteX2" fmla="*/ 216232 w 215642"/>
                  <a:gd name="connsiteY2" fmla="*/ 215913 h 215642"/>
                  <a:gd name="connsiteX3" fmla="*/ 589 w 215642"/>
                  <a:gd name="connsiteY3" fmla="*/ 215913 h 215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5642" h="215642">
                    <a:moveTo>
                      <a:pt x="589" y="270"/>
                    </a:moveTo>
                    <a:lnTo>
                      <a:pt x="216232" y="270"/>
                    </a:lnTo>
                    <a:lnTo>
                      <a:pt x="216232" y="215913"/>
                    </a:lnTo>
                    <a:lnTo>
                      <a:pt x="589" y="215913"/>
                    </a:lnTo>
                    <a:close/>
                  </a:path>
                </a:pathLst>
              </a:custGeom>
              <a:grpFill/>
              <a:ln w="78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41ACFDB1-3412-4D07-B5EC-47BB0A8BC384}"/>
                  </a:ext>
                </a:extLst>
              </p:cNvPr>
              <p:cNvSpPr/>
              <p:nvPr/>
            </p:nvSpPr>
            <p:spPr>
              <a:xfrm rot="-4653000">
                <a:off x="5262923" y="3169303"/>
                <a:ext cx="168990" cy="168990"/>
              </a:xfrm>
              <a:custGeom>
                <a:avLst/>
                <a:gdLst>
                  <a:gd name="connsiteX0" fmla="*/ 648 w 168990"/>
                  <a:gd name="connsiteY0" fmla="*/ 177 h 168990"/>
                  <a:gd name="connsiteX1" fmla="*/ 169639 w 168990"/>
                  <a:gd name="connsiteY1" fmla="*/ 177 h 168990"/>
                  <a:gd name="connsiteX2" fmla="*/ 169639 w 168990"/>
                  <a:gd name="connsiteY2" fmla="*/ 169167 h 168990"/>
                  <a:gd name="connsiteX3" fmla="*/ 648 w 168990"/>
                  <a:gd name="connsiteY3" fmla="*/ 169167 h 168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8990" h="168990">
                    <a:moveTo>
                      <a:pt x="648" y="177"/>
                    </a:moveTo>
                    <a:lnTo>
                      <a:pt x="169639" y="177"/>
                    </a:lnTo>
                    <a:lnTo>
                      <a:pt x="169639" y="169167"/>
                    </a:lnTo>
                    <a:lnTo>
                      <a:pt x="648" y="169167"/>
                    </a:lnTo>
                    <a:close/>
                  </a:path>
                </a:pathLst>
              </a:custGeom>
              <a:grpFill/>
              <a:ln w="61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AB013677-D35B-4098-B193-5626739930A8}"/>
                  </a:ext>
                </a:extLst>
              </p:cNvPr>
              <p:cNvSpPr/>
              <p:nvPr/>
            </p:nvSpPr>
            <p:spPr>
              <a:xfrm rot="-2113056">
                <a:off x="3847864" y="5148873"/>
                <a:ext cx="44594" cy="44594"/>
              </a:xfrm>
              <a:custGeom>
                <a:avLst/>
                <a:gdLst>
                  <a:gd name="connsiteX0" fmla="*/ 458 w 44594"/>
                  <a:gd name="connsiteY0" fmla="*/ 423 h 44594"/>
                  <a:gd name="connsiteX1" fmla="*/ 45053 w 44594"/>
                  <a:gd name="connsiteY1" fmla="*/ 423 h 44594"/>
                  <a:gd name="connsiteX2" fmla="*/ 45053 w 44594"/>
                  <a:gd name="connsiteY2" fmla="*/ 45018 h 44594"/>
                  <a:gd name="connsiteX3" fmla="*/ 458 w 44594"/>
                  <a:gd name="connsiteY3" fmla="*/ 45018 h 44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594" h="44594">
                    <a:moveTo>
                      <a:pt x="458" y="423"/>
                    </a:moveTo>
                    <a:lnTo>
                      <a:pt x="45053" y="423"/>
                    </a:lnTo>
                    <a:lnTo>
                      <a:pt x="45053" y="45018"/>
                    </a:lnTo>
                    <a:lnTo>
                      <a:pt x="458" y="45018"/>
                    </a:lnTo>
                    <a:close/>
                  </a:path>
                </a:pathLst>
              </a:custGeom>
              <a:grpFill/>
              <a:ln w="16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B5871232-3033-4867-B2AE-A96988AD1180}"/>
                  </a:ext>
                </a:extLst>
              </p:cNvPr>
              <p:cNvSpPr/>
              <p:nvPr/>
            </p:nvSpPr>
            <p:spPr>
              <a:xfrm rot="-3011666">
                <a:off x="4898655" y="4959005"/>
                <a:ext cx="50213" cy="50213"/>
              </a:xfrm>
              <a:custGeom>
                <a:avLst/>
                <a:gdLst>
                  <a:gd name="connsiteX0" fmla="*/ 594 w 50213"/>
                  <a:gd name="connsiteY0" fmla="*/ 399 h 50213"/>
                  <a:gd name="connsiteX1" fmla="*/ 50808 w 50213"/>
                  <a:gd name="connsiteY1" fmla="*/ 399 h 50213"/>
                  <a:gd name="connsiteX2" fmla="*/ 50808 w 50213"/>
                  <a:gd name="connsiteY2" fmla="*/ 50613 h 50213"/>
                  <a:gd name="connsiteX3" fmla="*/ 594 w 50213"/>
                  <a:gd name="connsiteY3" fmla="*/ 50613 h 50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213" h="50213">
                    <a:moveTo>
                      <a:pt x="594" y="399"/>
                    </a:moveTo>
                    <a:lnTo>
                      <a:pt x="50808" y="399"/>
                    </a:lnTo>
                    <a:lnTo>
                      <a:pt x="50808" y="50613"/>
                    </a:lnTo>
                    <a:lnTo>
                      <a:pt x="594" y="50613"/>
                    </a:lnTo>
                    <a:close/>
                  </a:path>
                </a:pathLst>
              </a:custGeom>
              <a:grpFill/>
              <a:ln w="18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E68BB38A-1128-4550-8A02-DA2FD48571EC}"/>
                  </a:ext>
                </a:extLst>
              </p:cNvPr>
              <p:cNvSpPr/>
              <p:nvPr/>
            </p:nvSpPr>
            <p:spPr>
              <a:xfrm rot="137400">
                <a:off x="1761780" y="5699508"/>
                <a:ext cx="124298" cy="124298"/>
              </a:xfrm>
              <a:custGeom>
                <a:avLst/>
                <a:gdLst>
                  <a:gd name="connsiteX0" fmla="*/ 195 w 124298"/>
                  <a:gd name="connsiteY0" fmla="*/ 499 h 124298"/>
                  <a:gd name="connsiteX1" fmla="*/ 124493 w 124298"/>
                  <a:gd name="connsiteY1" fmla="*/ 499 h 124298"/>
                  <a:gd name="connsiteX2" fmla="*/ 124493 w 124298"/>
                  <a:gd name="connsiteY2" fmla="*/ 124798 h 124298"/>
                  <a:gd name="connsiteX3" fmla="*/ 195 w 124298"/>
                  <a:gd name="connsiteY3" fmla="*/ 124798 h 124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298" h="124298">
                    <a:moveTo>
                      <a:pt x="195" y="499"/>
                    </a:moveTo>
                    <a:lnTo>
                      <a:pt x="124493" y="499"/>
                    </a:lnTo>
                    <a:lnTo>
                      <a:pt x="124493" y="124798"/>
                    </a:lnTo>
                    <a:lnTo>
                      <a:pt x="195" y="124798"/>
                    </a:lnTo>
                    <a:close/>
                  </a:path>
                </a:pathLst>
              </a:custGeom>
              <a:grpFill/>
              <a:ln w="45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586B33F2-8B90-4986-A372-2BED1F10B388}"/>
                  </a:ext>
                </a:extLst>
              </p:cNvPr>
              <p:cNvSpPr/>
              <p:nvPr/>
            </p:nvSpPr>
            <p:spPr>
              <a:xfrm rot="-3241799">
                <a:off x="4484585" y="4310514"/>
                <a:ext cx="242167" cy="242167"/>
              </a:xfrm>
              <a:custGeom>
                <a:avLst/>
                <a:gdLst>
                  <a:gd name="connsiteX0" fmla="*/ 553 w 242167"/>
                  <a:gd name="connsiteY0" fmla="*/ 328 h 242167"/>
                  <a:gd name="connsiteX1" fmla="*/ 242720 w 242167"/>
                  <a:gd name="connsiteY1" fmla="*/ 328 h 242167"/>
                  <a:gd name="connsiteX2" fmla="*/ 242720 w 242167"/>
                  <a:gd name="connsiteY2" fmla="*/ 242496 h 242167"/>
                  <a:gd name="connsiteX3" fmla="*/ 553 w 242167"/>
                  <a:gd name="connsiteY3" fmla="*/ 242496 h 242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2167" h="242167">
                    <a:moveTo>
                      <a:pt x="553" y="328"/>
                    </a:moveTo>
                    <a:lnTo>
                      <a:pt x="242720" y="328"/>
                    </a:lnTo>
                    <a:lnTo>
                      <a:pt x="242720" y="242496"/>
                    </a:lnTo>
                    <a:lnTo>
                      <a:pt x="553" y="242496"/>
                    </a:lnTo>
                    <a:close/>
                  </a:path>
                </a:pathLst>
              </a:custGeom>
              <a:grpFill/>
              <a:ln w="8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51DECE8F-A58D-472F-B448-F86B42044569}"/>
                  </a:ext>
                </a:extLst>
              </p:cNvPr>
              <p:cNvSpPr/>
              <p:nvPr/>
            </p:nvSpPr>
            <p:spPr>
              <a:xfrm rot="1241403">
                <a:off x="545013" y="5727726"/>
                <a:ext cx="66435" cy="66435"/>
              </a:xfrm>
              <a:custGeom>
                <a:avLst/>
                <a:gdLst>
                  <a:gd name="connsiteX0" fmla="*/ 34 w 66435"/>
                  <a:gd name="connsiteY0" fmla="*/ 499 h 66435"/>
                  <a:gd name="connsiteX1" fmla="*/ 66470 w 66435"/>
                  <a:gd name="connsiteY1" fmla="*/ 499 h 66435"/>
                  <a:gd name="connsiteX2" fmla="*/ 66470 w 66435"/>
                  <a:gd name="connsiteY2" fmla="*/ 66935 h 66435"/>
                  <a:gd name="connsiteX3" fmla="*/ 34 w 66435"/>
                  <a:gd name="connsiteY3" fmla="*/ 66935 h 66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435" h="66435">
                    <a:moveTo>
                      <a:pt x="34" y="499"/>
                    </a:moveTo>
                    <a:lnTo>
                      <a:pt x="66470" y="499"/>
                    </a:lnTo>
                    <a:lnTo>
                      <a:pt x="66470" y="66935"/>
                    </a:lnTo>
                    <a:lnTo>
                      <a:pt x="34" y="66935"/>
                    </a:lnTo>
                    <a:close/>
                  </a:path>
                </a:pathLst>
              </a:custGeom>
              <a:grpFill/>
              <a:ln w="24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9FA74FE1-DBCA-4558-9283-C9FB061B9787}"/>
                  </a:ext>
                </a:extLst>
              </p:cNvPr>
              <p:cNvSpPr/>
              <p:nvPr/>
            </p:nvSpPr>
            <p:spPr>
              <a:xfrm rot="-2621287">
                <a:off x="4317570" y="4985124"/>
                <a:ext cx="198567" cy="198567"/>
              </a:xfrm>
              <a:custGeom>
                <a:avLst/>
                <a:gdLst>
                  <a:gd name="connsiteX0" fmla="*/ 528 w 198567"/>
                  <a:gd name="connsiteY0" fmla="*/ 412 h 198567"/>
                  <a:gd name="connsiteX1" fmla="*/ 199096 w 198567"/>
                  <a:gd name="connsiteY1" fmla="*/ 412 h 198567"/>
                  <a:gd name="connsiteX2" fmla="*/ 199096 w 198567"/>
                  <a:gd name="connsiteY2" fmla="*/ 198979 h 198567"/>
                  <a:gd name="connsiteX3" fmla="*/ 528 w 198567"/>
                  <a:gd name="connsiteY3" fmla="*/ 198979 h 198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8567" h="198567">
                    <a:moveTo>
                      <a:pt x="528" y="412"/>
                    </a:moveTo>
                    <a:lnTo>
                      <a:pt x="199096" y="412"/>
                    </a:lnTo>
                    <a:lnTo>
                      <a:pt x="199096" y="198979"/>
                    </a:lnTo>
                    <a:lnTo>
                      <a:pt x="528" y="198979"/>
                    </a:lnTo>
                    <a:close/>
                  </a:path>
                </a:pathLst>
              </a:custGeom>
              <a:grpFill/>
              <a:ln w="71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21B9A148-5E85-4D31-91E4-F22FD98B138F}"/>
                  </a:ext>
                </a:extLst>
              </p:cNvPr>
              <p:cNvSpPr/>
              <p:nvPr/>
            </p:nvSpPr>
            <p:spPr>
              <a:xfrm rot="-34200">
                <a:off x="1914533" y="6170887"/>
                <a:ext cx="160730" cy="160730"/>
              </a:xfrm>
              <a:custGeom>
                <a:avLst/>
                <a:gdLst>
                  <a:gd name="connsiteX0" fmla="*/ 217 w 160730"/>
                  <a:gd name="connsiteY0" fmla="*/ 562 h 160730"/>
                  <a:gd name="connsiteX1" fmla="*/ 160947 w 160730"/>
                  <a:gd name="connsiteY1" fmla="*/ 562 h 160730"/>
                  <a:gd name="connsiteX2" fmla="*/ 160947 w 160730"/>
                  <a:gd name="connsiteY2" fmla="*/ 161293 h 160730"/>
                  <a:gd name="connsiteX3" fmla="*/ 217 w 160730"/>
                  <a:gd name="connsiteY3" fmla="*/ 161293 h 160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0730" h="160730">
                    <a:moveTo>
                      <a:pt x="217" y="562"/>
                    </a:moveTo>
                    <a:lnTo>
                      <a:pt x="160947" y="562"/>
                    </a:lnTo>
                    <a:lnTo>
                      <a:pt x="160947" y="161293"/>
                    </a:lnTo>
                    <a:lnTo>
                      <a:pt x="217" y="161293"/>
                    </a:lnTo>
                    <a:close/>
                  </a:path>
                </a:pathLst>
              </a:custGeom>
              <a:grpFill/>
              <a:ln w="58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FA3C03D-B195-4DF3-A69F-5E9AC39D8E4C}"/>
                  </a:ext>
                </a:extLst>
              </p:cNvPr>
              <p:cNvSpPr/>
              <p:nvPr/>
            </p:nvSpPr>
            <p:spPr>
              <a:xfrm rot="-5032200">
                <a:off x="5769309" y="2883936"/>
                <a:ext cx="96438" cy="96438"/>
              </a:xfrm>
              <a:custGeom>
                <a:avLst/>
                <a:gdLst>
                  <a:gd name="connsiteX0" fmla="*/ 709 w 96438"/>
                  <a:gd name="connsiteY0" fmla="*/ 135 h 96438"/>
                  <a:gd name="connsiteX1" fmla="*/ 97147 w 96438"/>
                  <a:gd name="connsiteY1" fmla="*/ 135 h 96438"/>
                  <a:gd name="connsiteX2" fmla="*/ 97147 w 96438"/>
                  <a:gd name="connsiteY2" fmla="*/ 96574 h 96438"/>
                  <a:gd name="connsiteX3" fmla="*/ 709 w 96438"/>
                  <a:gd name="connsiteY3" fmla="*/ 96574 h 96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6438" h="96438">
                    <a:moveTo>
                      <a:pt x="709" y="135"/>
                    </a:moveTo>
                    <a:lnTo>
                      <a:pt x="97147" y="135"/>
                    </a:lnTo>
                    <a:lnTo>
                      <a:pt x="97147" y="96574"/>
                    </a:lnTo>
                    <a:lnTo>
                      <a:pt x="709" y="96574"/>
                    </a:lnTo>
                    <a:close/>
                  </a:path>
                </a:pathLst>
              </a:custGeom>
              <a:grpFill/>
              <a:ln w="34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6EF5DF09-2E0C-4B5F-A0D7-B366FAB8480B}"/>
                  </a:ext>
                </a:extLst>
              </p:cNvPr>
              <p:cNvSpPr/>
              <p:nvPr/>
            </p:nvSpPr>
            <p:spPr>
              <a:xfrm rot="-4091916">
                <a:off x="5027808" y="3788003"/>
                <a:ext cx="46163" cy="46163"/>
              </a:xfrm>
              <a:custGeom>
                <a:avLst/>
                <a:gdLst>
                  <a:gd name="connsiteX0" fmla="*/ 610 w 46163"/>
                  <a:gd name="connsiteY0" fmla="*/ 248 h 46163"/>
                  <a:gd name="connsiteX1" fmla="*/ 46773 w 46163"/>
                  <a:gd name="connsiteY1" fmla="*/ 248 h 46163"/>
                  <a:gd name="connsiteX2" fmla="*/ 46773 w 46163"/>
                  <a:gd name="connsiteY2" fmla="*/ 46412 h 46163"/>
                  <a:gd name="connsiteX3" fmla="*/ 610 w 46163"/>
                  <a:gd name="connsiteY3" fmla="*/ 46412 h 46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163" h="46163">
                    <a:moveTo>
                      <a:pt x="610" y="248"/>
                    </a:moveTo>
                    <a:lnTo>
                      <a:pt x="46773" y="248"/>
                    </a:lnTo>
                    <a:lnTo>
                      <a:pt x="46773" y="46412"/>
                    </a:lnTo>
                    <a:lnTo>
                      <a:pt x="610" y="46412"/>
                    </a:lnTo>
                    <a:close/>
                  </a:path>
                </a:pathLst>
              </a:custGeom>
              <a:grpFill/>
              <a:ln w="16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E419C7D4-DB2B-4DD7-9631-E8848230E98F}"/>
                  </a:ext>
                </a:extLst>
              </p:cNvPr>
              <p:cNvSpPr/>
              <p:nvPr/>
            </p:nvSpPr>
            <p:spPr>
              <a:xfrm rot="-5400000">
                <a:off x="5153838" y="1997107"/>
                <a:ext cx="192876" cy="192876"/>
              </a:xfrm>
              <a:custGeom>
                <a:avLst/>
                <a:gdLst>
                  <a:gd name="connsiteX0" fmla="*/ 636 w 192876"/>
                  <a:gd name="connsiteY0" fmla="*/ 27 h 192876"/>
                  <a:gd name="connsiteX1" fmla="*/ 193512 w 192876"/>
                  <a:gd name="connsiteY1" fmla="*/ 27 h 192876"/>
                  <a:gd name="connsiteX2" fmla="*/ 193512 w 192876"/>
                  <a:gd name="connsiteY2" fmla="*/ 192904 h 192876"/>
                  <a:gd name="connsiteX3" fmla="*/ 636 w 192876"/>
                  <a:gd name="connsiteY3" fmla="*/ 192904 h 192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2876" h="192876">
                    <a:moveTo>
                      <a:pt x="636" y="27"/>
                    </a:moveTo>
                    <a:lnTo>
                      <a:pt x="193512" y="27"/>
                    </a:lnTo>
                    <a:lnTo>
                      <a:pt x="193512" y="192904"/>
                    </a:lnTo>
                    <a:lnTo>
                      <a:pt x="636" y="192904"/>
                    </a:lnTo>
                    <a:close/>
                  </a:path>
                </a:pathLst>
              </a:custGeom>
              <a:grpFill/>
              <a:ln w="69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C7EFF418-A78A-448D-8E72-2EEC20DA5BDF}"/>
                  </a:ext>
                </a:extLst>
              </p:cNvPr>
              <p:cNvSpPr/>
              <p:nvPr/>
            </p:nvSpPr>
            <p:spPr>
              <a:xfrm rot="-1649400">
                <a:off x="3669992" y="5885828"/>
                <a:ext cx="169302" cy="169302"/>
              </a:xfrm>
              <a:custGeom>
                <a:avLst/>
                <a:gdLst>
                  <a:gd name="connsiteX0" fmla="*/ 443 w 169302"/>
                  <a:gd name="connsiteY0" fmla="*/ 526 h 169302"/>
                  <a:gd name="connsiteX1" fmla="*/ 169746 w 169302"/>
                  <a:gd name="connsiteY1" fmla="*/ 526 h 169302"/>
                  <a:gd name="connsiteX2" fmla="*/ 169746 w 169302"/>
                  <a:gd name="connsiteY2" fmla="*/ 169829 h 169302"/>
                  <a:gd name="connsiteX3" fmla="*/ 443 w 169302"/>
                  <a:gd name="connsiteY3" fmla="*/ 169829 h 169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9302" h="169302">
                    <a:moveTo>
                      <a:pt x="443" y="526"/>
                    </a:moveTo>
                    <a:lnTo>
                      <a:pt x="169746" y="526"/>
                    </a:lnTo>
                    <a:lnTo>
                      <a:pt x="169746" y="169829"/>
                    </a:lnTo>
                    <a:lnTo>
                      <a:pt x="443" y="169829"/>
                    </a:lnTo>
                    <a:close/>
                  </a:path>
                </a:pathLst>
              </a:custGeom>
              <a:grpFill/>
              <a:ln w="61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A1B81A8A-76C3-410F-A263-6B12E710775E}"/>
                  </a:ext>
                </a:extLst>
              </p:cNvPr>
              <p:cNvSpPr/>
              <p:nvPr/>
            </p:nvSpPr>
            <p:spPr>
              <a:xfrm rot="-1083601">
                <a:off x="2923942" y="5534384"/>
                <a:ext cx="60006" cy="60006"/>
              </a:xfrm>
              <a:custGeom>
                <a:avLst/>
                <a:gdLst>
                  <a:gd name="connsiteX0" fmla="*/ 340 w 60006"/>
                  <a:gd name="connsiteY0" fmla="*/ 474 h 60006"/>
                  <a:gd name="connsiteX1" fmla="*/ 60346 w 60006"/>
                  <a:gd name="connsiteY1" fmla="*/ 474 h 60006"/>
                  <a:gd name="connsiteX2" fmla="*/ 60346 w 60006"/>
                  <a:gd name="connsiteY2" fmla="*/ 60480 h 60006"/>
                  <a:gd name="connsiteX3" fmla="*/ 340 w 60006"/>
                  <a:gd name="connsiteY3" fmla="*/ 60480 h 6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006" h="60006">
                    <a:moveTo>
                      <a:pt x="340" y="474"/>
                    </a:moveTo>
                    <a:lnTo>
                      <a:pt x="60346" y="474"/>
                    </a:lnTo>
                    <a:lnTo>
                      <a:pt x="60346" y="60480"/>
                    </a:lnTo>
                    <a:lnTo>
                      <a:pt x="340" y="60480"/>
                    </a:lnTo>
                    <a:close/>
                  </a:path>
                </a:pathLst>
              </a:custGeom>
              <a:grpFill/>
              <a:ln w="2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7C213578-E9D9-4FF1-B35D-B3B376DAF9DF}"/>
                  </a:ext>
                </a:extLst>
              </p:cNvPr>
              <p:cNvSpPr/>
              <p:nvPr/>
            </p:nvSpPr>
            <p:spPr>
              <a:xfrm rot="-4404004">
                <a:off x="5530564" y="3551780"/>
                <a:ext cx="83579" cy="83579"/>
              </a:xfrm>
              <a:custGeom>
                <a:avLst/>
                <a:gdLst>
                  <a:gd name="connsiteX0" fmla="*/ 677 w 83579"/>
                  <a:gd name="connsiteY0" fmla="*/ 220 h 83579"/>
                  <a:gd name="connsiteX1" fmla="*/ 84257 w 83579"/>
                  <a:gd name="connsiteY1" fmla="*/ 220 h 83579"/>
                  <a:gd name="connsiteX2" fmla="*/ 84257 w 83579"/>
                  <a:gd name="connsiteY2" fmla="*/ 83800 h 83579"/>
                  <a:gd name="connsiteX3" fmla="*/ 677 w 83579"/>
                  <a:gd name="connsiteY3" fmla="*/ 83800 h 83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579" h="83579">
                    <a:moveTo>
                      <a:pt x="677" y="220"/>
                    </a:moveTo>
                    <a:lnTo>
                      <a:pt x="84257" y="220"/>
                    </a:lnTo>
                    <a:lnTo>
                      <a:pt x="84257" y="83800"/>
                    </a:lnTo>
                    <a:lnTo>
                      <a:pt x="677" y="83800"/>
                    </a:lnTo>
                    <a:close/>
                  </a:path>
                </a:pathLst>
              </a:custGeom>
              <a:grpFill/>
              <a:ln w="3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EC89EDF5-6671-4084-9D2E-E43C698789F2}"/>
                  </a:ext>
                </a:extLst>
              </p:cNvPr>
              <p:cNvSpPr/>
              <p:nvPr/>
            </p:nvSpPr>
            <p:spPr>
              <a:xfrm rot="-1390804">
                <a:off x="3261850" y="5611329"/>
                <a:ext cx="77150" cy="77150"/>
              </a:xfrm>
              <a:custGeom>
                <a:avLst/>
                <a:gdLst>
                  <a:gd name="connsiteX0" fmla="*/ 385 w 77150"/>
                  <a:gd name="connsiteY0" fmla="*/ 485 h 77150"/>
                  <a:gd name="connsiteX1" fmla="*/ 77535 w 77150"/>
                  <a:gd name="connsiteY1" fmla="*/ 485 h 77150"/>
                  <a:gd name="connsiteX2" fmla="*/ 77535 w 77150"/>
                  <a:gd name="connsiteY2" fmla="*/ 77636 h 77150"/>
                  <a:gd name="connsiteX3" fmla="*/ 385 w 77150"/>
                  <a:gd name="connsiteY3" fmla="*/ 77636 h 7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150" h="77150">
                    <a:moveTo>
                      <a:pt x="385" y="485"/>
                    </a:moveTo>
                    <a:lnTo>
                      <a:pt x="77535" y="485"/>
                    </a:lnTo>
                    <a:lnTo>
                      <a:pt x="77535" y="77636"/>
                    </a:lnTo>
                    <a:lnTo>
                      <a:pt x="385" y="77636"/>
                    </a:lnTo>
                    <a:close/>
                  </a:path>
                </a:pathLst>
              </a:custGeom>
              <a:grpFill/>
              <a:ln w="2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2B49A2A4-AA46-4A35-917C-AD517815CE3D}"/>
                  </a:ext>
                </a:extLst>
              </p:cNvPr>
              <p:cNvSpPr/>
              <p:nvPr/>
            </p:nvSpPr>
            <p:spPr>
              <a:xfrm rot="-4223274">
                <a:off x="4902357" y="3485864"/>
                <a:ext cx="197930" cy="197930"/>
              </a:xfrm>
              <a:custGeom>
                <a:avLst/>
                <a:gdLst>
                  <a:gd name="connsiteX0" fmla="*/ 604 w 197930"/>
                  <a:gd name="connsiteY0" fmla="*/ 219 h 197930"/>
                  <a:gd name="connsiteX1" fmla="*/ 198534 w 197930"/>
                  <a:gd name="connsiteY1" fmla="*/ 219 h 197930"/>
                  <a:gd name="connsiteX2" fmla="*/ 198534 w 197930"/>
                  <a:gd name="connsiteY2" fmla="*/ 198149 h 197930"/>
                  <a:gd name="connsiteX3" fmla="*/ 604 w 197930"/>
                  <a:gd name="connsiteY3" fmla="*/ 198149 h 19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7930" h="197930">
                    <a:moveTo>
                      <a:pt x="604" y="219"/>
                    </a:moveTo>
                    <a:lnTo>
                      <a:pt x="198534" y="219"/>
                    </a:lnTo>
                    <a:lnTo>
                      <a:pt x="198534" y="198149"/>
                    </a:lnTo>
                    <a:lnTo>
                      <a:pt x="604" y="198149"/>
                    </a:lnTo>
                    <a:close/>
                  </a:path>
                </a:pathLst>
              </a:custGeom>
              <a:grpFill/>
              <a:ln w="71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CB4F7848-20F3-4EC6-94FB-B963B2E52512}"/>
                  </a:ext>
                </a:extLst>
              </p:cNvPr>
              <p:cNvSpPr/>
              <p:nvPr/>
            </p:nvSpPr>
            <p:spPr>
              <a:xfrm rot="-5400000">
                <a:off x="5269772" y="2200222"/>
                <a:ext cx="60006" cy="60006"/>
              </a:xfrm>
              <a:custGeom>
                <a:avLst/>
                <a:gdLst>
                  <a:gd name="connsiteX0" fmla="*/ 642 w 60006"/>
                  <a:gd name="connsiteY0" fmla="*/ 45 h 60006"/>
                  <a:gd name="connsiteX1" fmla="*/ 60648 w 60006"/>
                  <a:gd name="connsiteY1" fmla="*/ 45 h 60006"/>
                  <a:gd name="connsiteX2" fmla="*/ 60648 w 60006"/>
                  <a:gd name="connsiteY2" fmla="*/ 60051 h 60006"/>
                  <a:gd name="connsiteX3" fmla="*/ 642 w 60006"/>
                  <a:gd name="connsiteY3" fmla="*/ 60051 h 6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006" h="60006">
                    <a:moveTo>
                      <a:pt x="642" y="45"/>
                    </a:moveTo>
                    <a:lnTo>
                      <a:pt x="60648" y="45"/>
                    </a:lnTo>
                    <a:lnTo>
                      <a:pt x="60648" y="60051"/>
                    </a:lnTo>
                    <a:lnTo>
                      <a:pt x="642" y="60051"/>
                    </a:lnTo>
                    <a:close/>
                  </a:path>
                </a:pathLst>
              </a:custGeom>
              <a:grpFill/>
              <a:ln w="2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7F8CC97C-D5C0-4A87-8614-F8F894B8A021}"/>
                  </a:ext>
                </a:extLst>
              </p:cNvPr>
              <p:cNvSpPr/>
              <p:nvPr/>
            </p:nvSpPr>
            <p:spPr>
              <a:xfrm rot="1108801">
                <a:off x="848788" y="5702577"/>
                <a:ext cx="57862" cy="57862"/>
              </a:xfrm>
              <a:custGeom>
                <a:avLst/>
                <a:gdLst>
                  <a:gd name="connsiteX0" fmla="*/ 73 w 57862"/>
                  <a:gd name="connsiteY0" fmla="*/ 495 h 57862"/>
                  <a:gd name="connsiteX1" fmla="*/ 57936 w 57862"/>
                  <a:gd name="connsiteY1" fmla="*/ 495 h 57862"/>
                  <a:gd name="connsiteX2" fmla="*/ 57936 w 57862"/>
                  <a:gd name="connsiteY2" fmla="*/ 58358 h 57862"/>
                  <a:gd name="connsiteX3" fmla="*/ 73 w 57862"/>
                  <a:gd name="connsiteY3" fmla="*/ 58358 h 57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862" h="57862">
                    <a:moveTo>
                      <a:pt x="73" y="495"/>
                    </a:moveTo>
                    <a:lnTo>
                      <a:pt x="57936" y="495"/>
                    </a:lnTo>
                    <a:lnTo>
                      <a:pt x="57936" y="58358"/>
                    </a:lnTo>
                    <a:lnTo>
                      <a:pt x="73" y="58358"/>
                    </a:lnTo>
                    <a:close/>
                  </a:path>
                </a:pathLst>
              </a:custGeom>
              <a:grpFill/>
              <a:ln w="20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DDB1E3FA-1DFF-42E7-98A4-1148845AAE55}"/>
                  </a:ext>
                </a:extLst>
              </p:cNvPr>
              <p:cNvSpPr/>
              <p:nvPr/>
            </p:nvSpPr>
            <p:spPr>
              <a:xfrm rot="-3114674">
                <a:off x="4799186" y="4712519"/>
                <a:ext cx="100747" cy="100747"/>
              </a:xfrm>
              <a:custGeom>
                <a:avLst/>
                <a:gdLst>
                  <a:gd name="connsiteX0" fmla="*/ 584 w 100747"/>
                  <a:gd name="connsiteY0" fmla="*/ 371 h 100747"/>
                  <a:gd name="connsiteX1" fmla="*/ 101331 w 100747"/>
                  <a:gd name="connsiteY1" fmla="*/ 371 h 100747"/>
                  <a:gd name="connsiteX2" fmla="*/ 101331 w 100747"/>
                  <a:gd name="connsiteY2" fmla="*/ 101118 h 100747"/>
                  <a:gd name="connsiteX3" fmla="*/ 584 w 100747"/>
                  <a:gd name="connsiteY3" fmla="*/ 101118 h 100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0747" h="100747">
                    <a:moveTo>
                      <a:pt x="584" y="371"/>
                    </a:moveTo>
                    <a:lnTo>
                      <a:pt x="101331" y="371"/>
                    </a:lnTo>
                    <a:lnTo>
                      <a:pt x="101331" y="101118"/>
                    </a:lnTo>
                    <a:lnTo>
                      <a:pt x="584" y="101118"/>
                    </a:lnTo>
                    <a:close/>
                  </a:path>
                </a:pathLst>
              </a:custGeom>
              <a:grpFill/>
              <a:ln w="36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DCE8EA5-1D54-496F-BAA0-D3994B14F3DB}"/>
                  </a:ext>
                </a:extLst>
              </p:cNvPr>
              <p:cNvSpPr/>
              <p:nvPr/>
            </p:nvSpPr>
            <p:spPr>
              <a:xfrm rot="-1104600">
                <a:off x="3002588" y="5797686"/>
                <a:ext cx="147872" cy="147872"/>
              </a:xfrm>
              <a:custGeom>
                <a:avLst/>
                <a:gdLst>
                  <a:gd name="connsiteX0" fmla="*/ 356 w 147872"/>
                  <a:gd name="connsiteY0" fmla="*/ 513 h 147872"/>
                  <a:gd name="connsiteX1" fmla="*/ 148228 w 147872"/>
                  <a:gd name="connsiteY1" fmla="*/ 513 h 147872"/>
                  <a:gd name="connsiteX2" fmla="*/ 148228 w 147872"/>
                  <a:gd name="connsiteY2" fmla="*/ 148386 h 147872"/>
                  <a:gd name="connsiteX3" fmla="*/ 356 w 147872"/>
                  <a:gd name="connsiteY3" fmla="*/ 148386 h 147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7872" h="147872">
                    <a:moveTo>
                      <a:pt x="356" y="513"/>
                    </a:moveTo>
                    <a:lnTo>
                      <a:pt x="148228" y="513"/>
                    </a:lnTo>
                    <a:lnTo>
                      <a:pt x="148228" y="148386"/>
                    </a:lnTo>
                    <a:lnTo>
                      <a:pt x="356" y="148386"/>
                    </a:lnTo>
                    <a:close/>
                  </a:path>
                </a:pathLst>
              </a:custGeom>
              <a:grpFill/>
              <a:ln w="53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E00C3D4F-377C-4A09-A828-C7608FD37C8A}"/>
                  </a:ext>
                </a:extLst>
              </p:cNvPr>
              <p:cNvSpPr/>
              <p:nvPr/>
            </p:nvSpPr>
            <p:spPr>
              <a:xfrm rot="-849601">
                <a:off x="2719489" y="5621535"/>
                <a:ext cx="70721" cy="70721"/>
              </a:xfrm>
              <a:custGeom>
                <a:avLst/>
                <a:gdLst>
                  <a:gd name="connsiteX0" fmla="*/ 315 w 70721"/>
                  <a:gd name="connsiteY0" fmla="*/ 486 h 70721"/>
                  <a:gd name="connsiteX1" fmla="*/ 71036 w 70721"/>
                  <a:gd name="connsiteY1" fmla="*/ 486 h 70721"/>
                  <a:gd name="connsiteX2" fmla="*/ 71036 w 70721"/>
                  <a:gd name="connsiteY2" fmla="*/ 71207 h 70721"/>
                  <a:gd name="connsiteX3" fmla="*/ 315 w 70721"/>
                  <a:gd name="connsiteY3" fmla="*/ 71207 h 70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721" h="70721">
                    <a:moveTo>
                      <a:pt x="315" y="486"/>
                    </a:moveTo>
                    <a:lnTo>
                      <a:pt x="71036" y="486"/>
                    </a:lnTo>
                    <a:lnTo>
                      <a:pt x="71036" y="71207"/>
                    </a:lnTo>
                    <a:lnTo>
                      <a:pt x="315" y="71207"/>
                    </a:lnTo>
                    <a:close/>
                  </a:path>
                </a:pathLst>
              </a:custGeom>
              <a:grpFill/>
              <a:ln w="25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F27EF1A7-B54A-4E9A-AD2A-3EE8435E6B35}"/>
                  </a:ext>
                </a:extLst>
              </p:cNvPr>
              <p:cNvSpPr/>
              <p:nvPr/>
            </p:nvSpPr>
            <p:spPr>
              <a:xfrm rot="-5274600">
                <a:off x="5449159" y="2575602"/>
                <a:ext cx="137156" cy="137156"/>
              </a:xfrm>
              <a:custGeom>
                <a:avLst/>
                <a:gdLst>
                  <a:gd name="connsiteX0" fmla="*/ 670 w 137156"/>
                  <a:gd name="connsiteY0" fmla="*/ 98 h 137156"/>
                  <a:gd name="connsiteX1" fmla="*/ 137827 w 137156"/>
                  <a:gd name="connsiteY1" fmla="*/ 98 h 137156"/>
                  <a:gd name="connsiteX2" fmla="*/ 137827 w 137156"/>
                  <a:gd name="connsiteY2" fmla="*/ 137255 h 137156"/>
                  <a:gd name="connsiteX3" fmla="*/ 670 w 137156"/>
                  <a:gd name="connsiteY3" fmla="*/ 137255 h 137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156" h="137156">
                    <a:moveTo>
                      <a:pt x="670" y="98"/>
                    </a:moveTo>
                    <a:lnTo>
                      <a:pt x="137827" y="98"/>
                    </a:lnTo>
                    <a:lnTo>
                      <a:pt x="137827" y="137255"/>
                    </a:lnTo>
                    <a:lnTo>
                      <a:pt x="670" y="137255"/>
                    </a:lnTo>
                    <a:close/>
                  </a:path>
                </a:pathLst>
              </a:custGeom>
              <a:grpFill/>
              <a:ln w="497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5D2AC40F-AAA2-4BC9-920B-E6199EA0ACC1}"/>
                  </a:ext>
                </a:extLst>
              </p:cNvPr>
              <p:cNvSpPr/>
              <p:nvPr/>
            </p:nvSpPr>
            <p:spPr>
              <a:xfrm rot="875335">
                <a:off x="986998" y="5794008"/>
                <a:ext cx="161656" cy="161656"/>
              </a:xfrm>
              <a:custGeom>
                <a:avLst/>
                <a:gdLst>
                  <a:gd name="connsiteX0" fmla="*/ 97 w 161656"/>
                  <a:gd name="connsiteY0" fmla="*/ 514 h 161656"/>
                  <a:gd name="connsiteX1" fmla="*/ 161754 w 161656"/>
                  <a:gd name="connsiteY1" fmla="*/ 514 h 161656"/>
                  <a:gd name="connsiteX2" fmla="*/ 161754 w 161656"/>
                  <a:gd name="connsiteY2" fmla="*/ 162171 h 161656"/>
                  <a:gd name="connsiteX3" fmla="*/ 97 w 161656"/>
                  <a:gd name="connsiteY3" fmla="*/ 162171 h 16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1656" h="161656">
                    <a:moveTo>
                      <a:pt x="97" y="514"/>
                    </a:moveTo>
                    <a:lnTo>
                      <a:pt x="161754" y="514"/>
                    </a:lnTo>
                    <a:lnTo>
                      <a:pt x="161754" y="162171"/>
                    </a:lnTo>
                    <a:lnTo>
                      <a:pt x="97" y="162171"/>
                    </a:lnTo>
                    <a:close/>
                  </a:path>
                </a:pathLst>
              </a:custGeom>
              <a:grpFill/>
              <a:ln w="58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4" name="Freeform: Shape 133">
                <a:extLst>
                  <a:ext uri="{FF2B5EF4-FFF2-40B4-BE49-F238E27FC236}">
                    <a16:creationId xmlns:a16="http://schemas.microsoft.com/office/drawing/2014/main" id="{5CED95F9-FF2E-4F2A-B427-83849A84D0C8}"/>
                  </a:ext>
                </a:extLst>
              </p:cNvPr>
              <p:cNvSpPr/>
              <p:nvPr/>
            </p:nvSpPr>
            <p:spPr>
              <a:xfrm rot="-4835999">
                <a:off x="5174073" y="3031052"/>
                <a:ext cx="45004" cy="45004"/>
              </a:xfrm>
              <a:custGeom>
                <a:avLst/>
                <a:gdLst>
                  <a:gd name="connsiteX0" fmla="*/ 629 w 45004"/>
                  <a:gd name="connsiteY0" fmla="*/ 151 h 45004"/>
                  <a:gd name="connsiteX1" fmla="*/ 45633 w 45004"/>
                  <a:gd name="connsiteY1" fmla="*/ 151 h 45004"/>
                  <a:gd name="connsiteX2" fmla="*/ 45633 w 45004"/>
                  <a:gd name="connsiteY2" fmla="*/ 45155 h 45004"/>
                  <a:gd name="connsiteX3" fmla="*/ 629 w 45004"/>
                  <a:gd name="connsiteY3" fmla="*/ 45155 h 45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004" h="45004">
                    <a:moveTo>
                      <a:pt x="629" y="151"/>
                    </a:moveTo>
                    <a:lnTo>
                      <a:pt x="45633" y="151"/>
                    </a:lnTo>
                    <a:lnTo>
                      <a:pt x="45633" y="45155"/>
                    </a:lnTo>
                    <a:lnTo>
                      <a:pt x="629" y="45155"/>
                    </a:lnTo>
                    <a:close/>
                  </a:path>
                </a:pathLst>
              </a:custGeom>
              <a:grpFill/>
              <a:ln w="16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5" name="Freeform: Shape 134">
                <a:extLst>
                  <a:ext uri="{FF2B5EF4-FFF2-40B4-BE49-F238E27FC236}">
                    <a16:creationId xmlns:a16="http://schemas.microsoft.com/office/drawing/2014/main" id="{7063CE5F-E065-4B2F-965F-B6E119C4E117}"/>
                  </a:ext>
                </a:extLst>
              </p:cNvPr>
              <p:cNvSpPr/>
              <p:nvPr/>
            </p:nvSpPr>
            <p:spPr>
              <a:xfrm rot="-124800">
                <a:off x="2021503" y="6302217"/>
                <a:ext cx="156444" cy="156444"/>
              </a:xfrm>
              <a:custGeom>
                <a:avLst/>
                <a:gdLst>
                  <a:gd name="connsiteX0" fmla="*/ 230 w 156444"/>
                  <a:gd name="connsiteY0" fmla="*/ 579 h 156444"/>
                  <a:gd name="connsiteX1" fmla="*/ 156675 w 156444"/>
                  <a:gd name="connsiteY1" fmla="*/ 579 h 156444"/>
                  <a:gd name="connsiteX2" fmla="*/ 156675 w 156444"/>
                  <a:gd name="connsiteY2" fmla="*/ 157023 h 156444"/>
                  <a:gd name="connsiteX3" fmla="*/ 230 w 156444"/>
                  <a:gd name="connsiteY3" fmla="*/ 157023 h 1564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444" h="156444">
                    <a:moveTo>
                      <a:pt x="230" y="579"/>
                    </a:moveTo>
                    <a:lnTo>
                      <a:pt x="156675" y="579"/>
                    </a:lnTo>
                    <a:lnTo>
                      <a:pt x="156675" y="157023"/>
                    </a:lnTo>
                    <a:lnTo>
                      <a:pt x="230" y="157023"/>
                    </a:lnTo>
                    <a:close/>
                  </a:path>
                </a:pathLst>
              </a:custGeom>
              <a:grpFill/>
              <a:ln w="56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6" name="Freeform: Shape 135">
                <a:extLst>
                  <a:ext uri="{FF2B5EF4-FFF2-40B4-BE49-F238E27FC236}">
                    <a16:creationId xmlns:a16="http://schemas.microsoft.com/office/drawing/2014/main" id="{A8BB64CB-C254-4181-AEDF-C334416BD4BA}"/>
                  </a:ext>
                </a:extLst>
              </p:cNvPr>
              <p:cNvSpPr/>
              <p:nvPr/>
            </p:nvSpPr>
            <p:spPr>
              <a:xfrm rot="-4210794">
                <a:off x="5410853" y="3736782"/>
                <a:ext cx="66435" cy="66435"/>
              </a:xfrm>
              <a:custGeom>
                <a:avLst/>
                <a:gdLst>
                  <a:gd name="connsiteX0" fmla="*/ 661 w 66435"/>
                  <a:gd name="connsiteY0" fmla="*/ 243 h 66435"/>
                  <a:gd name="connsiteX1" fmla="*/ 67096 w 66435"/>
                  <a:gd name="connsiteY1" fmla="*/ 243 h 66435"/>
                  <a:gd name="connsiteX2" fmla="*/ 67096 w 66435"/>
                  <a:gd name="connsiteY2" fmla="*/ 66678 h 66435"/>
                  <a:gd name="connsiteX3" fmla="*/ 661 w 66435"/>
                  <a:gd name="connsiteY3" fmla="*/ 66678 h 66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435" h="66435">
                    <a:moveTo>
                      <a:pt x="661" y="243"/>
                    </a:moveTo>
                    <a:lnTo>
                      <a:pt x="67096" y="243"/>
                    </a:lnTo>
                    <a:lnTo>
                      <a:pt x="67096" y="66678"/>
                    </a:lnTo>
                    <a:lnTo>
                      <a:pt x="661" y="66678"/>
                    </a:lnTo>
                    <a:close/>
                  </a:path>
                </a:pathLst>
              </a:custGeom>
              <a:grpFill/>
              <a:ln w="24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7" name="Freeform: Shape 136">
                <a:extLst>
                  <a:ext uri="{FF2B5EF4-FFF2-40B4-BE49-F238E27FC236}">
                    <a16:creationId xmlns:a16="http://schemas.microsoft.com/office/drawing/2014/main" id="{FBF19027-81BA-4C64-A6BA-2AE96FE25CC8}"/>
                  </a:ext>
                </a:extLst>
              </p:cNvPr>
              <p:cNvSpPr/>
              <p:nvPr/>
            </p:nvSpPr>
            <p:spPr>
              <a:xfrm rot="-3267739">
                <a:off x="4717538" y="4432157"/>
                <a:ext cx="239660" cy="239660"/>
              </a:xfrm>
              <a:custGeom>
                <a:avLst/>
                <a:gdLst>
                  <a:gd name="connsiteX0" fmla="*/ 583 w 239660"/>
                  <a:gd name="connsiteY0" fmla="*/ 344 h 239660"/>
                  <a:gd name="connsiteX1" fmla="*/ 240243 w 239660"/>
                  <a:gd name="connsiteY1" fmla="*/ 344 h 239660"/>
                  <a:gd name="connsiteX2" fmla="*/ 240243 w 239660"/>
                  <a:gd name="connsiteY2" fmla="*/ 240004 h 239660"/>
                  <a:gd name="connsiteX3" fmla="*/ 583 w 239660"/>
                  <a:gd name="connsiteY3" fmla="*/ 240004 h 239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9660" h="239660">
                    <a:moveTo>
                      <a:pt x="583" y="344"/>
                    </a:moveTo>
                    <a:lnTo>
                      <a:pt x="240243" y="344"/>
                    </a:lnTo>
                    <a:lnTo>
                      <a:pt x="240243" y="240004"/>
                    </a:lnTo>
                    <a:lnTo>
                      <a:pt x="583" y="240004"/>
                    </a:lnTo>
                    <a:close/>
                  </a:path>
                </a:pathLst>
              </a:custGeom>
              <a:grpFill/>
              <a:ln w="86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8" name="Freeform: Shape 137">
                <a:extLst>
                  <a:ext uri="{FF2B5EF4-FFF2-40B4-BE49-F238E27FC236}">
                    <a16:creationId xmlns:a16="http://schemas.microsoft.com/office/drawing/2014/main" id="{1BF4C763-61B1-4C12-9F33-74046DE9CC41}"/>
                  </a:ext>
                </a:extLst>
              </p:cNvPr>
              <p:cNvSpPr/>
              <p:nvPr/>
            </p:nvSpPr>
            <p:spPr>
              <a:xfrm rot="640800">
                <a:off x="1294592" y="5762406"/>
                <a:ext cx="72864" cy="72864"/>
              </a:xfrm>
              <a:custGeom>
                <a:avLst/>
                <a:gdLst>
                  <a:gd name="connsiteX0" fmla="*/ 131 w 72864"/>
                  <a:gd name="connsiteY0" fmla="*/ 504 h 72864"/>
                  <a:gd name="connsiteX1" fmla="*/ 72996 w 72864"/>
                  <a:gd name="connsiteY1" fmla="*/ 504 h 72864"/>
                  <a:gd name="connsiteX2" fmla="*/ 72996 w 72864"/>
                  <a:gd name="connsiteY2" fmla="*/ 73369 h 72864"/>
                  <a:gd name="connsiteX3" fmla="*/ 131 w 72864"/>
                  <a:gd name="connsiteY3" fmla="*/ 73369 h 7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864" h="72864">
                    <a:moveTo>
                      <a:pt x="131" y="504"/>
                    </a:moveTo>
                    <a:lnTo>
                      <a:pt x="72996" y="504"/>
                    </a:lnTo>
                    <a:lnTo>
                      <a:pt x="72996" y="73369"/>
                    </a:lnTo>
                    <a:lnTo>
                      <a:pt x="131" y="73369"/>
                    </a:lnTo>
                    <a:close/>
                  </a:path>
                </a:pathLst>
              </a:custGeom>
              <a:grpFill/>
              <a:ln w="26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9" name="Freeform: Shape 138">
                <a:extLst>
                  <a:ext uri="{FF2B5EF4-FFF2-40B4-BE49-F238E27FC236}">
                    <a16:creationId xmlns:a16="http://schemas.microsoft.com/office/drawing/2014/main" id="{36721AD4-1123-44BC-A0D1-0A2094CD0617}"/>
                  </a:ext>
                </a:extLst>
              </p:cNvPr>
              <p:cNvSpPr/>
              <p:nvPr/>
            </p:nvSpPr>
            <p:spPr>
              <a:xfrm rot="-93600">
                <a:off x="1967771" y="5973219"/>
                <a:ext cx="175732" cy="175732"/>
              </a:xfrm>
              <a:custGeom>
                <a:avLst/>
                <a:gdLst>
                  <a:gd name="connsiteX0" fmla="*/ 225 w 175732"/>
                  <a:gd name="connsiteY0" fmla="*/ 538 h 175732"/>
                  <a:gd name="connsiteX1" fmla="*/ 175957 w 175732"/>
                  <a:gd name="connsiteY1" fmla="*/ 538 h 175732"/>
                  <a:gd name="connsiteX2" fmla="*/ 175957 w 175732"/>
                  <a:gd name="connsiteY2" fmla="*/ 176270 h 175732"/>
                  <a:gd name="connsiteX3" fmla="*/ 225 w 175732"/>
                  <a:gd name="connsiteY3" fmla="*/ 176270 h 175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5732" h="175732">
                    <a:moveTo>
                      <a:pt x="225" y="538"/>
                    </a:moveTo>
                    <a:lnTo>
                      <a:pt x="175957" y="538"/>
                    </a:lnTo>
                    <a:lnTo>
                      <a:pt x="175957" y="176270"/>
                    </a:lnTo>
                    <a:lnTo>
                      <a:pt x="225" y="176270"/>
                    </a:lnTo>
                    <a:close/>
                  </a:path>
                </a:pathLst>
              </a:custGeom>
              <a:grpFill/>
              <a:ln w="63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0" name="Freeform: Shape 139">
                <a:extLst>
                  <a:ext uri="{FF2B5EF4-FFF2-40B4-BE49-F238E27FC236}">
                    <a16:creationId xmlns:a16="http://schemas.microsoft.com/office/drawing/2014/main" id="{17EA7110-FF86-409B-89BB-5CB87283E789}"/>
                  </a:ext>
                </a:extLst>
              </p:cNvPr>
              <p:cNvSpPr/>
              <p:nvPr/>
            </p:nvSpPr>
            <p:spPr>
              <a:xfrm rot="-5273400">
                <a:off x="5622184" y="2534835"/>
                <a:ext cx="237881" cy="237881"/>
              </a:xfrm>
              <a:custGeom>
                <a:avLst/>
                <a:gdLst>
                  <a:gd name="connsiteX0" fmla="*/ 699 w 237881"/>
                  <a:gd name="connsiteY0" fmla="*/ 99 h 237881"/>
                  <a:gd name="connsiteX1" fmla="*/ 238581 w 237881"/>
                  <a:gd name="connsiteY1" fmla="*/ 99 h 237881"/>
                  <a:gd name="connsiteX2" fmla="*/ 238581 w 237881"/>
                  <a:gd name="connsiteY2" fmla="*/ 237981 h 237881"/>
                  <a:gd name="connsiteX3" fmla="*/ 699 w 237881"/>
                  <a:gd name="connsiteY3" fmla="*/ 237981 h 237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7881" h="237881">
                    <a:moveTo>
                      <a:pt x="699" y="99"/>
                    </a:moveTo>
                    <a:lnTo>
                      <a:pt x="238581" y="99"/>
                    </a:lnTo>
                    <a:lnTo>
                      <a:pt x="238581" y="237981"/>
                    </a:lnTo>
                    <a:lnTo>
                      <a:pt x="699" y="237981"/>
                    </a:lnTo>
                    <a:close/>
                  </a:path>
                </a:pathLst>
              </a:custGeom>
              <a:grpFill/>
              <a:ln w="86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1" name="Freeform: Shape 140">
                <a:extLst>
                  <a:ext uri="{FF2B5EF4-FFF2-40B4-BE49-F238E27FC236}">
                    <a16:creationId xmlns:a16="http://schemas.microsoft.com/office/drawing/2014/main" id="{D1609252-BA5E-48B2-B1B3-7BF7C1C4281E}"/>
                  </a:ext>
                </a:extLst>
              </p:cNvPr>
              <p:cNvSpPr/>
              <p:nvPr/>
            </p:nvSpPr>
            <p:spPr>
              <a:xfrm rot="-3345601">
                <a:off x="4923760" y="4502706"/>
                <a:ext cx="162873" cy="162873"/>
              </a:xfrm>
              <a:custGeom>
                <a:avLst/>
                <a:gdLst>
                  <a:gd name="connsiteX0" fmla="*/ 604 w 162873"/>
                  <a:gd name="connsiteY0" fmla="*/ 348 h 162873"/>
                  <a:gd name="connsiteX1" fmla="*/ 163478 w 162873"/>
                  <a:gd name="connsiteY1" fmla="*/ 348 h 162873"/>
                  <a:gd name="connsiteX2" fmla="*/ 163478 w 162873"/>
                  <a:gd name="connsiteY2" fmla="*/ 163222 h 162873"/>
                  <a:gd name="connsiteX3" fmla="*/ 604 w 162873"/>
                  <a:gd name="connsiteY3" fmla="*/ 163222 h 162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2873" h="162873">
                    <a:moveTo>
                      <a:pt x="604" y="348"/>
                    </a:moveTo>
                    <a:lnTo>
                      <a:pt x="163478" y="348"/>
                    </a:lnTo>
                    <a:lnTo>
                      <a:pt x="163478" y="163222"/>
                    </a:lnTo>
                    <a:lnTo>
                      <a:pt x="604" y="163222"/>
                    </a:lnTo>
                    <a:close/>
                  </a:path>
                </a:pathLst>
              </a:custGeom>
              <a:grpFill/>
              <a:ln w="59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2" name="Freeform: Shape 141">
                <a:extLst>
                  <a:ext uri="{FF2B5EF4-FFF2-40B4-BE49-F238E27FC236}">
                    <a16:creationId xmlns:a16="http://schemas.microsoft.com/office/drawing/2014/main" id="{F4B0C3FC-96D4-4F1C-B1A3-EA3F03FCFC89}"/>
                  </a:ext>
                </a:extLst>
              </p:cNvPr>
              <p:cNvSpPr/>
              <p:nvPr/>
            </p:nvSpPr>
            <p:spPr>
              <a:xfrm rot="245137">
                <a:off x="1679417" y="6177098"/>
                <a:ext cx="60158" cy="60158"/>
              </a:xfrm>
              <a:custGeom>
                <a:avLst/>
                <a:gdLst>
                  <a:gd name="connsiteX0" fmla="*/ 180 w 60158"/>
                  <a:gd name="connsiteY0" fmla="*/ 557 h 60158"/>
                  <a:gd name="connsiteX1" fmla="*/ 60339 w 60158"/>
                  <a:gd name="connsiteY1" fmla="*/ 557 h 60158"/>
                  <a:gd name="connsiteX2" fmla="*/ 60339 w 60158"/>
                  <a:gd name="connsiteY2" fmla="*/ 60716 h 60158"/>
                  <a:gd name="connsiteX3" fmla="*/ 180 w 60158"/>
                  <a:gd name="connsiteY3" fmla="*/ 60716 h 60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158" h="60158">
                    <a:moveTo>
                      <a:pt x="180" y="557"/>
                    </a:moveTo>
                    <a:lnTo>
                      <a:pt x="60339" y="557"/>
                    </a:lnTo>
                    <a:lnTo>
                      <a:pt x="60339" y="60716"/>
                    </a:lnTo>
                    <a:lnTo>
                      <a:pt x="180" y="60716"/>
                    </a:lnTo>
                    <a:close/>
                  </a:path>
                </a:pathLst>
              </a:custGeom>
              <a:grpFill/>
              <a:ln w="21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3" name="Freeform: Shape 142">
                <a:extLst>
                  <a:ext uri="{FF2B5EF4-FFF2-40B4-BE49-F238E27FC236}">
                    <a16:creationId xmlns:a16="http://schemas.microsoft.com/office/drawing/2014/main" id="{8B79BFE8-1280-43B9-BCA1-FBD7B653571F}"/>
                  </a:ext>
                </a:extLst>
              </p:cNvPr>
              <p:cNvSpPr/>
              <p:nvPr/>
            </p:nvSpPr>
            <p:spPr>
              <a:xfrm rot="-232200">
                <a:off x="2172335" y="6085527"/>
                <a:ext cx="64292" cy="64292"/>
              </a:xfrm>
              <a:custGeom>
                <a:avLst/>
                <a:gdLst>
                  <a:gd name="connsiteX0" fmla="*/ 244 w 64292"/>
                  <a:gd name="connsiteY0" fmla="*/ 545 h 64292"/>
                  <a:gd name="connsiteX1" fmla="*/ 64536 w 64292"/>
                  <a:gd name="connsiteY1" fmla="*/ 545 h 64292"/>
                  <a:gd name="connsiteX2" fmla="*/ 64536 w 64292"/>
                  <a:gd name="connsiteY2" fmla="*/ 64837 h 64292"/>
                  <a:gd name="connsiteX3" fmla="*/ 244 w 64292"/>
                  <a:gd name="connsiteY3" fmla="*/ 64837 h 64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292" h="64292">
                    <a:moveTo>
                      <a:pt x="244" y="545"/>
                    </a:moveTo>
                    <a:lnTo>
                      <a:pt x="64536" y="545"/>
                    </a:lnTo>
                    <a:lnTo>
                      <a:pt x="64536" y="64837"/>
                    </a:lnTo>
                    <a:lnTo>
                      <a:pt x="244" y="64837"/>
                    </a:lnTo>
                    <a:close/>
                  </a:path>
                </a:pathLst>
              </a:custGeom>
              <a:grpFill/>
              <a:ln w="23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4" name="Freeform: Shape 143">
                <a:extLst>
                  <a:ext uri="{FF2B5EF4-FFF2-40B4-BE49-F238E27FC236}">
                    <a16:creationId xmlns:a16="http://schemas.microsoft.com/office/drawing/2014/main" id="{797422B0-7F12-4E14-96C2-48A6FA44BF7C}"/>
                  </a:ext>
                </a:extLst>
              </p:cNvPr>
              <p:cNvSpPr/>
              <p:nvPr/>
            </p:nvSpPr>
            <p:spPr>
              <a:xfrm rot="-2413794">
                <a:off x="4283913" y="5270761"/>
                <a:ext cx="68578" cy="68578"/>
              </a:xfrm>
              <a:custGeom>
                <a:avLst/>
                <a:gdLst>
                  <a:gd name="connsiteX0" fmla="*/ 516 w 68578"/>
                  <a:gd name="connsiteY0" fmla="*/ 441 h 68578"/>
                  <a:gd name="connsiteX1" fmla="*/ 69094 w 68578"/>
                  <a:gd name="connsiteY1" fmla="*/ 441 h 68578"/>
                  <a:gd name="connsiteX2" fmla="*/ 69094 w 68578"/>
                  <a:gd name="connsiteY2" fmla="*/ 69019 h 68578"/>
                  <a:gd name="connsiteX3" fmla="*/ 516 w 68578"/>
                  <a:gd name="connsiteY3" fmla="*/ 69019 h 68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578" h="68578">
                    <a:moveTo>
                      <a:pt x="516" y="441"/>
                    </a:moveTo>
                    <a:lnTo>
                      <a:pt x="69094" y="441"/>
                    </a:lnTo>
                    <a:lnTo>
                      <a:pt x="69094" y="69019"/>
                    </a:lnTo>
                    <a:lnTo>
                      <a:pt x="516" y="69019"/>
                    </a:lnTo>
                    <a:close/>
                  </a:path>
                </a:pathLst>
              </a:custGeom>
              <a:grpFill/>
              <a:ln w="24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5" name="Freeform: Shape 144">
                <a:extLst>
                  <a:ext uri="{FF2B5EF4-FFF2-40B4-BE49-F238E27FC236}">
                    <a16:creationId xmlns:a16="http://schemas.microsoft.com/office/drawing/2014/main" id="{6EDB1A41-D920-4648-832F-3E542EB80470}"/>
                  </a:ext>
                </a:extLst>
              </p:cNvPr>
              <p:cNvSpPr/>
              <p:nvPr/>
            </p:nvSpPr>
            <p:spPr>
              <a:xfrm rot="-1523999">
                <a:off x="3585083" y="5975298"/>
                <a:ext cx="55719" cy="55719"/>
              </a:xfrm>
              <a:custGeom>
                <a:avLst/>
                <a:gdLst>
                  <a:gd name="connsiteX0" fmla="*/ 425 w 55719"/>
                  <a:gd name="connsiteY0" fmla="*/ 530 h 55719"/>
                  <a:gd name="connsiteX1" fmla="*/ 56145 w 55719"/>
                  <a:gd name="connsiteY1" fmla="*/ 530 h 55719"/>
                  <a:gd name="connsiteX2" fmla="*/ 56145 w 55719"/>
                  <a:gd name="connsiteY2" fmla="*/ 56250 h 55719"/>
                  <a:gd name="connsiteX3" fmla="*/ 425 w 55719"/>
                  <a:gd name="connsiteY3" fmla="*/ 56250 h 55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719" h="55719">
                    <a:moveTo>
                      <a:pt x="425" y="530"/>
                    </a:moveTo>
                    <a:lnTo>
                      <a:pt x="56145" y="530"/>
                    </a:lnTo>
                    <a:lnTo>
                      <a:pt x="56145" y="56250"/>
                    </a:lnTo>
                    <a:lnTo>
                      <a:pt x="425" y="56250"/>
                    </a:lnTo>
                    <a:close/>
                  </a:path>
                </a:pathLst>
              </a:custGeom>
              <a:grpFill/>
              <a:ln w="20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6" name="Freeform: Shape 145">
                <a:extLst>
                  <a:ext uri="{FF2B5EF4-FFF2-40B4-BE49-F238E27FC236}">
                    <a16:creationId xmlns:a16="http://schemas.microsoft.com/office/drawing/2014/main" id="{FB864444-CA23-402F-8299-D07C84519F9E}"/>
                  </a:ext>
                </a:extLst>
              </p:cNvPr>
              <p:cNvSpPr/>
              <p:nvPr/>
            </p:nvSpPr>
            <p:spPr>
              <a:xfrm rot="-1020599">
                <a:off x="2995809" y="6038635"/>
                <a:ext cx="122155" cy="122155"/>
              </a:xfrm>
              <a:custGeom>
                <a:avLst/>
                <a:gdLst>
                  <a:gd name="connsiteX0" fmla="*/ 353 w 122155"/>
                  <a:gd name="connsiteY0" fmla="*/ 543 h 122155"/>
                  <a:gd name="connsiteX1" fmla="*/ 122509 w 122155"/>
                  <a:gd name="connsiteY1" fmla="*/ 543 h 122155"/>
                  <a:gd name="connsiteX2" fmla="*/ 122509 w 122155"/>
                  <a:gd name="connsiteY2" fmla="*/ 122698 h 122155"/>
                  <a:gd name="connsiteX3" fmla="*/ 353 w 122155"/>
                  <a:gd name="connsiteY3" fmla="*/ 122698 h 122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2155" h="122155">
                    <a:moveTo>
                      <a:pt x="353" y="543"/>
                    </a:moveTo>
                    <a:lnTo>
                      <a:pt x="122509" y="543"/>
                    </a:lnTo>
                    <a:lnTo>
                      <a:pt x="122509" y="122698"/>
                    </a:lnTo>
                    <a:lnTo>
                      <a:pt x="353" y="122698"/>
                    </a:lnTo>
                    <a:close/>
                  </a:path>
                </a:pathLst>
              </a:custGeom>
              <a:grpFill/>
              <a:ln w="44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7" name="Freeform: Shape 146">
                <a:extLst>
                  <a:ext uri="{FF2B5EF4-FFF2-40B4-BE49-F238E27FC236}">
                    <a16:creationId xmlns:a16="http://schemas.microsoft.com/office/drawing/2014/main" id="{2A40C252-B968-438A-A40E-4BEE9B15A6A9}"/>
                  </a:ext>
                </a:extLst>
              </p:cNvPr>
              <p:cNvSpPr/>
              <p:nvPr/>
            </p:nvSpPr>
            <p:spPr>
              <a:xfrm rot="-309000">
                <a:off x="2177503" y="5830108"/>
                <a:ext cx="182161" cy="182161"/>
              </a:xfrm>
              <a:custGeom>
                <a:avLst/>
                <a:gdLst>
                  <a:gd name="connsiteX0" fmla="*/ 252 w 182161"/>
                  <a:gd name="connsiteY0" fmla="*/ 520 h 182161"/>
                  <a:gd name="connsiteX1" fmla="*/ 182413 w 182161"/>
                  <a:gd name="connsiteY1" fmla="*/ 520 h 182161"/>
                  <a:gd name="connsiteX2" fmla="*/ 182413 w 182161"/>
                  <a:gd name="connsiteY2" fmla="*/ 182681 h 182161"/>
                  <a:gd name="connsiteX3" fmla="*/ 252 w 182161"/>
                  <a:gd name="connsiteY3" fmla="*/ 182681 h 182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2161" h="182161">
                    <a:moveTo>
                      <a:pt x="252" y="520"/>
                    </a:moveTo>
                    <a:lnTo>
                      <a:pt x="182413" y="520"/>
                    </a:lnTo>
                    <a:lnTo>
                      <a:pt x="182413" y="182681"/>
                    </a:lnTo>
                    <a:lnTo>
                      <a:pt x="252" y="182681"/>
                    </a:lnTo>
                    <a:close/>
                  </a:path>
                </a:pathLst>
              </a:custGeom>
              <a:grpFill/>
              <a:ln w="66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8" name="Freeform: Shape 147">
                <a:extLst>
                  <a:ext uri="{FF2B5EF4-FFF2-40B4-BE49-F238E27FC236}">
                    <a16:creationId xmlns:a16="http://schemas.microsoft.com/office/drawing/2014/main" id="{DC293A10-8167-455C-9A90-B435709DD51F}"/>
                  </a:ext>
                </a:extLst>
              </p:cNvPr>
              <p:cNvSpPr/>
              <p:nvPr/>
            </p:nvSpPr>
            <p:spPr>
              <a:xfrm rot="-3685796">
                <a:off x="5139984" y="4224434"/>
                <a:ext cx="83579" cy="83579"/>
              </a:xfrm>
              <a:custGeom>
                <a:avLst/>
                <a:gdLst>
                  <a:gd name="connsiteX0" fmla="*/ 627 w 83579"/>
                  <a:gd name="connsiteY0" fmla="*/ 307 h 83579"/>
                  <a:gd name="connsiteX1" fmla="*/ 84207 w 83579"/>
                  <a:gd name="connsiteY1" fmla="*/ 307 h 83579"/>
                  <a:gd name="connsiteX2" fmla="*/ 84207 w 83579"/>
                  <a:gd name="connsiteY2" fmla="*/ 83887 h 83579"/>
                  <a:gd name="connsiteX3" fmla="*/ 627 w 83579"/>
                  <a:gd name="connsiteY3" fmla="*/ 83887 h 83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579" h="83579">
                    <a:moveTo>
                      <a:pt x="627" y="307"/>
                    </a:moveTo>
                    <a:lnTo>
                      <a:pt x="84207" y="307"/>
                    </a:lnTo>
                    <a:lnTo>
                      <a:pt x="84207" y="83887"/>
                    </a:lnTo>
                    <a:lnTo>
                      <a:pt x="627" y="83887"/>
                    </a:lnTo>
                    <a:close/>
                  </a:path>
                </a:pathLst>
              </a:custGeom>
              <a:grpFill/>
              <a:ln w="3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9" name="Freeform: Shape 148">
                <a:extLst>
                  <a:ext uri="{FF2B5EF4-FFF2-40B4-BE49-F238E27FC236}">
                    <a16:creationId xmlns:a16="http://schemas.microsoft.com/office/drawing/2014/main" id="{1C25E6DE-4F52-4EC6-9CD1-CAC249D57CF0}"/>
                  </a:ext>
                </a:extLst>
              </p:cNvPr>
              <p:cNvSpPr/>
              <p:nvPr/>
            </p:nvSpPr>
            <p:spPr>
              <a:xfrm rot="-5400000">
                <a:off x="5764280" y="2397991"/>
                <a:ext cx="162873" cy="162873"/>
              </a:xfrm>
              <a:custGeom>
                <a:avLst/>
                <a:gdLst>
                  <a:gd name="connsiteX0" fmla="*/ 712 w 162873"/>
                  <a:gd name="connsiteY0" fmla="*/ 77 h 162873"/>
                  <a:gd name="connsiteX1" fmla="*/ 163586 w 162873"/>
                  <a:gd name="connsiteY1" fmla="*/ 77 h 162873"/>
                  <a:gd name="connsiteX2" fmla="*/ 163586 w 162873"/>
                  <a:gd name="connsiteY2" fmla="*/ 162951 h 162873"/>
                  <a:gd name="connsiteX3" fmla="*/ 712 w 162873"/>
                  <a:gd name="connsiteY3" fmla="*/ 162951 h 162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2873" h="162873">
                    <a:moveTo>
                      <a:pt x="712" y="77"/>
                    </a:moveTo>
                    <a:lnTo>
                      <a:pt x="163586" y="77"/>
                    </a:lnTo>
                    <a:lnTo>
                      <a:pt x="163586" y="162951"/>
                    </a:lnTo>
                    <a:lnTo>
                      <a:pt x="712" y="162951"/>
                    </a:lnTo>
                    <a:close/>
                  </a:path>
                </a:pathLst>
              </a:custGeom>
              <a:grpFill/>
              <a:ln w="59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0" name="Freeform: Shape 149">
                <a:extLst>
                  <a:ext uri="{FF2B5EF4-FFF2-40B4-BE49-F238E27FC236}">
                    <a16:creationId xmlns:a16="http://schemas.microsoft.com/office/drawing/2014/main" id="{2BF315EE-D482-49CD-AEAF-1A672EA56E93}"/>
                  </a:ext>
                </a:extLst>
              </p:cNvPr>
              <p:cNvSpPr/>
              <p:nvPr/>
            </p:nvSpPr>
            <p:spPr>
              <a:xfrm rot="94200">
                <a:off x="1792987" y="5984607"/>
                <a:ext cx="128584" cy="128584"/>
              </a:xfrm>
              <a:custGeom>
                <a:avLst/>
                <a:gdLst>
                  <a:gd name="connsiteX0" fmla="*/ 199 w 128584"/>
                  <a:gd name="connsiteY0" fmla="*/ 536 h 128584"/>
                  <a:gd name="connsiteX1" fmla="*/ 128784 w 128584"/>
                  <a:gd name="connsiteY1" fmla="*/ 536 h 128584"/>
                  <a:gd name="connsiteX2" fmla="*/ 128784 w 128584"/>
                  <a:gd name="connsiteY2" fmla="*/ 129121 h 128584"/>
                  <a:gd name="connsiteX3" fmla="*/ 199 w 128584"/>
                  <a:gd name="connsiteY3" fmla="*/ 129121 h 128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8584" h="128584">
                    <a:moveTo>
                      <a:pt x="199" y="536"/>
                    </a:moveTo>
                    <a:lnTo>
                      <a:pt x="128784" y="536"/>
                    </a:lnTo>
                    <a:lnTo>
                      <a:pt x="128784" y="129121"/>
                    </a:lnTo>
                    <a:lnTo>
                      <a:pt x="199" y="129121"/>
                    </a:lnTo>
                    <a:close/>
                  </a:path>
                </a:pathLst>
              </a:custGeom>
              <a:grpFill/>
              <a:ln w="4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1" name="Freeform: Shape 150">
                <a:extLst>
                  <a:ext uri="{FF2B5EF4-FFF2-40B4-BE49-F238E27FC236}">
                    <a16:creationId xmlns:a16="http://schemas.microsoft.com/office/drawing/2014/main" id="{2E9F46E4-7336-4D38-AAD9-5FB96A038C93}"/>
                  </a:ext>
                </a:extLst>
              </p:cNvPr>
              <p:cNvSpPr/>
              <p:nvPr/>
            </p:nvSpPr>
            <p:spPr>
              <a:xfrm rot="-3189600">
                <a:off x="4992397" y="4768596"/>
                <a:ext cx="126441" cy="126441"/>
              </a:xfrm>
              <a:custGeom>
                <a:avLst/>
                <a:gdLst>
                  <a:gd name="connsiteX0" fmla="*/ 611 w 126441"/>
                  <a:gd name="connsiteY0" fmla="*/ 380 h 126441"/>
                  <a:gd name="connsiteX1" fmla="*/ 127052 w 126441"/>
                  <a:gd name="connsiteY1" fmla="*/ 380 h 126441"/>
                  <a:gd name="connsiteX2" fmla="*/ 127052 w 126441"/>
                  <a:gd name="connsiteY2" fmla="*/ 126821 h 126441"/>
                  <a:gd name="connsiteX3" fmla="*/ 611 w 126441"/>
                  <a:gd name="connsiteY3" fmla="*/ 126821 h 126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441" h="126441">
                    <a:moveTo>
                      <a:pt x="611" y="380"/>
                    </a:moveTo>
                    <a:lnTo>
                      <a:pt x="127052" y="380"/>
                    </a:lnTo>
                    <a:lnTo>
                      <a:pt x="127052" y="126821"/>
                    </a:lnTo>
                    <a:lnTo>
                      <a:pt x="611" y="126821"/>
                    </a:lnTo>
                    <a:close/>
                  </a:path>
                </a:pathLst>
              </a:custGeom>
              <a:grpFill/>
              <a:ln w="45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2" name="Freeform: Shape 151">
                <a:extLst>
                  <a:ext uri="{FF2B5EF4-FFF2-40B4-BE49-F238E27FC236}">
                    <a16:creationId xmlns:a16="http://schemas.microsoft.com/office/drawing/2014/main" id="{B4B7A248-1480-4E87-82C0-14503563B136}"/>
                  </a:ext>
                </a:extLst>
              </p:cNvPr>
              <p:cNvSpPr/>
              <p:nvPr/>
            </p:nvSpPr>
            <p:spPr>
              <a:xfrm rot="349200">
                <a:off x="1577781" y="5820480"/>
                <a:ext cx="66435" cy="66435"/>
              </a:xfrm>
              <a:custGeom>
                <a:avLst/>
                <a:gdLst>
                  <a:gd name="connsiteX0" fmla="*/ 167 w 66435"/>
                  <a:gd name="connsiteY0" fmla="*/ 511 h 66435"/>
                  <a:gd name="connsiteX1" fmla="*/ 66603 w 66435"/>
                  <a:gd name="connsiteY1" fmla="*/ 511 h 66435"/>
                  <a:gd name="connsiteX2" fmla="*/ 66603 w 66435"/>
                  <a:gd name="connsiteY2" fmla="*/ 66946 h 66435"/>
                  <a:gd name="connsiteX3" fmla="*/ 167 w 66435"/>
                  <a:gd name="connsiteY3" fmla="*/ 66946 h 66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435" h="66435">
                    <a:moveTo>
                      <a:pt x="167" y="511"/>
                    </a:moveTo>
                    <a:lnTo>
                      <a:pt x="66603" y="511"/>
                    </a:lnTo>
                    <a:lnTo>
                      <a:pt x="66603" y="66946"/>
                    </a:lnTo>
                    <a:lnTo>
                      <a:pt x="167" y="66946"/>
                    </a:lnTo>
                    <a:close/>
                  </a:path>
                </a:pathLst>
              </a:custGeom>
              <a:grpFill/>
              <a:ln w="24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3" name="Freeform: Shape 152">
                <a:extLst>
                  <a:ext uri="{FF2B5EF4-FFF2-40B4-BE49-F238E27FC236}">
                    <a16:creationId xmlns:a16="http://schemas.microsoft.com/office/drawing/2014/main" id="{D1AA455C-D3A9-4C4D-8880-9B4768F66401}"/>
                  </a:ext>
                </a:extLst>
              </p:cNvPr>
              <p:cNvSpPr/>
              <p:nvPr/>
            </p:nvSpPr>
            <p:spPr>
              <a:xfrm rot="-1848087">
                <a:off x="3881182" y="5837000"/>
                <a:ext cx="129740" cy="129740"/>
              </a:xfrm>
              <a:custGeom>
                <a:avLst/>
                <a:gdLst>
                  <a:gd name="connsiteX0" fmla="*/ 468 w 129740"/>
                  <a:gd name="connsiteY0" fmla="*/ 517 h 129740"/>
                  <a:gd name="connsiteX1" fmla="*/ 130208 w 129740"/>
                  <a:gd name="connsiteY1" fmla="*/ 517 h 129740"/>
                  <a:gd name="connsiteX2" fmla="*/ 130208 w 129740"/>
                  <a:gd name="connsiteY2" fmla="*/ 130258 h 129740"/>
                  <a:gd name="connsiteX3" fmla="*/ 468 w 129740"/>
                  <a:gd name="connsiteY3" fmla="*/ 130258 h 129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9740" h="129740">
                    <a:moveTo>
                      <a:pt x="468" y="517"/>
                    </a:moveTo>
                    <a:lnTo>
                      <a:pt x="130208" y="517"/>
                    </a:lnTo>
                    <a:lnTo>
                      <a:pt x="130208" y="130258"/>
                    </a:lnTo>
                    <a:lnTo>
                      <a:pt x="468" y="130258"/>
                    </a:lnTo>
                    <a:close/>
                  </a:path>
                </a:pathLst>
              </a:custGeom>
              <a:grpFill/>
              <a:ln w="47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4" name="Freeform: Shape 153">
                <a:extLst>
                  <a:ext uri="{FF2B5EF4-FFF2-40B4-BE49-F238E27FC236}">
                    <a16:creationId xmlns:a16="http://schemas.microsoft.com/office/drawing/2014/main" id="{7EA009E0-97BE-4F7F-A471-9133FCA3BAB5}"/>
                  </a:ext>
                </a:extLst>
              </p:cNvPr>
              <p:cNvSpPr/>
              <p:nvPr/>
            </p:nvSpPr>
            <p:spPr>
              <a:xfrm rot="-3498601">
                <a:off x="4646779" y="4145865"/>
                <a:ext cx="130727" cy="130727"/>
              </a:xfrm>
              <a:custGeom>
                <a:avLst/>
                <a:gdLst>
                  <a:gd name="connsiteX0" fmla="*/ 566 w 130727"/>
                  <a:gd name="connsiteY0" fmla="*/ 300 h 130727"/>
                  <a:gd name="connsiteX1" fmla="*/ 131294 w 130727"/>
                  <a:gd name="connsiteY1" fmla="*/ 300 h 130727"/>
                  <a:gd name="connsiteX2" fmla="*/ 131294 w 130727"/>
                  <a:gd name="connsiteY2" fmla="*/ 131027 h 130727"/>
                  <a:gd name="connsiteX3" fmla="*/ 566 w 130727"/>
                  <a:gd name="connsiteY3" fmla="*/ 131027 h 130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727" h="130727">
                    <a:moveTo>
                      <a:pt x="566" y="300"/>
                    </a:moveTo>
                    <a:lnTo>
                      <a:pt x="131294" y="300"/>
                    </a:lnTo>
                    <a:lnTo>
                      <a:pt x="131294" y="131027"/>
                    </a:lnTo>
                    <a:lnTo>
                      <a:pt x="566" y="131027"/>
                    </a:lnTo>
                    <a:close/>
                  </a:path>
                </a:pathLst>
              </a:custGeom>
              <a:grpFill/>
              <a:ln w="47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5" name="Freeform: Shape 154">
                <a:extLst>
                  <a:ext uri="{FF2B5EF4-FFF2-40B4-BE49-F238E27FC236}">
                    <a16:creationId xmlns:a16="http://schemas.microsoft.com/office/drawing/2014/main" id="{B2DD8D02-1492-4A21-B424-57F31472ABA4}"/>
                  </a:ext>
                </a:extLst>
              </p:cNvPr>
              <p:cNvSpPr/>
              <p:nvPr/>
            </p:nvSpPr>
            <p:spPr>
              <a:xfrm rot="-330001">
                <a:off x="2161096" y="5607770"/>
                <a:ext cx="218592" cy="218592"/>
              </a:xfrm>
              <a:custGeom>
                <a:avLst/>
                <a:gdLst>
                  <a:gd name="connsiteX0" fmla="*/ 252 w 218592"/>
                  <a:gd name="connsiteY0" fmla="*/ 494 h 218592"/>
                  <a:gd name="connsiteX1" fmla="*/ 218845 w 218592"/>
                  <a:gd name="connsiteY1" fmla="*/ 494 h 218592"/>
                  <a:gd name="connsiteX2" fmla="*/ 218845 w 218592"/>
                  <a:gd name="connsiteY2" fmla="*/ 219086 h 218592"/>
                  <a:gd name="connsiteX3" fmla="*/ 252 w 218592"/>
                  <a:gd name="connsiteY3" fmla="*/ 219086 h 218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8592" h="218592">
                    <a:moveTo>
                      <a:pt x="252" y="494"/>
                    </a:moveTo>
                    <a:lnTo>
                      <a:pt x="218845" y="494"/>
                    </a:lnTo>
                    <a:lnTo>
                      <a:pt x="218845" y="219086"/>
                    </a:lnTo>
                    <a:lnTo>
                      <a:pt x="252" y="219086"/>
                    </a:lnTo>
                    <a:close/>
                  </a:path>
                </a:pathLst>
              </a:custGeom>
              <a:grpFill/>
              <a:ln w="7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6" name="Freeform: Shape 155">
                <a:extLst>
                  <a:ext uri="{FF2B5EF4-FFF2-40B4-BE49-F238E27FC236}">
                    <a16:creationId xmlns:a16="http://schemas.microsoft.com/office/drawing/2014/main" id="{2C9D0383-A5A6-47A2-A34A-535DEDC8E49D}"/>
                  </a:ext>
                </a:extLst>
              </p:cNvPr>
              <p:cNvSpPr/>
              <p:nvPr/>
            </p:nvSpPr>
            <p:spPr>
              <a:xfrm rot="-538799">
                <a:off x="2375735" y="5608181"/>
                <a:ext cx="180018" cy="180018"/>
              </a:xfrm>
              <a:custGeom>
                <a:avLst/>
                <a:gdLst>
                  <a:gd name="connsiteX0" fmla="*/ 277 w 180018"/>
                  <a:gd name="connsiteY0" fmla="*/ 491 h 180018"/>
                  <a:gd name="connsiteX1" fmla="*/ 180296 w 180018"/>
                  <a:gd name="connsiteY1" fmla="*/ 491 h 180018"/>
                  <a:gd name="connsiteX2" fmla="*/ 180296 w 180018"/>
                  <a:gd name="connsiteY2" fmla="*/ 180509 h 180018"/>
                  <a:gd name="connsiteX3" fmla="*/ 277 w 180018"/>
                  <a:gd name="connsiteY3" fmla="*/ 180509 h 180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0018" h="180018">
                    <a:moveTo>
                      <a:pt x="277" y="491"/>
                    </a:moveTo>
                    <a:lnTo>
                      <a:pt x="180296" y="491"/>
                    </a:lnTo>
                    <a:lnTo>
                      <a:pt x="180296" y="180509"/>
                    </a:lnTo>
                    <a:lnTo>
                      <a:pt x="277" y="180509"/>
                    </a:lnTo>
                    <a:close/>
                  </a:path>
                </a:pathLst>
              </a:custGeom>
              <a:grpFill/>
              <a:ln w="6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7" name="Freeform: Shape 156">
                <a:extLst>
                  <a:ext uri="{FF2B5EF4-FFF2-40B4-BE49-F238E27FC236}">
                    <a16:creationId xmlns:a16="http://schemas.microsoft.com/office/drawing/2014/main" id="{7A9E578C-07CC-4F1F-ADCC-BC7FE863E3C2}"/>
                  </a:ext>
                </a:extLst>
              </p:cNvPr>
              <p:cNvSpPr/>
              <p:nvPr/>
            </p:nvSpPr>
            <p:spPr>
              <a:xfrm rot="-2161801">
                <a:off x="4122803" y="5520418"/>
                <a:ext cx="141442" cy="141442"/>
              </a:xfrm>
              <a:custGeom>
                <a:avLst/>
                <a:gdLst>
                  <a:gd name="connsiteX0" fmla="*/ 500 w 141442"/>
                  <a:gd name="connsiteY0" fmla="*/ 477 h 141442"/>
                  <a:gd name="connsiteX1" fmla="*/ 141943 w 141442"/>
                  <a:gd name="connsiteY1" fmla="*/ 477 h 141442"/>
                  <a:gd name="connsiteX2" fmla="*/ 141943 w 141442"/>
                  <a:gd name="connsiteY2" fmla="*/ 141920 h 141442"/>
                  <a:gd name="connsiteX3" fmla="*/ 500 w 141442"/>
                  <a:gd name="connsiteY3" fmla="*/ 141920 h 14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1442" h="141442">
                    <a:moveTo>
                      <a:pt x="500" y="477"/>
                    </a:moveTo>
                    <a:lnTo>
                      <a:pt x="141943" y="477"/>
                    </a:lnTo>
                    <a:lnTo>
                      <a:pt x="141943" y="141920"/>
                    </a:lnTo>
                    <a:lnTo>
                      <a:pt x="500" y="141920"/>
                    </a:lnTo>
                    <a:close/>
                  </a:path>
                </a:pathLst>
              </a:custGeom>
              <a:grpFill/>
              <a:ln w="51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8" name="Freeform: Shape 157">
                <a:extLst>
                  <a:ext uri="{FF2B5EF4-FFF2-40B4-BE49-F238E27FC236}">
                    <a16:creationId xmlns:a16="http://schemas.microsoft.com/office/drawing/2014/main" id="{A116743C-387B-4344-906E-DF15B66DA850}"/>
                  </a:ext>
                </a:extLst>
              </p:cNvPr>
              <p:cNvSpPr/>
              <p:nvPr/>
            </p:nvSpPr>
            <p:spPr>
              <a:xfrm rot="-2817000">
                <a:off x="4422111" y="4809376"/>
                <a:ext cx="156444" cy="156444"/>
              </a:xfrm>
              <a:custGeom>
                <a:avLst/>
                <a:gdLst>
                  <a:gd name="connsiteX0" fmla="*/ 539 w 156444"/>
                  <a:gd name="connsiteY0" fmla="*/ 387 h 156444"/>
                  <a:gd name="connsiteX1" fmla="*/ 156984 w 156444"/>
                  <a:gd name="connsiteY1" fmla="*/ 387 h 156444"/>
                  <a:gd name="connsiteX2" fmla="*/ 156984 w 156444"/>
                  <a:gd name="connsiteY2" fmla="*/ 156831 h 156444"/>
                  <a:gd name="connsiteX3" fmla="*/ 539 w 156444"/>
                  <a:gd name="connsiteY3" fmla="*/ 156831 h 1564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444" h="156444">
                    <a:moveTo>
                      <a:pt x="539" y="387"/>
                    </a:moveTo>
                    <a:lnTo>
                      <a:pt x="156984" y="387"/>
                    </a:lnTo>
                    <a:lnTo>
                      <a:pt x="156984" y="156831"/>
                    </a:lnTo>
                    <a:lnTo>
                      <a:pt x="539" y="156831"/>
                    </a:lnTo>
                    <a:close/>
                  </a:path>
                </a:pathLst>
              </a:custGeom>
              <a:grpFill/>
              <a:ln w="56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9" name="Freeform: Shape 158">
                <a:extLst>
                  <a:ext uri="{FF2B5EF4-FFF2-40B4-BE49-F238E27FC236}">
                    <a16:creationId xmlns:a16="http://schemas.microsoft.com/office/drawing/2014/main" id="{4C96AD3B-8BC1-4957-92A7-C3A13026D0C4}"/>
                  </a:ext>
                </a:extLst>
              </p:cNvPr>
              <p:cNvSpPr/>
              <p:nvPr/>
            </p:nvSpPr>
            <p:spPr>
              <a:xfrm rot="495600">
                <a:off x="1429956" y="5695849"/>
                <a:ext cx="102867" cy="102867"/>
              </a:xfrm>
              <a:custGeom>
                <a:avLst/>
                <a:gdLst>
                  <a:gd name="connsiteX0" fmla="*/ 151 w 102867"/>
                  <a:gd name="connsiteY0" fmla="*/ 497 h 102867"/>
                  <a:gd name="connsiteX1" fmla="*/ 103018 w 102867"/>
                  <a:gd name="connsiteY1" fmla="*/ 497 h 102867"/>
                  <a:gd name="connsiteX2" fmla="*/ 103018 w 102867"/>
                  <a:gd name="connsiteY2" fmla="*/ 103365 h 102867"/>
                  <a:gd name="connsiteX3" fmla="*/ 151 w 102867"/>
                  <a:gd name="connsiteY3" fmla="*/ 103365 h 102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2867" h="102867">
                    <a:moveTo>
                      <a:pt x="151" y="497"/>
                    </a:moveTo>
                    <a:lnTo>
                      <a:pt x="103018" y="497"/>
                    </a:lnTo>
                    <a:lnTo>
                      <a:pt x="103018" y="103365"/>
                    </a:lnTo>
                    <a:lnTo>
                      <a:pt x="151" y="103365"/>
                    </a:lnTo>
                    <a:close/>
                  </a:path>
                </a:pathLst>
              </a:custGeom>
              <a:grpFill/>
              <a:ln w="37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0" name="Freeform: Shape 159">
                <a:extLst>
                  <a:ext uri="{FF2B5EF4-FFF2-40B4-BE49-F238E27FC236}">
                    <a16:creationId xmlns:a16="http://schemas.microsoft.com/office/drawing/2014/main" id="{46928450-1844-416C-811B-B82FC24EE2A8}"/>
                  </a:ext>
                </a:extLst>
              </p:cNvPr>
              <p:cNvSpPr/>
              <p:nvPr/>
            </p:nvSpPr>
            <p:spPr>
              <a:xfrm rot="-4904434">
                <a:off x="5414624" y="2964241"/>
                <a:ext cx="134263" cy="134263"/>
              </a:xfrm>
              <a:custGeom>
                <a:avLst/>
                <a:gdLst>
                  <a:gd name="connsiteX0" fmla="*/ 665 w 134263"/>
                  <a:gd name="connsiteY0" fmla="*/ 148 h 134263"/>
                  <a:gd name="connsiteX1" fmla="*/ 134929 w 134263"/>
                  <a:gd name="connsiteY1" fmla="*/ 148 h 134263"/>
                  <a:gd name="connsiteX2" fmla="*/ 134929 w 134263"/>
                  <a:gd name="connsiteY2" fmla="*/ 134411 h 134263"/>
                  <a:gd name="connsiteX3" fmla="*/ 665 w 134263"/>
                  <a:gd name="connsiteY3" fmla="*/ 134411 h 134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4263" h="134263">
                    <a:moveTo>
                      <a:pt x="665" y="148"/>
                    </a:moveTo>
                    <a:lnTo>
                      <a:pt x="134929" y="148"/>
                    </a:lnTo>
                    <a:lnTo>
                      <a:pt x="134929" y="134411"/>
                    </a:lnTo>
                    <a:lnTo>
                      <a:pt x="665" y="134411"/>
                    </a:lnTo>
                    <a:close/>
                  </a:path>
                </a:pathLst>
              </a:custGeom>
              <a:grpFill/>
              <a:ln w="48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1" name="Freeform: Shape 160">
                <a:extLst>
                  <a:ext uri="{FF2B5EF4-FFF2-40B4-BE49-F238E27FC236}">
                    <a16:creationId xmlns:a16="http://schemas.microsoft.com/office/drawing/2014/main" id="{EB971DCB-1C68-408B-87F0-7150C7212971}"/>
                  </a:ext>
                </a:extLst>
              </p:cNvPr>
              <p:cNvSpPr/>
              <p:nvPr/>
            </p:nvSpPr>
            <p:spPr>
              <a:xfrm rot="-3572067">
                <a:off x="4945618" y="4278938"/>
                <a:ext cx="42268" cy="42268"/>
              </a:xfrm>
              <a:custGeom>
                <a:avLst/>
                <a:gdLst>
                  <a:gd name="connsiteX0" fmla="*/ 599 w 42268"/>
                  <a:gd name="connsiteY0" fmla="*/ 311 h 42268"/>
                  <a:gd name="connsiteX1" fmla="*/ 42867 w 42268"/>
                  <a:gd name="connsiteY1" fmla="*/ 311 h 42268"/>
                  <a:gd name="connsiteX2" fmla="*/ 42867 w 42268"/>
                  <a:gd name="connsiteY2" fmla="*/ 42579 h 42268"/>
                  <a:gd name="connsiteX3" fmla="*/ 599 w 42268"/>
                  <a:gd name="connsiteY3" fmla="*/ 42579 h 42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68" h="42268">
                    <a:moveTo>
                      <a:pt x="599" y="311"/>
                    </a:moveTo>
                    <a:lnTo>
                      <a:pt x="42867" y="311"/>
                    </a:lnTo>
                    <a:lnTo>
                      <a:pt x="42867" y="42579"/>
                    </a:lnTo>
                    <a:lnTo>
                      <a:pt x="599" y="42579"/>
                    </a:lnTo>
                    <a:close/>
                  </a:path>
                </a:pathLst>
              </a:custGeom>
              <a:grpFill/>
              <a:ln w="15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2" name="Freeform: Shape 161">
                <a:extLst>
                  <a:ext uri="{FF2B5EF4-FFF2-40B4-BE49-F238E27FC236}">
                    <a16:creationId xmlns:a16="http://schemas.microsoft.com/office/drawing/2014/main" id="{8959D04E-1913-4514-A2F0-AB937ECC88D4}"/>
                  </a:ext>
                </a:extLst>
              </p:cNvPr>
              <p:cNvSpPr/>
              <p:nvPr/>
            </p:nvSpPr>
            <p:spPr>
              <a:xfrm rot="337201">
                <a:off x="1471446" y="6104297"/>
                <a:ext cx="231452" cy="231452"/>
              </a:xfrm>
              <a:custGeom>
                <a:avLst/>
                <a:gdLst>
                  <a:gd name="connsiteX0" fmla="*/ 164 w 231452"/>
                  <a:gd name="connsiteY0" fmla="*/ 558 h 231452"/>
                  <a:gd name="connsiteX1" fmla="*/ 231617 w 231452"/>
                  <a:gd name="connsiteY1" fmla="*/ 558 h 231452"/>
                  <a:gd name="connsiteX2" fmla="*/ 231617 w 231452"/>
                  <a:gd name="connsiteY2" fmla="*/ 232011 h 231452"/>
                  <a:gd name="connsiteX3" fmla="*/ 164 w 231452"/>
                  <a:gd name="connsiteY3" fmla="*/ 232011 h 231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1452" h="231452">
                    <a:moveTo>
                      <a:pt x="164" y="558"/>
                    </a:moveTo>
                    <a:lnTo>
                      <a:pt x="231617" y="558"/>
                    </a:lnTo>
                    <a:lnTo>
                      <a:pt x="231617" y="232011"/>
                    </a:lnTo>
                    <a:lnTo>
                      <a:pt x="164" y="232011"/>
                    </a:lnTo>
                    <a:close/>
                  </a:path>
                </a:pathLst>
              </a:custGeom>
              <a:grpFill/>
              <a:ln w="83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3" name="Freeform: Shape 162">
                <a:extLst>
                  <a:ext uri="{FF2B5EF4-FFF2-40B4-BE49-F238E27FC236}">
                    <a16:creationId xmlns:a16="http://schemas.microsoft.com/office/drawing/2014/main" id="{F635BE66-CE94-4DCD-9F7B-66F340E95228}"/>
                  </a:ext>
                </a:extLst>
              </p:cNvPr>
              <p:cNvSpPr/>
              <p:nvPr/>
            </p:nvSpPr>
            <p:spPr>
              <a:xfrm rot="193471">
                <a:off x="1650655" y="6013765"/>
                <a:ext cx="152399" cy="152399"/>
              </a:xfrm>
              <a:custGeom>
                <a:avLst/>
                <a:gdLst>
                  <a:gd name="connsiteX0" fmla="*/ 182 w 152399"/>
                  <a:gd name="connsiteY0" fmla="*/ 542 h 152399"/>
                  <a:gd name="connsiteX1" fmla="*/ 152582 w 152399"/>
                  <a:gd name="connsiteY1" fmla="*/ 542 h 152399"/>
                  <a:gd name="connsiteX2" fmla="*/ 152582 w 152399"/>
                  <a:gd name="connsiteY2" fmla="*/ 152941 h 152399"/>
                  <a:gd name="connsiteX3" fmla="*/ 182 w 152399"/>
                  <a:gd name="connsiteY3" fmla="*/ 152941 h 152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399" h="152399">
                    <a:moveTo>
                      <a:pt x="182" y="542"/>
                    </a:moveTo>
                    <a:lnTo>
                      <a:pt x="152582" y="542"/>
                    </a:lnTo>
                    <a:lnTo>
                      <a:pt x="152582" y="152941"/>
                    </a:lnTo>
                    <a:lnTo>
                      <a:pt x="182" y="152941"/>
                    </a:lnTo>
                    <a:close/>
                  </a:path>
                </a:pathLst>
              </a:custGeom>
              <a:grpFill/>
              <a:ln w="55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4" name="Freeform: Shape 163">
                <a:extLst>
                  <a:ext uri="{FF2B5EF4-FFF2-40B4-BE49-F238E27FC236}">
                    <a16:creationId xmlns:a16="http://schemas.microsoft.com/office/drawing/2014/main" id="{429C79D1-6829-4539-9B36-5E06243C7825}"/>
                  </a:ext>
                </a:extLst>
              </p:cNvPr>
              <p:cNvSpPr/>
              <p:nvPr/>
            </p:nvSpPr>
            <p:spPr>
              <a:xfrm rot="-5117400">
                <a:off x="5612336" y="2787758"/>
                <a:ext cx="64292" cy="64292"/>
              </a:xfrm>
              <a:custGeom>
                <a:avLst/>
                <a:gdLst>
                  <a:gd name="connsiteX0" fmla="*/ 686 w 64292"/>
                  <a:gd name="connsiteY0" fmla="*/ 121 h 64292"/>
                  <a:gd name="connsiteX1" fmla="*/ 64979 w 64292"/>
                  <a:gd name="connsiteY1" fmla="*/ 121 h 64292"/>
                  <a:gd name="connsiteX2" fmla="*/ 64979 w 64292"/>
                  <a:gd name="connsiteY2" fmla="*/ 64413 h 64292"/>
                  <a:gd name="connsiteX3" fmla="*/ 686 w 64292"/>
                  <a:gd name="connsiteY3" fmla="*/ 64413 h 64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292" h="64292">
                    <a:moveTo>
                      <a:pt x="686" y="121"/>
                    </a:moveTo>
                    <a:lnTo>
                      <a:pt x="64979" y="121"/>
                    </a:lnTo>
                    <a:lnTo>
                      <a:pt x="64979" y="64413"/>
                    </a:lnTo>
                    <a:lnTo>
                      <a:pt x="686" y="64413"/>
                    </a:lnTo>
                    <a:close/>
                  </a:path>
                </a:pathLst>
              </a:custGeom>
              <a:grpFill/>
              <a:ln w="23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5" name="Freeform: Shape 164">
                <a:extLst>
                  <a:ext uri="{FF2B5EF4-FFF2-40B4-BE49-F238E27FC236}">
                    <a16:creationId xmlns:a16="http://schemas.microsoft.com/office/drawing/2014/main" id="{15914605-51F9-4ABF-9C69-38BB78C3F72A}"/>
                  </a:ext>
                </a:extLst>
              </p:cNvPr>
              <p:cNvSpPr/>
              <p:nvPr/>
            </p:nvSpPr>
            <p:spPr>
              <a:xfrm rot="-723002">
                <a:off x="2644862" y="5822946"/>
                <a:ext cx="60006" cy="60006"/>
              </a:xfrm>
              <a:custGeom>
                <a:avLst/>
                <a:gdLst>
                  <a:gd name="connsiteX0" fmla="*/ 304 w 60006"/>
                  <a:gd name="connsiteY0" fmla="*/ 511 h 60006"/>
                  <a:gd name="connsiteX1" fmla="*/ 60310 w 60006"/>
                  <a:gd name="connsiteY1" fmla="*/ 511 h 60006"/>
                  <a:gd name="connsiteX2" fmla="*/ 60310 w 60006"/>
                  <a:gd name="connsiteY2" fmla="*/ 60517 h 60006"/>
                  <a:gd name="connsiteX3" fmla="*/ 304 w 60006"/>
                  <a:gd name="connsiteY3" fmla="*/ 60517 h 6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006" h="60006">
                    <a:moveTo>
                      <a:pt x="304" y="511"/>
                    </a:moveTo>
                    <a:lnTo>
                      <a:pt x="60310" y="511"/>
                    </a:lnTo>
                    <a:lnTo>
                      <a:pt x="60310" y="60517"/>
                    </a:lnTo>
                    <a:lnTo>
                      <a:pt x="304" y="60517"/>
                    </a:lnTo>
                    <a:close/>
                  </a:path>
                </a:pathLst>
              </a:custGeom>
              <a:grpFill/>
              <a:ln w="2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</p:grpSp>
        <p:pic>
          <p:nvPicPr>
            <p:cNvPr id="167" name="Picture 166" descr="A picture containing person&#10;&#10;Description automatically generated">
              <a:extLst>
                <a:ext uri="{FF2B5EF4-FFF2-40B4-BE49-F238E27FC236}">
                  <a16:creationId xmlns:a16="http://schemas.microsoft.com/office/drawing/2014/main" id="{F7FBF36A-0A1F-4779-AA0C-87AECBB5FE2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23"/>
            <a:stretch/>
          </p:blipFill>
          <p:spPr>
            <a:xfrm>
              <a:off x="3212821" y="1478756"/>
              <a:ext cx="1084185" cy="1574152"/>
            </a:xfrm>
            <a:prstGeom prst="rect">
              <a:avLst/>
            </a:prstGeom>
          </p:spPr>
        </p:pic>
      </p:grpSp>
      <p:grpSp>
        <p:nvGrpSpPr>
          <p:cNvPr id="2" name="Group 1"/>
          <p:cNvGrpSpPr/>
          <p:nvPr/>
        </p:nvGrpSpPr>
        <p:grpSpPr>
          <a:xfrm>
            <a:off x="10232298" y="608183"/>
            <a:ext cx="1355992" cy="565732"/>
            <a:chOff x="10232298" y="608183"/>
            <a:chExt cx="1355992" cy="565732"/>
          </a:xfrm>
        </p:grpSpPr>
        <p:sp>
          <p:nvSpPr>
            <p:cNvPr id="169" name="Freeform 8"/>
            <p:cNvSpPr>
              <a:spLocks/>
            </p:cNvSpPr>
            <p:nvPr userDrawn="1"/>
          </p:nvSpPr>
          <p:spPr bwMode="auto">
            <a:xfrm>
              <a:off x="11276945" y="616820"/>
              <a:ext cx="311345" cy="544138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0" name="Freeform 9"/>
            <p:cNvSpPr>
              <a:spLocks/>
            </p:cNvSpPr>
            <p:nvPr userDrawn="1"/>
          </p:nvSpPr>
          <p:spPr bwMode="auto">
            <a:xfrm>
              <a:off x="10838603" y="608183"/>
              <a:ext cx="385086" cy="565732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1" name="Rectangle 10"/>
            <p:cNvSpPr>
              <a:spLocks noChangeArrowheads="1"/>
            </p:cNvSpPr>
            <p:nvPr userDrawn="1"/>
          </p:nvSpPr>
          <p:spPr bwMode="auto">
            <a:xfrm>
              <a:off x="10666544" y="616820"/>
              <a:ext cx="126995" cy="54413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2" name="Freeform 11"/>
            <p:cNvSpPr>
              <a:spLocks/>
            </p:cNvSpPr>
            <p:nvPr userDrawn="1"/>
          </p:nvSpPr>
          <p:spPr bwMode="auto">
            <a:xfrm>
              <a:off x="10232298" y="616820"/>
              <a:ext cx="364601" cy="544138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3" name="Rectangle 12"/>
            <p:cNvSpPr>
              <a:spLocks noChangeArrowheads="1"/>
            </p:cNvSpPr>
            <p:nvPr userDrawn="1"/>
          </p:nvSpPr>
          <p:spPr bwMode="auto">
            <a:xfrm>
              <a:off x="11223689" y="828431"/>
              <a:ext cx="114707" cy="1209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99"/>
            </a:p>
          </p:txBody>
        </p:sp>
        <p:sp>
          <p:nvSpPr>
            <p:cNvPr id="174" name="Rectangle 13"/>
            <p:cNvSpPr>
              <a:spLocks noChangeArrowheads="1"/>
            </p:cNvSpPr>
            <p:nvPr userDrawn="1"/>
          </p:nvSpPr>
          <p:spPr bwMode="auto">
            <a:xfrm>
              <a:off x="10793538" y="828431"/>
              <a:ext cx="110611" cy="1209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99"/>
            </a:p>
          </p:txBody>
        </p:sp>
        <p:sp>
          <p:nvSpPr>
            <p:cNvPr id="175" name="Rectangle 14"/>
            <p:cNvSpPr>
              <a:spLocks noChangeArrowheads="1"/>
            </p:cNvSpPr>
            <p:nvPr userDrawn="1"/>
          </p:nvSpPr>
          <p:spPr bwMode="auto">
            <a:xfrm>
              <a:off x="10555932" y="828431"/>
              <a:ext cx="110611" cy="1209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99"/>
            </a:p>
          </p:txBody>
        </p:sp>
      </p:grpSp>
      <p:sp>
        <p:nvSpPr>
          <p:cNvPr id="166" name="Text Placeholder 5">
            <a:extLst>
              <a:ext uri="{FF2B5EF4-FFF2-40B4-BE49-F238E27FC236}">
                <a16:creationId xmlns:a16="http://schemas.microsoft.com/office/drawing/2014/main" id="{3E1F7E5C-CD89-4837-A69F-C1E0A960D5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1401" y="4107460"/>
            <a:ext cx="5296889" cy="727075"/>
          </a:xfrm>
        </p:spPr>
        <p:txBody>
          <a:bodyPr lIns="0" rIns="0">
            <a:norm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subtitle here</a:t>
            </a:r>
          </a:p>
        </p:txBody>
      </p:sp>
    </p:spTree>
    <p:extLst>
      <p:ext uri="{BB962C8B-B14F-4D97-AF65-F5344CB8AC3E}">
        <p14:creationId xmlns:p14="http://schemas.microsoft.com/office/powerpoint/2010/main" val="593317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8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2" y="251668"/>
            <a:ext cx="11170418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8494229-95D3-40F9-A9B7-63975AE95FB7}"/>
              </a:ext>
            </a:extLst>
          </p:cNvPr>
          <p:cNvGrpSpPr/>
          <p:nvPr/>
        </p:nvGrpSpPr>
        <p:grpSpPr>
          <a:xfrm>
            <a:off x="10513655" y="5095852"/>
            <a:ext cx="1356446" cy="1133119"/>
            <a:chOff x="5310000" y="5306190"/>
            <a:chExt cx="1510747" cy="1262015"/>
          </a:xfrm>
          <a:gradFill flip="none" rotWithShape="1">
            <a:gsLst>
              <a:gs pos="45000">
                <a:schemeClr val="accent1"/>
              </a:gs>
              <a:gs pos="100000">
                <a:schemeClr val="accent2"/>
              </a:gs>
            </a:gsLst>
            <a:lin ang="7800000" scaled="0"/>
            <a:tileRect/>
          </a:gradFill>
        </p:grpSpPr>
        <p:sp>
          <p:nvSpPr>
            <p:cNvPr id="7" name="Freeform: Shape 19746">
              <a:extLst>
                <a:ext uri="{FF2B5EF4-FFF2-40B4-BE49-F238E27FC236}">
                  <a16:creationId xmlns:a16="http://schemas.microsoft.com/office/drawing/2014/main" id="{5E33CF05-FBAE-49F6-8663-A57B2D1B729A}"/>
                </a:ext>
              </a:extLst>
            </p:cNvPr>
            <p:cNvSpPr/>
            <p:nvPr/>
          </p:nvSpPr>
          <p:spPr>
            <a:xfrm>
              <a:off x="5952780" y="5308629"/>
              <a:ext cx="261093" cy="261093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aa-ET"/>
            </a:p>
          </p:txBody>
        </p:sp>
        <p:sp>
          <p:nvSpPr>
            <p:cNvPr id="8" name="Freeform: Shape 19745">
              <a:extLst>
                <a:ext uri="{FF2B5EF4-FFF2-40B4-BE49-F238E27FC236}">
                  <a16:creationId xmlns:a16="http://schemas.microsoft.com/office/drawing/2014/main" id="{F5160838-0B64-444A-BAFB-D93D83B72E7F}"/>
                </a:ext>
              </a:extLst>
            </p:cNvPr>
            <p:cNvSpPr/>
            <p:nvPr/>
          </p:nvSpPr>
          <p:spPr>
            <a:xfrm>
              <a:off x="5477031" y="5308629"/>
              <a:ext cx="261093" cy="261093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9" name="Freeform: Shape 19747">
              <a:extLst>
                <a:ext uri="{FF2B5EF4-FFF2-40B4-BE49-F238E27FC236}">
                  <a16:creationId xmlns:a16="http://schemas.microsoft.com/office/drawing/2014/main" id="{6BB3156E-8095-441E-AFC3-EB14312673FD}"/>
                </a:ext>
              </a:extLst>
            </p:cNvPr>
            <p:cNvSpPr/>
            <p:nvPr/>
          </p:nvSpPr>
          <p:spPr>
            <a:xfrm>
              <a:off x="5310000" y="5306190"/>
              <a:ext cx="1510747" cy="1262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15" name="Freeform: Shape 19746">
            <a:extLst>
              <a:ext uri="{FF2B5EF4-FFF2-40B4-BE49-F238E27FC236}">
                <a16:creationId xmlns:a16="http://schemas.microsoft.com/office/drawing/2014/main" id="{E438854C-EA01-4A21-A15F-51E5BB8A589B}"/>
              </a:ext>
            </a:extLst>
          </p:cNvPr>
          <p:cNvSpPr/>
          <p:nvPr/>
        </p:nvSpPr>
        <p:spPr>
          <a:xfrm rot="10800000">
            <a:off x="11661909" y="0"/>
            <a:ext cx="208192" cy="5047378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gradFill flip="none" rotWithShape="1">
            <a:gsLst>
              <a:gs pos="45000">
                <a:schemeClr val="accent1"/>
              </a:gs>
              <a:gs pos="100000">
                <a:schemeClr val="accent2"/>
              </a:gs>
            </a:gsLst>
            <a:lin ang="7800000" scaled="0"/>
            <a:tileRect/>
          </a:gra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aa-ET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5361523D-0B9C-455E-BCE4-7DE66229093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318" y="1192732"/>
            <a:ext cx="11267238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87661595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0_Title and Content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5729150" y="1184276"/>
            <a:ext cx="742190" cy="4431547"/>
          </a:xfrm>
          <a:prstGeom prst="rect">
            <a:avLst/>
          </a:prstGeom>
          <a:gradFill flip="none" rotWithShape="1">
            <a:gsLst>
              <a:gs pos="73000">
                <a:schemeClr val="accent6"/>
              </a:gs>
              <a:gs pos="0">
                <a:schemeClr val="accent1"/>
              </a:gs>
            </a:gsLst>
            <a:lin ang="5400000" scaled="1"/>
            <a:tileRect/>
          </a:gra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5805458" y="5916807"/>
            <a:ext cx="589573" cy="492505"/>
            <a:chOff x="5310000" y="5306190"/>
            <a:chExt cx="1510747" cy="1262015"/>
          </a:xfr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5400000" scaled="1"/>
          </a:gradFill>
        </p:grpSpPr>
        <p:sp>
          <p:nvSpPr>
            <p:cNvPr id="29" name="Freeform: Shape 19746">
              <a:extLst>
                <a:ext uri="{FF2B5EF4-FFF2-40B4-BE49-F238E27FC236}">
                  <a16:creationId xmlns:a16="http://schemas.microsoft.com/office/drawing/2014/main" id="{0DCCBABF-42E0-48A1-9F81-4EFE005A8E45}"/>
                </a:ext>
              </a:extLst>
            </p:cNvPr>
            <p:cNvSpPr/>
            <p:nvPr/>
          </p:nvSpPr>
          <p:spPr>
            <a:xfrm>
              <a:off x="5952780" y="5308629"/>
              <a:ext cx="261093" cy="261093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aa-ET"/>
            </a:p>
          </p:txBody>
        </p:sp>
        <p:sp>
          <p:nvSpPr>
            <p:cNvPr id="28" name="Freeform: Shape 19745">
              <a:extLst>
                <a:ext uri="{FF2B5EF4-FFF2-40B4-BE49-F238E27FC236}">
                  <a16:creationId xmlns:a16="http://schemas.microsoft.com/office/drawing/2014/main" id="{8C3B3E00-D1C1-453B-8A8C-BB9AA64779E4}"/>
                </a:ext>
              </a:extLst>
            </p:cNvPr>
            <p:cNvSpPr/>
            <p:nvPr/>
          </p:nvSpPr>
          <p:spPr>
            <a:xfrm>
              <a:off x="5477031" y="5308629"/>
              <a:ext cx="261093" cy="261093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30" name="Freeform: Shape 19747">
              <a:extLst>
                <a:ext uri="{FF2B5EF4-FFF2-40B4-BE49-F238E27FC236}">
                  <a16:creationId xmlns:a16="http://schemas.microsoft.com/office/drawing/2014/main" id="{77795AA3-A3E1-4CA9-BBC5-44FA2418EB5C}"/>
                </a:ext>
              </a:extLst>
            </p:cNvPr>
            <p:cNvSpPr/>
            <p:nvPr/>
          </p:nvSpPr>
          <p:spPr>
            <a:xfrm>
              <a:off x="5310000" y="5306190"/>
              <a:ext cx="1510747" cy="1262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BBEEAC3-A917-4319-9BC5-0222B5A11849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9B2FF567-005F-4AB4-9E0C-916BF52979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605BEDE9-2BDA-4767-A6DA-AA7A44B3C0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5" name="Rectangle 10">
              <a:extLst>
                <a:ext uri="{FF2B5EF4-FFF2-40B4-BE49-F238E27FC236}">
                  <a16:creationId xmlns:a16="http://schemas.microsoft.com/office/drawing/2014/main" id="{8571AA3E-D166-4330-8154-5F11F8D2530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661C08E2-B488-4AC0-B47B-36B0152B6D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" name="Rectangle 12">
              <a:extLst>
                <a:ext uri="{FF2B5EF4-FFF2-40B4-BE49-F238E27FC236}">
                  <a16:creationId xmlns:a16="http://schemas.microsoft.com/office/drawing/2014/main" id="{2366FB54-6131-4F69-B7F9-7034E9642F8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Rectangle 13">
              <a:extLst>
                <a:ext uri="{FF2B5EF4-FFF2-40B4-BE49-F238E27FC236}">
                  <a16:creationId xmlns:a16="http://schemas.microsoft.com/office/drawing/2014/main" id="{7565310F-A041-4026-8D12-27D4D39FFE5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Rectangle 14">
              <a:extLst>
                <a:ext uri="{FF2B5EF4-FFF2-40B4-BE49-F238E27FC236}">
                  <a16:creationId xmlns:a16="http://schemas.microsoft.com/office/drawing/2014/main" id="{8ECF7AD1-7227-432D-8492-E0A4D1B1366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8964D50D-DBD3-42F0-889B-F209F0E6522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318" y="1192732"/>
            <a:ext cx="5123490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C344705-D366-4FD3-BC31-2F850CA79B3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15" y="1192732"/>
            <a:ext cx="5123490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118980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4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5729150" y="5615822"/>
            <a:ext cx="742190" cy="1242177"/>
          </a:xfrm>
          <a:prstGeom prst="rect">
            <a:avLst/>
          </a:prstGeom>
          <a:solidFill>
            <a:schemeClr val="tx1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5729150" y="1184276"/>
            <a:ext cx="742190" cy="4431547"/>
          </a:xfrm>
          <a:prstGeom prst="rect">
            <a:avLst/>
          </a:prstGeom>
          <a:gradFill flip="none" rotWithShape="1">
            <a:gsLst>
              <a:gs pos="100000">
                <a:schemeClr val="accent5"/>
              </a:gs>
              <a:gs pos="0">
                <a:schemeClr val="accent4"/>
              </a:gs>
            </a:gsLst>
            <a:lin ang="5400000" scaled="1"/>
            <a:tileRect/>
          </a:gra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5805458" y="5916807"/>
            <a:ext cx="589573" cy="492505"/>
            <a:chOff x="5310000" y="5306190"/>
            <a:chExt cx="1510747" cy="1262015"/>
          </a:xfrm>
        </p:grpSpPr>
        <p:sp>
          <p:nvSpPr>
            <p:cNvPr id="29" name="Freeform: Shape 19746">
              <a:extLst>
                <a:ext uri="{FF2B5EF4-FFF2-40B4-BE49-F238E27FC236}">
                  <a16:creationId xmlns:a16="http://schemas.microsoft.com/office/drawing/2014/main" id="{0DCCBABF-42E0-48A1-9F81-4EFE005A8E45}"/>
                </a:ext>
              </a:extLst>
            </p:cNvPr>
            <p:cNvSpPr/>
            <p:nvPr/>
          </p:nvSpPr>
          <p:spPr>
            <a:xfrm>
              <a:off x="5952780" y="5308629"/>
              <a:ext cx="261093" cy="261093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solidFill>
              <a:schemeClr val="accent4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aa-ET"/>
            </a:p>
          </p:txBody>
        </p:sp>
        <p:sp>
          <p:nvSpPr>
            <p:cNvPr id="28" name="Freeform: Shape 19745">
              <a:extLst>
                <a:ext uri="{FF2B5EF4-FFF2-40B4-BE49-F238E27FC236}">
                  <a16:creationId xmlns:a16="http://schemas.microsoft.com/office/drawing/2014/main" id="{8C3B3E00-D1C1-453B-8A8C-BB9AA64779E4}"/>
                </a:ext>
              </a:extLst>
            </p:cNvPr>
            <p:cNvSpPr/>
            <p:nvPr/>
          </p:nvSpPr>
          <p:spPr>
            <a:xfrm>
              <a:off x="5477031" y="5308629"/>
              <a:ext cx="261093" cy="261093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solidFill>
              <a:schemeClr val="accent4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30" name="Freeform: Shape 19747">
              <a:extLst>
                <a:ext uri="{FF2B5EF4-FFF2-40B4-BE49-F238E27FC236}">
                  <a16:creationId xmlns:a16="http://schemas.microsoft.com/office/drawing/2014/main" id="{77795AA3-A3E1-4CA9-BBC5-44FA2418EB5C}"/>
                </a:ext>
              </a:extLst>
            </p:cNvPr>
            <p:cNvSpPr/>
            <p:nvPr/>
          </p:nvSpPr>
          <p:spPr>
            <a:xfrm>
              <a:off x="5310000" y="5306190"/>
              <a:ext cx="1510747" cy="1262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5"/>
                </a:gs>
                <a:gs pos="0">
                  <a:schemeClr val="accent4"/>
                </a:gs>
              </a:gsLst>
              <a:lin ang="10800000" scaled="1"/>
              <a:tileRect/>
            </a:gra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D50C607-C84B-46CE-9892-78B2F0C04A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318" y="1192732"/>
            <a:ext cx="5123490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90F1B92-0075-489F-95CA-96D10C69CB1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15" y="1192732"/>
            <a:ext cx="5123490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9568256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0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3BCF5F4-9017-45EE-9242-1776D36E0DFE}"/>
              </a:ext>
            </a:extLst>
          </p:cNvPr>
          <p:cNvSpPr/>
          <p:nvPr/>
        </p:nvSpPr>
        <p:spPr>
          <a:xfrm>
            <a:off x="0" y="0"/>
            <a:ext cx="422413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457200" y="2451798"/>
            <a:ext cx="3596860" cy="392677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81610" rIns="0" bIns="81610" numCol="1" anchor="t" anchorCtr="0" compatLnSpc="1">
            <a:prstTxWarp prst="textNoShape">
              <a:avLst/>
            </a:prstTxWarp>
          </a:bodyPr>
          <a:lstStyle>
            <a:lvl1pPr marL="0" indent="0">
              <a:spcBef>
                <a:spcPts val="799"/>
              </a:spcBef>
              <a:buNone/>
              <a:defRPr lang="en-US" sz="2131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2" y="251667"/>
            <a:ext cx="3562568" cy="21019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713D65A-B504-4645-B17D-3AAC65715E80}"/>
              </a:ext>
            </a:extLst>
          </p:cNvPr>
          <p:cNvSpPr/>
          <p:nvPr/>
        </p:nvSpPr>
        <p:spPr>
          <a:xfrm>
            <a:off x="-66971" y="0"/>
            <a:ext cx="50577" cy="75249"/>
          </a:xfrm>
          <a:custGeom>
            <a:avLst/>
            <a:gdLst>
              <a:gd name="connsiteX0" fmla="*/ 0 w 50577"/>
              <a:gd name="connsiteY0" fmla="*/ 0 h 75249"/>
              <a:gd name="connsiteX1" fmla="*/ 50577 w 50577"/>
              <a:gd name="connsiteY1" fmla="*/ 0 h 75249"/>
              <a:gd name="connsiteX2" fmla="*/ 50577 w 50577"/>
              <a:gd name="connsiteY2" fmla="*/ 75249 h 75249"/>
              <a:gd name="connsiteX3" fmla="*/ 0 w 50577"/>
              <a:gd name="connsiteY3" fmla="*/ 0 h 7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77" h="75249">
                <a:moveTo>
                  <a:pt x="0" y="0"/>
                </a:moveTo>
                <a:lnTo>
                  <a:pt x="50577" y="0"/>
                </a:lnTo>
                <a:lnTo>
                  <a:pt x="50577" y="75249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8363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85DA342-C7DC-463F-90DC-8711BCA44198}"/>
              </a:ext>
            </a:extLst>
          </p:cNvPr>
          <p:cNvSpPr/>
          <p:nvPr/>
        </p:nvSpPr>
        <p:spPr>
          <a:xfrm rot="10800000">
            <a:off x="4224129" y="-1"/>
            <a:ext cx="203015" cy="2451797"/>
          </a:xfrm>
          <a:prstGeom prst="rect">
            <a:avLst/>
          </a:prstGeom>
          <a:gradFill flip="none" rotWithShape="1">
            <a:gsLst>
              <a:gs pos="1000">
                <a:schemeClr val="accent5"/>
              </a:gs>
              <a:gs pos="64000">
                <a:schemeClr val="accent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833A401-99F2-4E3B-9C08-CB01A998D127}"/>
              </a:ext>
            </a:extLst>
          </p:cNvPr>
          <p:cNvSpPr/>
          <p:nvPr/>
        </p:nvSpPr>
        <p:spPr>
          <a:xfrm>
            <a:off x="4224130" y="2451798"/>
            <a:ext cx="203015" cy="4406201"/>
          </a:xfrm>
          <a:prstGeom prst="rect">
            <a:avLst/>
          </a:prstGeom>
          <a:gradFill>
            <a:gsLst>
              <a:gs pos="100000">
                <a:schemeClr val="accent3"/>
              </a:gs>
              <a:gs pos="59000">
                <a:schemeClr val="accent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6ADFEC4-9801-43ED-9197-FCAAA629156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1330" y="496958"/>
            <a:ext cx="7068846" cy="5799484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8510621"/>
      </p:ext>
    </p:extLst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8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C5884418-7B0E-4B35-8192-240892289F19}"/>
              </a:ext>
            </a:extLst>
          </p:cNvPr>
          <p:cNvSpPr/>
          <p:nvPr/>
        </p:nvSpPr>
        <p:spPr>
          <a:xfrm>
            <a:off x="6169396" y="0"/>
            <a:ext cx="6086294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18900000" scaled="1"/>
            <a:tileRect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/>
          <a:p>
            <a:pPr lvl="0" indent="0" defTabSz="94190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</a:pPr>
            <a:endParaRPr lang="en-US" sz="2200" baseline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791F9D0-532E-4D41-A7AD-3A75891BE73F}"/>
              </a:ext>
            </a:extLst>
          </p:cNvPr>
          <p:cNvSpPr/>
          <p:nvPr/>
        </p:nvSpPr>
        <p:spPr>
          <a:xfrm>
            <a:off x="-6775" y="0"/>
            <a:ext cx="617617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57202" y="182880"/>
            <a:ext cx="5446296" cy="1379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E3672C7-5C59-4D73-8BB8-D1AFC32E7E93}"/>
              </a:ext>
            </a:extLst>
          </p:cNvPr>
          <p:cNvGrpSpPr/>
          <p:nvPr/>
        </p:nvGrpSpPr>
        <p:grpSpPr>
          <a:xfrm>
            <a:off x="10315331" y="288545"/>
            <a:ext cx="1271081" cy="1061808"/>
            <a:chOff x="5310000" y="5306190"/>
            <a:chExt cx="1510747" cy="1262015"/>
          </a:xfrm>
          <a:solidFill>
            <a:schemeClr val="bg1"/>
          </a:solidFill>
        </p:grpSpPr>
        <p:sp>
          <p:nvSpPr>
            <p:cNvPr id="12" name="Freeform: Shape 19746">
              <a:extLst>
                <a:ext uri="{FF2B5EF4-FFF2-40B4-BE49-F238E27FC236}">
                  <a16:creationId xmlns:a16="http://schemas.microsoft.com/office/drawing/2014/main" id="{86C7F86F-C7DD-4657-A834-24BA1AAC009D}"/>
                </a:ext>
              </a:extLst>
            </p:cNvPr>
            <p:cNvSpPr/>
            <p:nvPr/>
          </p:nvSpPr>
          <p:spPr>
            <a:xfrm>
              <a:off x="5952780" y="5308629"/>
              <a:ext cx="261093" cy="261093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aa-ET"/>
            </a:p>
          </p:txBody>
        </p:sp>
        <p:sp>
          <p:nvSpPr>
            <p:cNvPr id="13" name="Freeform: Shape 19745">
              <a:extLst>
                <a:ext uri="{FF2B5EF4-FFF2-40B4-BE49-F238E27FC236}">
                  <a16:creationId xmlns:a16="http://schemas.microsoft.com/office/drawing/2014/main" id="{5A52638C-517B-410D-BA60-C229A968B867}"/>
                </a:ext>
              </a:extLst>
            </p:cNvPr>
            <p:cNvSpPr/>
            <p:nvPr/>
          </p:nvSpPr>
          <p:spPr>
            <a:xfrm>
              <a:off x="5477031" y="5308629"/>
              <a:ext cx="261093" cy="261093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4" name="Freeform: Shape 19747">
              <a:extLst>
                <a:ext uri="{FF2B5EF4-FFF2-40B4-BE49-F238E27FC236}">
                  <a16:creationId xmlns:a16="http://schemas.microsoft.com/office/drawing/2014/main" id="{5BF6CE50-AD37-4896-9A90-319A7E839C7B}"/>
                </a:ext>
              </a:extLst>
            </p:cNvPr>
            <p:cNvSpPr/>
            <p:nvPr/>
          </p:nvSpPr>
          <p:spPr>
            <a:xfrm>
              <a:off x="5310000" y="5306190"/>
              <a:ext cx="1510747" cy="1262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146D32D-D5C0-49F7-B03B-16C2EF977F5C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E5512A1-0A42-4573-9ABC-5906176C8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F59A0B3-3E7E-4F01-A719-4A16DD48BA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7" name="Rectangle 10">
              <a:extLst>
                <a:ext uri="{FF2B5EF4-FFF2-40B4-BE49-F238E27FC236}">
                  <a16:creationId xmlns:a16="http://schemas.microsoft.com/office/drawing/2014/main" id="{56CC0C51-31E5-4EDB-9981-94223BEA43C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EC0031DC-71AF-437D-BB0C-B48A17DAF9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9" name="Rectangle 12">
              <a:extLst>
                <a:ext uri="{FF2B5EF4-FFF2-40B4-BE49-F238E27FC236}">
                  <a16:creationId xmlns:a16="http://schemas.microsoft.com/office/drawing/2014/main" id="{E96EBB07-FEA6-40AD-8651-8B5AA91F87A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0" name="Rectangle 13">
              <a:extLst>
                <a:ext uri="{FF2B5EF4-FFF2-40B4-BE49-F238E27FC236}">
                  <a16:creationId xmlns:a16="http://schemas.microsoft.com/office/drawing/2014/main" id="{641A15F5-7E5E-4DDF-9CAA-CA94D6D3AE1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1" name="Rectangle 14">
              <a:extLst>
                <a:ext uri="{FF2B5EF4-FFF2-40B4-BE49-F238E27FC236}">
                  <a16:creationId xmlns:a16="http://schemas.microsoft.com/office/drawing/2014/main" id="{7AE8C9CA-D549-4700-801F-459E07D9651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8ECD2054-E6EB-44BE-8561-A52A3286E7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0000" y="1560084"/>
            <a:ext cx="5586403" cy="4758128"/>
          </a:xfrm>
        </p:spPr>
        <p:txBody>
          <a:bodyPr lIns="0" rIns="0">
            <a:normAutofit/>
          </a:bodyPr>
          <a:lstStyle>
            <a:lvl1pPr marL="231775" indent="-231775">
              <a:buClr>
                <a:schemeClr val="bg2"/>
              </a:buClr>
              <a:defRPr lang="en-US" sz="2200" kern="1200" baseline="0" dirty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30238" indent="-230188">
              <a:buClr>
                <a:schemeClr val="bg2"/>
              </a:buClr>
              <a:buFont typeface="Arial" panose="020B0604020202020204" pitchFamily="34" charset="0"/>
              <a:buNone/>
              <a:tabLst>
                <a:tab pos="627063" algn="l"/>
              </a:tabLst>
              <a:defRPr lang="en-US" sz="20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Clr>
                <a:schemeClr val="bg2"/>
              </a:buClr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</a:defRPr>
            </a:lvl3pPr>
            <a:lvl4pPr marL="1084263" indent="-228600"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bg2"/>
                </a:solidFill>
              </a:defRPr>
            </a:lvl4pPr>
            <a:lvl5pPr marL="1258888" indent="-212725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</a:defRPr>
            </a:lvl5pPr>
            <a:lvl6pPr marL="1544638" indent="-169863">
              <a:buClr>
                <a:schemeClr val="bg2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650EB1C0-21F1-43BD-8893-149006FECD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7202" y="1560084"/>
            <a:ext cx="5446296" cy="4758128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bg2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</a:defRPr>
            </a:lvl3pPr>
            <a:lvl4pPr marL="1084263" indent="-228600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bg2"/>
                </a:solidFill>
              </a:defRPr>
            </a:lvl4pPr>
            <a:lvl5pPr marL="1258888" indent="-21272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</a:defRPr>
            </a:lvl5pPr>
            <a:lvl6pPr marL="1544638" indent="-169863">
              <a:spcBef>
                <a:spcPts val="400"/>
              </a:spcBef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0228211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8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092577B-34A8-4528-96AB-45F0AE416E4E}"/>
              </a:ext>
            </a:extLst>
          </p:cNvPr>
          <p:cNvSpPr/>
          <p:nvPr/>
        </p:nvSpPr>
        <p:spPr>
          <a:xfrm flipH="1">
            <a:off x="0" y="0"/>
            <a:ext cx="613202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69282" y="195494"/>
            <a:ext cx="5490673" cy="1201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9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6BBAD063-808F-4812-8D9A-0CE891764B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12663" y="195494"/>
            <a:ext cx="3260993" cy="619916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548640" rIns="0" bIns="81610" numCol="1" anchor="t" anchorCtr="0" compatLnSpc="1">
            <a:prstTxWarp prst="textNoShape">
              <a:avLst/>
            </a:prstTxWarp>
            <a:normAutofit/>
          </a:bodyPr>
          <a:lstStyle>
            <a:lvl1pPr marL="231775" indent="-231775">
              <a:defRPr lang="en-US" sz="1800" dirty="0" smtClean="0">
                <a:solidFill>
                  <a:schemeClr val="tx1"/>
                </a:solidFill>
              </a:defRPr>
            </a:lvl1pPr>
            <a:lvl2pPr marL="718839" indent="-304449">
              <a:buFontTx/>
              <a:buNone/>
              <a:defRPr lang="en-US" sz="173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2F58376-DDC6-4205-8510-A90172679DC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811" r="14737"/>
          <a:stretch/>
        </p:blipFill>
        <p:spPr>
          <a:xfrm>
            <a:off x="9752921" y="0"/>
            <a:ext cx="2439079" cy="6858000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00CE666-1B1D-48CF-8A56-8AE9F0A3C8A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9281" y="1592494"/>
            <a:ext cx="5501441" cy="4703947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7212933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7_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1" name="Group 170">
            <a:extLst>
              <a:ext uri="{FF2B5EF4-FFF2-40B4-BE49-F238E27FC236}">
                <a16:creationId xmlns:a16="http://schemas.microsoft.com/office/drawing/2014/main" id="{D0A96EBA-8DE9-4E57-BE99-A582670A1B52}"/>
              </a:ext>
            </a:extLst>
          </p:cNvPr>
          <p:cNvGrpSpPr/>
          <p:nvPr/>
        </p:nvGrpSpPr>
        <p:grpSpPr>
          <a:xfrm>
            <a:off x="6266458" y="945009"/>
            <a:ext cx="4949810" cy="4442335"/>
            <a:chOff x="3084118" y="561546"/>
            <a:chExt cx="6346445" cy="5695781"/>
          </a:xfr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2400000" scaled="0"/>
          </a:gradFill>
        </p:grpSpPr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6392597A-B450-478E-A334-B2EFEDAEAD7C}"/>
                </a:ext>
              </a:extLst>
            </p:cNvPr>
            <p:cNvSpPr/>
            <p:nvPr/>
          </p:nvSpPr>
          <p:spPr>
            <a:xfrm>
              <a:off x="3357615" y="575244"/>
              <a:ext cx="1198054" cy="1198054"/>
            </a:xfrm>
            <a:custGeom>
              <a:avLst/>
              <a:gdLst>
                <a:gd name="connsiteX0" fmla="*/ 0 w 1198054"/>
                <a:gd name="connsiteY0" fmla="*/ 0 h 1198054"/>
                <a:gd name="connsiteX1" fmla="*/ 1198055 w 1198054"/>
                <a:gd name="connsiteY1" fmla="*/ 0 h 1198054"/>
                <a:gd name="connsiteX2" fmla="*/ 1198055 w 1198054"/>
                <a:gd name="connsiteY2" fmla="*/ 1198055 h 1198054"/>
                <a:gd name="connsiteX3" fmla="*/ 0 w 1198054"/>
                <a:gd name="connsiteY3" fmla="*/ 1198055 h 1198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8054" h="1198054">
                  <a:moveTo>
                    <a:pt x="0" y="0"/>
                  </a:moveTo>
                  <a:lnTo>
                    <a:pt x="1198055" y="0"/>
                  </a:lnTo>
                  <a:lnTo>
                    <a:pt x="1198055" y="1198055"/>
                  </a:lnTo>
                  <a:lnTo>
                    <a:pt x="0" y="11980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E9039230-A3E1-4496-B53B-E0BA3E1073C7}"/>
                </a:ext>
              </a:extLst>
            </p:cNvPr>
            <p:cNvSpPr/>
            <p:nvPr/>
          </p:nvSpPr>
          <p:spPr>
            <a:xfrm>
              <a:off x="5540745" y="575244"/>
              <a:ext cx="1198054" cy="1198054"/>
            </a:xfrm>
            <a:custGeom>
              <a:avLst/>
              <a:gdLst>
                <a:gd name="connsiteX0" fmla="*/ 0 w 1198054"/>
                <a:gd name="connsiteY0" fmla="*/ 0 h 1198054"/>
                <a:gd name="connsiteX1" fmla="*/ 1198055 w 1198054"/>
                <a:gd name="connsiteY1" fmla="*/ 0 h 1198054"/>
                <a:gd name="connsiteX2" fmla="*/ 1198055 w 1198054"/>
                <a:gd name="connsiteY2" fmla="*/ 1198055 h 1198054"/>
                <a:gd name="connsiteX3" fmla="*/ 0 w 1198054"/>
                <a:gd name="connsiteY3" fmla="*/ 1198055 h 1198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8054" h="1198054">
                  <a:moveTo>
                    <a:pt x="0" y="0"/>
                  </a:moveTo>
                  <a:lnTo>
                    <a:pt x="1198055" y="0"/>
                  </a:lnTo>
                  <a:lnTo>
                    <a:pt x="1198055" y="1198055"/>
                  </a:lnTo>
                  <a:lnTo>
                    <a:pt x="0" y="11980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grpSp>
          <p:nvGrpSpPr>
            <p:cNvPr id="174" name="Group 173">
              <a:extLst>
                <a:ext uri="{FF2B5EF4-FFF2-40B4-BE49-F238E27FC236}">
                  <a16:creationId xmlns:a16="http://schemas.microsoft.com/office/drawing/2014/main" id="{2BA96E19-AD6D-489B-8E4B-C3C71348D33C}"/>
                </a:ext>
              </a:extLst>
            </p:cNvPr>
            <p:cNvGrpSpPr/>
            <p:nvPr/>
          </p:nvGrpSpPr>
          <p:grpSpPr>
            <a:xfrm>
              <a:off x="3084118" y="561546"/>
              <a:ext cx="6346445" cy="5695781"/>
              <a:chOff x="3084118" y="561546"/>
              <a:chExt cx="6346445" cy="5695781"/>
            </a:xfrm>
            <a:grpFill/>
          </p:grpSpPr>
          <p:sp>
            <p:nvSpPr>
              <p:cNvPr id="175" name="Freeform: Shape 174">
                <a:extLst>
                  <a:ext uri="{FF2B5EF4-FFF2-40B4-BE49-F238E27FC236}">
                    <a16:creationId xmlns:a16="http://schemas.microsoft.com/office/drawing/2014/main" id="{E30CC2E5-C54C-40E4-AAB4-FBD7F78A3B62}"/>
                  </a:ext>
                </a:extLst>
              </p:cNvPr>
              <p:cNvSpPr/>
              <p:nvPr/>
            </p:nvSpPr>
            <p:spPr>
              <a:xfrm>
                <a:off x="8542156" y="1918175"/>
                <a:ext cx="95921" cy="234172"/>
              </a:xfrm>
              <a:custGeom>
                <a:avLst/>
                <a:gdLst>
                  <a:gd name="connsiteX0" fmla="*/ 70966 w 95921"/>
                  <a:gd name="connsiteY0" fmla="*/ 206867 h 234172"/>
                  <a:gd name="connsiteX1" fmla="*/ 83730 w 95921"/>
                  <a:gd name="connsiteY1" fmla="*/ 121809 h 234172"/>
                  <a:gd name="connsiteX2" fmla="*/ 89730 w 95921"/>
                  <a:gd name="connsiteY2" fmla="*/ 79232 h 234172"/>
                  <a:gd name="connsiteX3" fmla="*/ 94779 w 95921"/>
                  <a:gd name="connsiteY3" fmla="*/ 36465 h 234172"/>
                  <a:gd name="connsiteX4" fmla="*/ 63441 w 95921"/>
                  <a:gd name="connsiteY4" fmla="*/ 80 h 234172"/>
                  <a:gd name="connsiteX5" fmla="*/ 61155 w 95921"/>
                  <a:gd name="connsiteY5" fmla="*/ 80 h 234172"/>
                  <a:gd name="connsiteX6" fmla="*/ 22484 w 95921"/>
                  <a:gd name="connsiteY6" fmla="*/ 28178 h 234172"/>
                  <a:gd name="connsiteX7" fmla="*/ 17531 w 95921"/>
                  <a:gd name="connsiteY7" fmla="*/ 70184 h 234172"/>
                  <a:gd name="connsiteX8" fmla="*/ 11721 w 95921"/>
                  <a:gd name="connsiteY8" fmla="*/ 111998 h 234172"/>
                  <a:gd name="connsiteX9" fmla="*/ -852 w 95921"/>
                  <a:gd name="connsiteY9" fmla="*/ 195533 h 234172"/>
                  <a:gd name="connsiteX10" fmla="*/ 28675 w 95921"/>
                  <a:gd name="connsiteY10" fmla="*/ 233156 h 234172"/>
                  <a:gd name="connsiteX11" fmla="*/ 30865 w 95921"/>
                  <a:gd name="connsiteY11" fmla="*/ 233156 h 234172"/>
                  <a:gd name="connsiteX12" fmla="*/ 70966 w 95921"/>
                  <a:gd name="connsiteY12" fmla="*/ 206867 h 234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921" h="234172">
                    <a:moveTo>
                      <a:pt x="70966" y="206867"/>
                    </a:moveTo>
                    <a:cubicBezTo>
                      <a:pt x="76015" y="178292"/>
                      <a:pt x="79824" y="150289"/>
                      <a:pt x="83730" y="121809"/>
                    </a:cubicBezTo>
                    <a:lnTo>
                      <a:pt x="89730" y="79232"/>
                    </a:lnTo>
                    <a:cubicBezTo>
                      <a:pt x="91635" y="65040"/>
                      <a:pt x="93064" y="50657"/>
                      <a:pt x="94779" y="36465"/>
                    </a:cubicBezTo>
                    <a:cubicBezTo>
                      <a:pt x="96113" y="17777"/>
                      <a:pt x="82110" y="1499"/>
                      <a:pt x="63441" y="80"/>
                    </a:cubicBezTo>
                    <a:lnTo>
                      <a:pt x="61155" y="80"/>
                    </a:lnTo>
                    <a:cubicBezTo>
                      <a:pt x="42772" y="-2673"/>
                      <a:pt x="25532" y="9833"/>
                      <a:pt x="22484" y="28178"/>
                    </a:cubicBezTo>
                    <a:cubicBezTo>
                      <a:pt x="20769" y="42180"/>
                      <a:pt x="19436" y="56182"/>
                      <a:pt x="17531" y="70184"/>
                    </a:cubicBezTo>
                    <a:lnTo>
                      <a:pt x="11721" y="111998"/>
                    </a:lnTo>
                    <a:cubicBezTo>
                      <a:pt x="7816" y="139907"/>
                      <a:pt x="4101" y="167815"/>
                      <a:pt x="-852" y="195533"/>
                    </a:cubicBezTo>
                    <a:cubicBezTo>
                      <a:pt x="-2852" y="214021"/>
                      <a:pt x="10197" y="230728"/>
                      <a:pt x="28675" y="233156"/>
                    </a:cubicBezTo>
                    <a:lnTo>
                      <a:pt x="30865" y="233156"/>
                    </a:lnTo>
                    <a:cubicBezTo>
                      <a:pt x="49154" y="236966"/>
                      <a:pt x="67156" y="225203"/>
                      <a:pt x="70966" y="20686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6" name="Freeform: Shape 175">
                <a:extLst>
                  <a:ext uri="{FF2B5EF4-FFF2-40B4-BE49-F238E27FC236}">
                    <a16:creationId xmlns:a16="http://schemas.microsoft.com/office/drawing/2014/main" id="{B9880EA9-BABF-4C2F-94F5-B8F5FC16B70C}"/>
                  </a:ext>
                </a:extLst>
              </p:cNvPr>
              <p:cNvSpPr/>
              <p:nvPr/>
            </p:nvSpPr>
            <p:spPr>
              <a:xfrm>
                <a:off x="7192936" y="4364063"/>
                <a:ext cx="196588" cy="182705"/>
              </a:xfrm>
              <a:custGeom>
                <a:avLst/>
                <a:gdLst>
                  <a:gd name="connsiteX0" fmla="*/ 56968 w 196588"/>
                  <a:gd name="connsiteY0" fmla="*/ 175091 h 182705"/>
                  <a:gd name="connsiteX1" fmla="*/ 89734 w 196588"/>
                  <a:gd name="connsiteY1" fmla="*/ 147182 h 182705"/>
                  <a:gd name="connsiteX2" fmla="*/ 121928 w 196588"/>
                  <a:gd name="connsiteY2" fmla="*/ 118607 h 182705"/>
                  <a:gd name="connsiteX3" fmla="*/ 154123 w 196588"/>
                  <a:gd name="connsiteY3" fmla="*/ 90032 h 182705"/>
                  <a:gd name="connsiteX4" fmla="*/ 185747 w 196588"/>
                  <a:gd name="connsiteY4" fmla="*/ 60695 h 182705"/>
                  <a:gd name="connsiteX5" fmla="*/ 185747 w 196588"/>
                  <a:gd name="connsiteY5" fmla="*/ 13070 h 182705"/>
                  <a:gd name="connsiteX6" fmla="*/ 184127 w 196588"/>
                  <a:gd name="connsiteY6" fmla="*/ 11451 h 182705"/>
                  <a:gd name="connsiteX7" fmla="*/ 136502 w 196588"/>
                  <a:gd name="connsiteY7" fmla="*/ 7641 h 182705"/>
                  <a:gd name="connsiteX8" fmla="*/ 105450 w 196588"/>
                  <a:gd name="connsiteY8" fmla="*/ 36216 h 182705"/>
                  <a:gd name="connsiteX9" fmla="*/ 73351 w 196588"/>
                  <a:gd name="connsiteY9" fmla="*/ 64505 h 182705"/>
                  <a:gd name="connsiteX10" fmla="*/ 41729 w 196588"/>
                  <a:gd name="connsiteY10" fmla="*/ 92604 h 182705"/>
                  <a:gd name="connsiteX11" fmla="*/ 9534 w 196588"/>
                  <a:gd name="connsiteY11" fmla="*/ 119941 h 182705"/>
                  <a:gd name="connsiteX12" fmla="*/ 7628 w 196588"/>
                  <a:gd name="connsiteY12" fmla="*/ 167566 h 182705"/>
                  <a:gd name="connsiteX13" fmla="*/ 9057 w 196588"/>
                  <a:gd name="connsiteY13" fmla="*/ 169280 h 182705"/>
                  <a:gd name="connsiteX14" fmla="*/ 56778 w 196588"/>
                  <a:gd name="connsiteY14" fmla="*/ 175243 h 182705"/>
                  <a:gd name="connsiteX15" fmla="*/ 56968 w 196588"/>
                  <a:gd name="connsiteY15" fmla="*/ 175091 h 18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96588" h="182705">
                    <a:moveTo>
                      <a:pt x="56968" y="175091"/>
                    </a:moveTo>
                    <a:cubicBezTo>
                      <a:pt x="67922" y="165566"/>
                      <a:pt x="78971" y="156707"/>
                      <a:pt x="89734" y="147182"/>
                    </a:cubicBezTo>
                    <a:lnTo>
                      <a:pt x="121928" y="118607"/>
                    </a:lnTo>
                    <a:lnTo>
                      <a:pt x="154123" y="90032"/>
                    </a:lnTo>
                    <a:lnTo>
                      <a:pt x="185747" y="60695"/>
                    </a:lnTo>
                    <a:cubicBezTo>
                      <a:pt x="198796" y="47494"/>
                      <a:pt x="198796" y="26272"/>
                      <a:pt x="185747" y="13070"/>
                    </a:cubicBezTo>
                    <a:lnTo>
                      <a:pt x="184127" y="11451"/>
                    </a:lnTo>
                    <a:cubicBezTo>
                      <a:pt x="171935" y="-2589"/>
                      <a:pt x="150790" y="-4284"/>
                      <a:pt x="136502" y="7641"/>
                    </a:cubicBezTo>
                    <a:lnTo>
                      <a:pt x="105450" y="36216"/>
                    </a:lnTo>
                    <a:lnTo>
                      <a:pt x="73351" y="64505"/>
                    </a:lnTo>
                    <a:lnTo>
                      <a:pt x="41729" y="92604"/>
                    </a:lnTo>
                    <a:cubicBezTo>
                      <a:pt x="31155" y="102129"/>
                      <a:pt x="20297" y="110797"/>
                      <a:pt x="9534" y="119941"/>
                    </a:cubicBezTo>
                    <a:cubicBezTo>
                      <a:pt x="-3801" y="132704"/>
                      <a:pt x="-4658" y="153774"/>
                      <a:pt x="7628" y="167566"/>
                    </a:cubicBezTo>
                    <a:lnTo>
                      <a:pt x="9057" y="169280"/>
                    </a:lnTo>
                    <a:cubicBezTo>
                      <a:pt x="20582" y="184102"/>
                      <a:pt x="41918" y="186768"/>
                      <a:pt x="56778" y="175243"/>
                    </a:cubicBezTo>
                    <a:cubicBezTo>
                      <a:pt x="56873" y="175195"/>
                      <a:pt x="56873" y="175138"/>
                      <a:pt x="56968" y="1750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7" name="Freeform: Shape 176">
                <a:extLst>
                  <a:ext uri="{FF2B5EF4-FFF2-40B4-BE49-F238E27FC236}">
                    <a16:creationId xmlns:a16="http://schemas.microsoft.com/office/drawing/2014/main" id="{A18928AA-7455-4CBD-B5D5-23E9CE55FC41}"/>
                  </a:ext>
                </a:extLst>
              </p:cNvPr>
              <p:cNvSpPr/>
              <p:nvPr/>
            </p:nvSpPr>
            <p:spPr>
              <a:xfrm>
                <a:off x="6066231" y="5084827"/>
                <a:ext cx="224399" cy="136406"/>
              </a:xfrm>
              <a:custGeom>
                <a:avLst/>
                <a:gdLst>
                  <a:gd name="connsiteX0" fmla="*/ 45626 w 224399"/>
                  <a:gd name="connsiteY0" fmla="*/ 134316 h 136406"/>
                  <a:gd name="connsiteX1" fmla="*/ 204311 w 224399"/>
                  <a:gd name="connsiteY1" fmla="*/ 68213 h 136406"/>
                  <a:gd name="connsiteX2" fmla="*/ 220028 w 224399"/>
                  <a:gd name="connsiteY2" fmla="*/ 23331 h 136406"/>
                  <a:gd name="connsiteX3" fmla="*/ 219837 w 224399"/>
                  <a:gd name="connsiteY3" fmla="*/ 22969 h 136406"/>
                  <a:gd name="connsiteX4" fmla="*/ 218885 w 224399"/>
                  <a:gd name="connsiteY4" fmla="*/ 20969 h 136406"/>
                  <a:gd name="connsiteX5" fmla="*/ 174975 w 224399"/>
                  <a:gd name="connsiteY5" fmla="*/ 1919 h 136406"/>
                  <a:gd name="connsiteX6" fmla="*/ 19146 w 224399"/>
                  <a:gd name="connsiteY6" fmla="*/ 66879 h 136406"/>
                  <a:gd name="connsiteX7" fmla="*/ 1715 w 224399"/>
                  <a:gd name="connsiteY7" fmla="*/ 111171 h 136406"/>
                  <a:gd name="connsiteX8" fmla="*/ 2477 w 224399"/>
                  <a:gd name="connsiteY8" fmla="*/ 113266 h 136406"/>
                  <a:gd name="connsiteX9" fmla="*/ 45626 w 224399"/>
                  <a:gd name="connsiteY9" fmla="*/ 134316 h 136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4399" h="136406">
                    <a:moveTo>
                      <a:pt x="45626" y="134316"/>
                    </a:moveTo>
                    <a:cubicBezTo>
                      <a:pt x="98870" y="113171"/>
                      <a:pt x="152019" y="91645"/>
                      <a:pt x="204311" y="68213"/>
                    </a:cubicBezTo>
                    <a:cubicBezTo>
                      <a:pt x="221076" y="60155"/>
                      <a:pt x="228029" y="40057"/>
                      <a:pt x="220028" y="23331"/>
                    </a:cubicBezTo>
                    <a:cubicBezTo>
                      <a:pt x="219933" y="23208"/>
                      <a:pt x="219933" y="23093"/>
                      <a:pt x="219837" y="22969"/>
                    </a:cubicBezTo>
                    <a:lnTo>
                      <a:pt x="218885" y="20969"/>
                    </a:lnTo>
                    <a:cubicBezTo>
                      <a:pt x="211837" y="3805"/>
                      <a:pt x="192310" y="-4634"/>
                      <a:pt x="174975" y="1919"/>
                    </a:cubicBezTo>
                    <a:cubicBezTo>
                      <a:pt x="123635" y="24874"/>
                      <a:pt x="71438" y="46020"/>
                      <a:pt x="19146" y="66879"/>
                    </a:cubicBezTo>
                    <a:cubicBezTo>
                      <a:pt x="2096" y="74318"/>
                      <a:pt x="-5619" y="94131"/>
                      <a:pt x="1715" y="111171"/>
                    </a:cubicBezTo>
                    <a:lnTo>
                      <a:pt x="2477" y="113266"/>
                    </a:lnTo>
                    <a:cubicBezTo>
                      <a:pt x="8669" y="130897"/>
                      <a:pt x="27908" y="140270"/>
                      <a:pt x="45626" y="13431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8" name="Freeform: Shape 177">
                <a:extLst>
                  <a:ext uri="{FF2B5EF4-FFF2-40B4-BE49-F238E27FC236}">
                    <a16:creationId xmlns:a16="http://schemas.microsoft.com/office/drawing/2014/main" id="{9238ED8E-32E6-45DE-AE6F-4994DD279C82}"/>
                  </a:ext>
                </a:extLst>
              </p:cNvPr>
              <p:cNvSpPr/>
              <p:nvPr/>
            </p:nvSpPr>
            <p:spPr>
              <a:xfrm>
                <a:off x="8249608" y="2233257"/>
                <a:ext cx="338083" cy="903281"/>
              </a:xfrm>
              <a:custGeom>
                <a:avLst/>
                <a:gdLst>
                  <a:gd name="connsiteX0" fmla="*/ 67763 w 338083"/>
                  <a:gd name="connsiteY0" fmla="*/ 883337 h 903281"/>
                  <a:gd name="connsiteX1" fmla="*/ 336749 w 338083"/>
                  <a:gd name="connsiteY1" fmla="*/ 40660 h 903281"/>
                  <a:gd name="connsiteX2" fmla="*/ 305031 w 338083"/>
                  <a:gd name="connsiteY2" fmla="*/ -21 h 903281"/>
                  <a:gd name="connsiteX3" fmla="*/ 265406 w 338083"/>
                  <a:gd name="connsiteY3" fmla="*/ 26373 h 903281"/>
                  <a:gd name="connsiteX4" fmla="*/ 1374 w 338083"/>
                  <a:gd name="connsiteY4" fmla="*/ 853715 h 903281"/>
                  <a:gd name="connsiteX5" fmla="*/ 20424 w 338083"/>
                  <a:gd name="connsiteY5" fmla="*/ 899053 h 903281"/>
                  <a:gd name="connsiteX6" fmla="*/ 67287 w 338083"/>
                  <a:gd name="connsiteY6" fmla="*/ 884242 h 903281"/>
                  <a:gd name="connsiteX7" fmla="*/ 67763 w 338083"/>
                  <a:gd name="connsiteY7" fmla="*/ 883337 h 903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083" h="903281">
                    <a:moveTo>
                      <a:pt x="67763" y="883337"/>
                    </a:moveTo>
                    <a:cubicBezTo>
                      <a:pt x="188350" y="613275"/>
                      <a:pt x="278551" y="330649"/>
                      <a:pt x="336749" y="40660"/>
                    </a:cubicBezTo>
                    <a:cubicBezTo>
                      <a:pt x="339225" y="20667"/>
                      <a:pt x="325033" y="2446"/>
                      <a:pt x="305031" y="-21"/>
                    </a:cubicBezTo>
                    <a:cubicBezTo>
                      <a:pt x="287124" y="-2240"/>
                      <a:pt x="270264" y="8980"/>
                      <a:pt x="265406" y="26373"/>
                    </a:cubicBezTo>
                    <a:cubicBezTo>
                      <a:pt x="208256" y="311065"/>
                      <a:pt x="119675" y="588538"/>
                      <a:pt x="1374" y="853715"/>
                    </a:cubicBezTo>
                    <a:cubicBezTo>
                      <a:pt x="-5579" y="871488"/>
                      <a:pt x="2898" y="891567"/>
                      <a:pt x="20424" y="899053"/>
                    </a:cubicBezTo>
                    <a:cubicBezTo>
                      <a:pt x="37474" y="907912"/>
                      <a:pt x="58428" y="901282"/>
                      <a:pt x="67287" y="884242"/>
                    </a:cubicBezTo>
                    <a:cubicBezTo>
                      <a:pt x="67477" y="883946"/>
                      <a:pt x="67572" y="883642"/>
                      <a:pt x="67763" y="88333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9" name="Freeform: Shape 178">
                <a:extLst>
                  <a:ext uri="{FF2B5EF4-FFF2-40B4-BE49-F238E27FC236}">
                    <a16:creationId xmlns:a16="http://schemas.microsoft.com/office/drawing/2014/main" id="{CE153DF5-9C73-4193-9938-71BA8110CEB3}"/>
                  </a:ext>
                </a:extLst>
              </p:cNvPr>
              <p:cNvSpPr/>
              <p:nvPr/>
            </p:nvSpPr>
            <p:spPr>
              <a:xfrm>
                <a:off x="8566069" y="2207611"/>
                <a:ext cx="182340" cy="519688"/>
              </a:xfrm>
              <a:custGeom>
                <a:avLst/>
                <a:gdLst>
                  <a:gd name="connsiteX0" fmla="*/ 69246 w 182340"/>
                  <a:gd name="connsiteY0" fmla="*/ 495409 h 519688"/>
                  <a:gd name="connsiteX1" fmla="*/ 180783 w 182340"/>
                  <a:gd name="connsiteY1" fmla="*/ 40780 h 519688"/>
                  <a:gd name="connsiteX2" fmla="*/ 152303 w 182340"/>
                  <a:gd name="connsiteY2" fmla="*/ 404 h 519688"/>
                  <a:gd name="connsiteX3" fmla="*/ 152208 w 182340"/>
                  <a:gd name="connsiteY3" fmla="*/ 394 h 519688"/>
                  <a:gd name="connsiteX4" fmla="*/ 151542 w 182340"/>
                  <a:gd name="connsiteY4" fmla="*/ 394 h 519688"/>
                  <a:gd name="connsiteX5" fmla="*/ 109727 w 182340"/>
                  <a:gd name="connsiteY5" fmla="*/ 27540 h 519688"/>
                  <a:gd name="connsiteX6" fmla="*/ 189 w 182340"/>
                  <a:gd name="connsiteY6" fmla="*/ 474167 h 519688"/>
                  <a:gd name="connsiteX7" fmla="*/ 24383 w 182340"/>
                  <a:gd name="connsiteY7" fmla="*/ 517601 h 519688"/>
                  <a:gd name="connsiteX8" fmla="*/ 25049 w 182340"/>
                  <a:gd name="connsiteY8" fmla="*/ 517601 h 519688"/>
                  <a:gd name="connsiteX9" fmla="*/ 69246 w 182340"/>
                  <a:gd name="connsiteY9" fmla="*/ 495437 h 519688"/>
                  <a:gd name="connsiteX10" fmla="*/ 69246 w 182340"/>
                  <a:gd name="connsiteY10" fmla="*/ 495409 h 519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2340" h="519688">
                    <a:moveTo>
                      <a:pt x="69246" y="495409"/>
                    </a:moveTo>
                    <a:cubicBezTo>
                      <a:pt x="114871" y="346056"/>
                      <a:pt x="152114" y="194276"/>
                      <a:pt x="180783" y="40780"/>
                    </a:cubicBezTo>
                    <a:cubicBezTo>
                      <a:pt x="184022" y="21749"/>
                      <a:pt x="171258" y="3680"/>
                      <a:pt x="152303" y="404"/>
                    </a:cubicBezTo>
                    <a:cubicBezTo>
                      <a:pt x="152208" y="404"/>
                      <a:pt x="152208" y="394"/>
                      <a:pt x="152208" y="394"/>
                    </a:cubicBezTo>
                    <a:lnTo>
                      <a:pt x="151542" y="394"/>
                    </a:lnTo>
                    <a:cubicBezTo>
                      <a:pt x="132587" y="-3387"/>
                      <a:pt x="114014" y="8652"/>
                      <a:pt x="109727" y="27540"/>
                    </a:cubicBezTo>
                    <a:cubicBezTo>
                      <a:pt x="81533" y="178340"/>
                      <a:pt x="44958" y="327444"/>
                      <a:pt x="189" y="474167"/>
                    </a:cubicBezTo>
                    <a:cubicBezTo>
                      <a:pt x="-4859" y="492808"/>
                      <a:pt x="5904" y="512077"/>
                      <a:pt x="24383" y="517601"/>
                    </a:cubicBezTo>
                    <a:lnTo>
                      <a:pt x="25049" y="517601"/>
                    </a:lnTo>
                    <a:cubicBezTo>
                      <a:pt x="43338" y="523678"/>
                      <a:pt x="63149" y="513753"/>
                      <a:pt x="69246" y="495437"/>
                    </a:cubicBezTo>
                    <a:cubicBezTo>
                      <a:pt x="69246" y="495427"/>
                      <a:pt x="69246" y="495418"/>
                      <a:pt x="69246" y="49540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0" name="Freeform: Shape 179">
                <a:extLst>
                  <a:ext uri="{FF2B5EF4-FFF2-40B4-BE49-F238E27FC236}">
                    <a16:creationId xmlns:a16="http://schemas.microsoft.com/office/drawing/2014/main" id="{63521810-7603-4AEF-8D35-1B8EFDE1852A}"/>
                  </a:ext>
                </a:extLst>
              </p:cNvPr>
              <p:cNvSpPr/>
              <p:nvPr/>
            </p:nvSpPr>
            <p:spPr>
              <a:xfrm>
                <a:off x="8284367" y="2800939"/>
                <a:ext cx="306545" cy="615380"/>
              </a:xfrm>
              <a:custGeom>
                <a:avLst/>
                <a:gdLst>
                  <a:gd name="connsiteX0" fmla="*/ 66626 w 306545"/>
                  <a:gd name="connsiteY0" fmla="*/ 597500 h 615380"/>
                  <a:gd name="connsiteX1" fmla="*/ 303704 w 306545"/>
                  <a:gd name="connsiteY1" fmla="*/ 46479 h 615380"/>
                  <a:gd name="connsiteX2" fmla="*/ 281320 w 306545"/>
                  <a:gd name="connsiteY2" fmla="*/ 1959 h 615380"/>
                  <a:gd name="connsiteX3" fmla="*/ 280844 w 306545"/>
                  <a:gd name="connsiteY3" fmla="*/ 1806 h 615380"/>
                  <a:gd name="connsiteX4" fmla="*/ 234934 w 306545"/>
                  <a:gd name="connsiteY4" fmla="*/ 22666 h 615380"/>
                  <a:gd name="connsiteX5" fmla="*/ 2047 w 306545"/>
                  <a:gd name="connsiteY5" fmla="*/ 563877 h 615380"/>
                  <a:gd name="connsiteX6" fmla="*/ 20716 w 306545"/>
                  <a:gd name="connsiteY6" fmla="*/ 611978 h 615380"/>
                  <a:gd name="connsiteX7" fmla="*/ 66626 w 306545"/>
                  <a:gd name="connsiteY7" fmla="*/ 597500 h 615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6545" h="615380">
                    <a:moveTo>
                      <a:pt x="66626" y="597500"/>
                    </a:moveTo>
                    <a:cubicBezTo>
                      <a:pt x="158923" y="419811"/>
                      <a:pt x="238172" y="235655"/>
                      <a:pt x="303704" y="46479"/>
                    </a:cubicBezTo>
                    <a:cubicBezTo>
                      <a:pt x="309800" y="28000"/>
                      <a:pt x="299798" y="8064"/>
                      <a:pt x="281320" y="1959"/>
                    </a:cubicBezTo>
                    <a:cubicBezTo>
                      <a:pt x="281130" y="1902"/>
                      <a:pt x="281034" y="1854"/>
                      <a:pt x="280844" y="1806"/>
                    </a:cubicBezTo>
                    <a:cubicBezTo>
                      <a:pt x="262460" y="-4747"/>
                      <a:pt x="242077" y="4483"/>
                      <a:pt x="234934" y="22666"/>
                    </a:cubicBezTo>
                    <a:cubicBezTo>
                      <a:pt x="170544" y="208461"/>
                      <a:pt x="92629" y="389340"/>
                      <a:pt x="2047" y="563877"/>
                    </a:cubicBezTo>
                    <a:cubicBezTo>
                      <a:pt x="-6049" y="582317"/>
                      <a:pt x="2237" y="603843"/>
                      <a:pt x="20716" y="611978"/>
                    </a:cubicBezTo>
                    <a:cubicBezTo>
                      <a:pt x="37479" y="619369"/>
                      <a:pt x="57101" y="613168"/>
                      <a:pt x="66626" y="5975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1" name="Freeform: Shape 180">
                <a:extLst>
                  <a:ext uri="{FF2B5EF4-FFF2-40B4-BE49-F238E27FC236}">
                    <a16:creationId xmlns:a16="http://schemas.microsoft.com/office/drawing/2014/main" id="{B66B83C3-F110-473D-A5FD-4C1412549DB7}"/>
                  </a:ext>
                </a:extLst>
              </p:cNvPr>
              <p:cNvSpPr/>
              <p:nvPr/>
            </p:nvSpPr>
            <p:spPr>
              <a:xfrm>
                <a:off x="8783006" y="2344791"/>
                <a:ext cx="93579" cy="164683"/>
              </a:xfrm>
              <a:custGeom>
                <a:avLst/>
                <a:gdLst>
                  <a:gd name="connsiteX0" fmla="*/ 70526 w 93579"/>
                  <a:gd name="connsiteY0" fmla="*/ 137248 h 164683"/>
                  <a:gd name="connsiteX1" fmla="*/ 91672 w 93579"/>
                  <a:gd name="connsiteY1" fmla="*/ 43332 h 164683"/>
                  <a:gd name="connsiteX2" fmla="*/ 64240 w 93579"/>
                  <a:gd name="connsiteY2" fmla="*/ 574 h 164683"/>
                  <a:gd name="connsiteX3" fmla="*/ 63764 w 93579"/>
                  <a:gd name="connsiteY3" fmla="*/ 469 h 164683"/>
                  <a:gd name="connsiteX4" fmla="*/ 20520 w 93579"/>
                  <a:gd name="connsiteY4" fmla="*/ 28092 h 164683"/>
                  <a:gd name="connsiteX5" fmla="*/ -245 w 93579"/>
                  <a:gd name="connsiteY5" fmla="*/ 120389 h 164683"/>
                  <a:gd name="connsiteX6" fmla="*/ 27759 w 93579"/>
                  <a:gd name="connsiteY6" fmla="*/ 163575 h 164683"/>
                  <a:gd name="connsiteX7" fmla="*/ 70526 w 93579"/>
                  <a:gd name="connsiteY7" fmla="*/ 137248 h 164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3579" h="164683">
                    <a:moveTo>
                      <a:pt x="70526" y="137248"/>
                    </a:moveTo>
                    <a:cubicBezTo>
                      <a:pt x="78527" y="106101"/>
                      <a:pt x="84623" y="74574"/>
                      <a:pt x="91672" y="43332"/>
                    </a:cubicBezTo>
                    <a:cubicBezTo>
                      <a:pt x="95959" y="23958"/>
                      <a:pt x="83671" y="4812"/>
                      <a:pt x="64240" y="574"/>
                    </a:cubicBezTo>
                    <a:cubicBezTo>
                      <a:pt x="64144" y="536"/>
                      <a:pt x="63954" y="507"/>
                      <a:pt x="63764" y="469"/>
                    </a:cubicBezTo>
                    <a:cubicBezTo>
                      <a:pt x="44237" y="-3570"/>
                      <a:pt x="25092" y="8689"/>
                      <a:pt x="20520" y="28092"/>
                    </a:cubicBezTo>
                    <a:cubicBezTo>
                      <a:pt x="13663" y="58857"/>
                      <a:pt x="7566" y="89814"/>
                      <a:pt x="-245" y="120389"/>
                    </a:cubicBezTo>
                    <a:cubicBezTo>
                      <a:pt x="-4435" y="140039"/>
                      <a:pt x="8042" y="159375"/>
                      <a:pt x="27759" y="163575"/>
                    </a:cubicBezTo>
                    <a:cubicBezTo>
                      <a:pt x="46714" y="167633"/>
                      <a:pt x="65573" y="156041"/>
                      <a:pt x="70526" y="13724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2" name="Freeform: Shape 181">
                <a:extLst>
                  <a:ext uri="{FF2B5EF4-FFF2-40B4-BE49-F238E27FC236}">
                    <a16:creationId xmlns:a16="http://schemas.microsoft.com/office/drawing/2014/main" id="{5F98CF24-9D88-4B75-8B2D-759A40ED1200}"/>
                  </a:ext>
                </a:extLst>
              </p:cNvPr>
              <p:cNvSpPr/>
              <p:nvPr/>
            </p:nvSpPr>
            <p:spPr>
              <a:xfrm>
                <a:off x="7325316" y="3996826"/>
                <a:ext cx="802986" cy="837651"/>
              </a:xfrm>
              <a:custGeom>
                <a:avLst/>
                <a:gdLst>
                  <a:gd name="connsiteX0" fmla="*/ 58033 w 802986"/>
                  <a:gd name="connsiteY0" fmla="*/ 829124 h 837651"/>
                  <a:gd name="connsiteX1" fmla="*/ 794982 w 802986"/>
                  <a:gd name="connsiteY1" fmla="*/ 57599 h 837651"/>
                  <a:gd name="connsiteX2" fmla="*/ 786981 w 802986"/>
                  <a:gd name="connsiteY2" fmla="*/ 6736 h 837651"/>
                  <a:gd name="connsiteX3" fmla="*/ 786981 w 802986"/>
                  <a:gd name="connsiteY3" fmla="*/ 6736 h 837651"/>
                  <a:gd name="connsiteX4" fmla="*/ 736594 w 802986"/>
                  <a:gd name="connsiteY4" fmla="*/ 14165 h 837651"/>
                  <a:gd name="connsiteX5" fmla="*/ 398171 w 802986"/>
                  <a:gd name="connsiteY5" fmla="*/ 415930 h 837651"/>
                  <a:gd name="connsiteX6" fmla="*/ 12313 w 802986"/>
                  <a:gd name="connsiteY6" fmla="*/ 772737 h 837651"/>
                  <a:gd name="connsiteX7" fmla="*/ 7169 w 802986"/>
                  <a:gd name="connsiteY7" fmla="*/ 823981 h 837651"/>
                  <a:gd name="connsiteX8" fmla="*/ 58413 w 802986"/>
                  <a:gd name="connsiteY8" fmla="*/ 829124 h 837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02986" h="837651">
                    <a:moveTo>
                      <a:pt x="58033" y="829124"/>
                    </a:moveTo>
                    <a:cubicBezTo>
                      <a:pt x="334543" y="603306"/>
                      <a:pt x="582099" y="344159"/>
                      <a:pt x="794982" y="57599"/>
                    </a:cubicBezTo>
                    <a:cubicBezTo>
                      <a:pt x="806793" y="41331"/>
                      <a:pt x="803174" y="18595"/>
                      <a:pt x="786981" y="6736"/>
                    </a:cubicBezTo>
                    <a:lnTo>
                      <a:pt x="786981" y="6736"/>
                    </a:lnTo>
                    <a:cubicBezTo>
                      <a:pt x="770979" y="-5018"/>
                      <a:pt x="748500" y="-1713"/>
                      <a:pt x="736594" y="14165"/>
                    </a:cubicBezTo>
                    <a:cubicBezTo>
                      <a:pt x="631914" y="154754"/>
                      <a:pt x="518948" y="288914"/>
                      <a:pt x="398171" y="415930"/>
                    </a:cubicBezTo>
                    <a:cubicBezTo>
                      <a:pt x="276917" y="542574"/>
                      <a:pt x="148044" y="661732"/>
                      <a:pt x="12313" y="772737"/>
                    </a:cubicBezTo>
                    <a:cubicBezTo>
                      <a:pt x="-3213" y="785472"/>
                      <a:pt x="-5594" y="808408"/>
                      <a:pt x="7169" y="823981"/>
                    </a:cubicBezTo>
                    <a:cubicBezTo>
                      <a:pt x="19933" y="839555"/>
                      <a:pt x="42888" y="841860"/>
                      <a:pt x="58413" y="82912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3" name="Freeform: Shape 182">
                <a:extLst>
                  <a:ext uri="{FF2B5EF4-FFF2-40B4-BE49-F238E27FC236}">
                    <a16:creationId xmlns:a16="http://schemas.microsoft.com/office/drawing/2014/main" id="{543F9B47-DF2E-42ED-9138-5BA886A9D596}"/>
                  </a:ext>
                </a:extLst>
              </p:cNvPr>
              <p:cNvSpPr/>
              <p:nvPr/>
            </p:nvSpPr>
            <p:spPr>
              <a:xfrm>
                <a:off x="8325903" y="2611678"/>
                <a:ext cx="484616" cy="1046901"/>
              </a:xfrm>
              <a:custGeom>
                <a:avLst/>
                <a:gdLst>
                  <a:gd name="connsiteX0" fmla="*/ 66905 w 484616"/>
                  <a:gd name="connsiteY0" fmla="*/ 1028410 h 1046901"/>
                  <a:gd name="connsiteX1" fmla="*/ 482291 w 484616"/>
                  <a:gd name="connsiteY1" fmla="*/ 45716 h 1046901"/>
                  <a:gd name="connsiteX2" fmla="*/ 456668 w 484616"/>
                  <a:gd name="connsiteY2" fmla="*/ 1044 h 1046901"/>
                  <a:gd name="connsiteX3" fmla="*/ 412282 w 484616"/>
                  <a:gd name="connsiteY3" fmla="*/ 26000 h 1046901"/>
                  <a:gd name="connsiteX4" fmla="*/ 412282 w 484616"/>
                  <a:gd name="connsiteY4" fmla="*/ 26000 h 1046901"/>
                  <a:gd name="connsiteX5" fmla="*/ 3850 w 484616"/>
                  <a:gd name="connsiteY5" fmla="*/ 991930 h 1046901"/>
                  <a:gd name="connsiteX6" fmla="*/ 17185 w 484616"/>
                  <a:gd name="connsiteY6" fmla="*/ 1041698 h 1046901"/>
                  <a:gd name="connsiteX7" fmla="*/ 66905 w 484616"/>
                  <a:gd name="connsiteY7" fmla="*/ 1028410 h 1046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4616" h="1046901">
                    <a:moveTo>
                      <a:pt x="66905" y="1028410"/>
                    </a:moveTo>
                    <a:cubicBezTo>
                      <a:pt x="245785" y="719439"/>
                      <a:pt x="385326" y="389312"/>
                      <a:pt x="482291" y="45716"/>
                    </a:cubicBezTo>
                    <a:cubicBezTo>
                      <a:pt x="487530" y="26314"/>
                      <a:pt x="476099" y="6340"/>
                      <a:pt x="456668" y="1044"/>
                    </a:cubicBezTo>
                    <a:cubicBezTo>
                      <a:pt x="437523" y="-4318"/>
                      <a:pt x="417615" y="6845"/>
                      <a:pt x="412282" y="26000"/>
                    </a:cubicBezTo>
                    <a:cubicBezTo>
                      <a:pt x="412282" y="26000"/>
                      <a:pt x="412282" y="26000"/>
                      <a:pt x="412282" y="26000"/>
                    </a:cubicBezTo>
                    <a:cubicBezTo>
                      <a:pt x="316937" y="363728"/>
                      <a:pt x="179681" y="688225"/>
                      <a:pt x="3850" y="991930"/>
                    </a:cubicBezTo>
                    <a:cubicBezTo>
                      <a:pt x="-6247" y="1009342"/>
                      <a:pt x="-246" y="1031621"/>
                      <a:pt x="17185" y="1041698"/>
                    </a:cubicBezTo>
                    <a:cubicBezTo>
                      <a:pt x="34520" y="1051775"/>
                      <a:pt x="56808" y="1045822"/>
                      <a:pt x="66905" y="10284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4" name="Freeform: Shape 183">
                <a:extLst>
                  <a:ext uri="{FF2B5EF4-FFF2-40B4-BE49-F238E27FC236}">
                    <a16:creationId xmlns:a16="http://schemas.microsoft.com/office/drawing/2014/main" id="{47E71046-EB56-4155-B88E-658A2A43E80E}"/>
                  </a:ext>
                </a:extLst>
              </p:cNvPr>
              <p:cNvSpPr/>
              <p:nvPr/>
            </p:nvSpPr>
            <p:spPr>
              <a:xfrm>
                <a:off x="6132602" y="4956726"/>
                <a:ext cx="1007709" cy="566475"/>
              </a:xfrm>
              <a:custGeom>
                <a:avLst/>
                <a:gdLst>
                  <a:gd name="connsiteX0" fmla="*/ 47835 w 1007709"/>
                  <a:gd name="connsiteY0" fmla="*/ 563884 h 566475"/>
                  <a:gd name="connsiteX1" fmla="*/ 294913 w 1007709"/>
                  <a:gd name="connsiteY1" fmla="*/ 461871 h 566475"/>
                  <a:gd name="connsiteX2" fmla="*/ 534944 w 1007709"/>
                  <a:gd name="connsiteY2" fmla="*/ 344142 h 566475"/>
                  <a:gd name="connsiteX3" fmla="*/ 767449 w 1007709"/>
                  <a:gd name="connsiteY3" fmla="*/ 212125 h 566475"/>
                  <a:gd name="connsiteX4" fmla="*/ 880416 w 1007709"/>
                  <a:gd name="connsiteY4" fmla="*/ 140593 h 566475"/>
                  <a:gd name="connsiteX5" fmla="*/ 936232 w 1007709"/>
                  <a:gd name="connsiteY5" fmla="*/ 103826 h 566475"/>
                  <a:gd name="connsiteX6" fmla="*/ 991191 w 1007709"/>
                  <a:gd name="connsiteY6" fmla="*/ 65726 h 566475"/>
                  <a:gd name="connsiteX7" fmla="*/ 1000240 w 1007709"/>
                  <a:gd name="connsiteY7" fmla="*/ 15758 h 566475"/>
                  <a:gd name="connsiteX8" fmla="*/ 999954 w 1007709"/>
                  <a:gd name="connsiteY8" fmla="*/ 15339 h 566475"/>
                  <a:gd name="connsiteX9" fmla="*/ 949567 w 1007709"/>
                  <a:gd name="connsiteY9" fmla="*/ 5814 h 566475"/>
                  <a:gd name="connsiteX10" fmla="*/ 895465 w 1007709"/>
                  <a:gd name="connsiteY10" fmla="*/ 43247 h 566475"/>
                  <a:gd name="connsiteX11" fmla="*/ 840601 w 1007709"/>
                  <a:gd name="connsiteY11" fmla="*/ 79442 h 566475"/>
                  <a:gd name="connsiteX12" fmla="*/ 729634 w 1007709"/>
                  <a:gd name="connsiteY12" fmla="*/ 149736 h 566475"/>
                  <a:gd name="connsiteX13" fmla="*/ 501034 w 1007709"/>
                  <a:gd name="connsiteY13" fmla="*/ 279467 h 566475"/>
                  <a:gd name="connsiteX14" fmla="*/ 265005 w 1007709"/>
                  <a:gd name="connsiteY14" fmla="*/ 395196 h 566475"/>
                  <a:gd name="connsiteX15" fmla="*/ 22118 w 1007709"/>
                  <a:gd name="connsiteY15" fmla="*/ 495494 h 566475"/>
                  <a:gd name="connsiteX16" fmla="*/ 1258 w 1007709"/>
                  <a:gd name="connsiteY16" fmla="*/ 542357 h 566475"/>
                  <a:gd name="connsiteX17" fmla="*/ 47454 w 1007709"/>
                  <a:gd name="connsiteY17" fmla="*/ 564008 h 566475"/>
                  <a:gd name="connsiteX18" fmla="*/ 47835 w 1007709"/>
                  <a:gd name="connsiteY18" fmla="*/ 563884 h 566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07709" h="566475">
                    <a:moveTo>
                      <a:pt x="47835" y="563884"/>
                    </a:moveTo>
                    <a:cubicBezTo>
                      <a:pt x="131465" y="532928"/>
                      <a:pt x="213379" y="497780"/>
                      <a:pt x="294913" y="461871"/>
                    </a:cubicBezTo>
                    <a:cubicBezTo>
                      <a:pt x="375875" y="424533"/>
                      <a:pt x="456838" y="386242"/>
                      <a:pt x="534944" y="344142"/>
                    </a:cubicBezTo>
                    <a:cubicBezTo>
                      <a:pt x="613048" y="302041"/>
                      <a:pt x="691154" y="258417"/>
                      <a:pt x="767449" y="212125"/>
                    </a:cubicBezTo>
                    <a:cubicBezTo>
                      <a:pt x="805549" y="188408"/>
                      <a:pt x="843649" y="165548"/>
                      <a:pt x="880416" y="140593"/>
                    </a:cubicBezTo>
                    <a:lnTo>
                      <a:pt x="936232" y="103826"/>
                    </a:lnTo>
                    <a:lnTo>
                      <a:pt x="991191" y="65726"/>
                    </a:lnTo>
                    <a:cubicBezTo>
                      <a:pt x="1007479" y="54429"/>
                      <a:pt x="1011575" y="32055"/>
                      <a:pt x="1000240" y="15758"/>
                    </a:cubicBezTo>
                    <a:cubicBezTo>
                      <a:pt x="1000144" y="15615"/>
                      <a:pt x="1000049" y="15482"/>
                      <a:pt x="999954" y="15339"/>
                    </a:cubicBezTo>
                    <a:cubicBezTo>
                      <a:pt x="988524" y="-958"/>
                      <a:pt x="966141" y="-5178"/>
                      <a:pt x="949567" y="5814"/>
                    </a:cubicBezTo>
                    <a:lnTo>
                      <a:pt x="895465" y="43247"/>
                    </a:lnTo>
                    <a:lnTo>
                      <a:pt x="840601" y="79442"/>
                    </a:lnTo>
                    <a:cubicBezTo>
                      <a:pt x="804311" y="103921"/>
                      <a:pt x="766591" y="126400"/>
                      <a:pt x="729634" y="149736"/>
                    </a:cubicBezTo>
                    <a:cubicBezTo>
                      <a:pt x="654577" y="194980"/>
                      <a:pt x="578663" y="238986"/>
                      <a:pt x="501034" y="279467"/>
                    </a:cubicBezTo>
                    <a:cubicBezTo>
                      <a:pt x="423406" y="319948"/>
                      <a:pt x="344539" y="358525"/>
                      <a:pt x="265005" y="395196"/>
                    </a:cubicBezTo>
                    <a:cubicBezTo>
                      <a:pt x="185471" y="431867"/>
                      <a:pt x="104319" y="465110"/>
                      <a:pt x="22118" y="495494"/>
                    </a:cubicBezTo>
                    <a:cubicBezTo>
                      <a:pt x="3543" y="502847"/>
                      <a:pt x="-5696" y="523660"/>
                      <a:pt x="1258" y="542357"/>
                    </a:cubicBezTo>
                    <a:cubicBezTo>
                      <a:pt x="8020" y="561102"/>
                      <a:pt x="28785" y="570799"/>
                      <a:pt x="47454" y="564008"/>
                    </a:cubicBezTo>
                    <a:cubicBezTo>
                      <a:pt x="47644" y="563969"/>
                      <a:pt x="47740" y="563922"/>
                      <a:pt x="47835" y="56388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5" name="Freeform: Shape 184">
                <a:extLst>
                  <a:ext uri="{FF2B5EF4-FFF2-40B4-BE49-F238E27FC236}">
                    <a16:creationId xmlns:a16="http://schemas.microsoft.com/office/drawing/2014/main" id="{B7A882C7-423A-473E-A220-6C42DF91B2A6}"/>
                  </a:ext>
                </a:extLst>
              </p:cNvPr>
              <p:cNvSpPr/>
              <p:nvPr/>
            </p:nvSpPr>
            <p:spPr>
              <a:xfrm>
                <a:off x="8645123" y="2155284"/>
                <a:ext cx="422373" cy="1219093"/>
              </a:xfrm>
              <a:custGeom>
                <a:avLst/>
                <a:gdLst>
                  <a:gd name="connsiteX0" fmla="*/ 68298 w 422373"/>
                  <a:gd name="connsiteY0" fmla="*/ 1197626 h 1219093"/>
                  <a:gd name="connsiteX1" fmla="*/ 420723 w 422373"/>
                  <a:gd name="connsiteY1" fmla="*/ 42720 h 1219093"/>
                  <a:gd name="connsiteX2" fmla="*/ 391194 w 422373"/>
                  <a:gd name="connsiteY2" fmla="*/ 96 h 1219093"/>
                  <a:gd name="connsiteX3" fmla="*/ 390909 w 422373"/>
                  <a:gd name="connsiteY3" fmla="*/ 48 h 1219093"/>
                  <a:gd name="connsiteX4" fmla="*/ 348904 w 422373"/>
                  <a:gd name="connsiteY4" fmla="*/ 31099 h 1219093"/>
                  <a:gd name="connsiteX5" fmla="*/ 2289 w 422373"/>
                  <a:gd name="connsiteY5" fmla="*/ 1167146 h 1219093"/>
                  <a:gd name="connsiteX6" fmla="*/ 20101 w 422373"/>
                  <a:gd name="connsiteY6" fmla="*/ 1215438 h 1219093"/>
                  <a:gd name="connsiteX7" fmla="*/ 68392 w 422373"/>
                  <a:gd name="connsiteY7" fmla="*/ 1197626 h 1219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2373" h="1219093">
                    <a:moveTo>
                      <a:pt x="68298" y="1197626"/>
                    </a:moveTo>
                    <a:cubicBezTo>
                      <a:pt x="237937" y="830533"/>
                      <a:pt x="356429" y="441960"/>
                      <a:pt x="420723" y="42720"/>
                    </a:cubicBezTo>
                    <a:cubicBezTo>
                      <a:pt x="424342" y="22794"/>
                      <a:pt x="411102" y="3706"/>
                      <a:pt x="391194" y="96"/>
                    </a:cubicBezTo>
                    <a:cubicBezTo>
                      <a:pt x="391099" y="76"/>
                      <a:pt x="391005" y="67"/>
                      <a:pt x="390909" y="48"/>
                    </a:cubicBezTo>
                    <a:cubicBezTo>
                      <a:pt x="370811" y="-2695"/>
                      <a:pt x="352142" y="11078"/>
                      <a:pt x="348904" y="31099"/>
                    </a:cubicBezTo>
                    <a:cubicBezTo>
                      <a:pt x="285753" y="423815"/>
                      <a:pt x="169072" y="806044"/>
                      <a:pt x="2289" y="1167146"/>
                    </a:cubicBezTo>
                    <a:cubicBezTo>
                      <a:pt x="-6093" y="1185396"/>
                      <a:pt x="1812" y="1207018"/>
                      <a:pt x="20101" y="1215438"/>
                    </a:cubicBezTo>
                    <a:cubicBezTo>
                      <a:pt x="38389" y="1223858"/>
                      <a:pt x="60011" y="1215886"/>
                      <a:pt x="68392" y="119762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6" name="Freeform: Shape 185">
                <a:extLst>
                  <a:ext uri="{FF2B5EF4-FFF2-40B4-BE49-F238E27FC236}">
                    <a16:creationId xmlns:a16="http://schemas.microsoft.com/office/drawing/2014/main" id="{12E42D99-4A92-4332-9221-322253B8C946}"/>
                  </a:ext>
                </a:extLst>
              </p:cNvPr>
              <p:cNvSpPr/>
              <p:nvPr/>
            </p:nvSpPr>
            <p:spPr>
              <a:xfrm>
                <a:off x="9119154" y="1658191"/>
                <a:ext cx="153002" cy="743007"/>
              </a:xfrm>
              <a:custGeom>
                <a:avLst/>
                <a:gdLst>
                  <a:gd name="connsiteX0" fmla="*/ 71183 w 153002"/>
                  <a:gd name="connsiteY0" fmla="*/ 711263 h 743007"/>
                  <a:gd name="connsiteX1" fmla="*/ 151669 w 153002"/>
                  <a:gd name="connsiteY1" fmla="*/ 40608 h 743007"/>
                  <a:gd name="connsiteX2" fmla="*/ 119856 w 153002"/>
                  <a:gd name="connsiteY2" fmla="*/ -26 h 743007"/>
                  <a:gd name="connsiteX3" fmla="*/ 79279 w 153002"/>
                  <a:gd name="connsiteY3" fmla="*/ 31759 h 743007"/>
                  <a:gd name="connsiteX4" fmla="*/ 78993 w 153002"/>
                  <a:gd name="connsiteY4" fmla="*/ 37274 h 743007"/>
                  <a:gd name="connsiteX5" fmla="*/ -254 w 153002"/>
                  <a:gd name="connsiteY5" fmla="*/ 697356 h 743007"/>
                  <a:gd name="connsiteX6" fmla="*/ 28321 w 153002"/>
                  <a:gd name="connsiteY6" fmla="*/ 742219 h 743007"/>
                  <a:gd name="connsiteX7" fmla="*/ 71183 w 153002"/>
                  <a:gd name="connsiteY7" fmla="*/ 711358 h 743007"/>
                  <a:gd name="connsiteX8" fmla="*/ 71183 w 153002"/>
                  <a:gd name="connsiteY8" fmla="*/ 711263 h 743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3002" h="743007">
                    <a:moveTo>
                      <a:pt x="71183" y="711263"/>
                    </a:moveTo>
                    <a:cubicBezTo>
                      <a:pt x="114236" y="489959"/>
                      <a:pt x="141192" y="265817"/>
                      <a:pt x="151669" y="40608"/>
                    </a:cubicBezTo>
                    <a:cubicBezTo>
                      <a:pt x="154145" y="20605"/>
                      <a:pt x="139858" y="2412"/>
                      <a:pt x="119856" y="-26"/>
                    </a:cubicBezTo>
                    <a:cubicBezTo>
                      <a:pt x="99853" y="-2474"/>
                      <a:pt x="81660" y="11756"/>
                      <a:pt x="79279" y="31759"/>
                    </a:cubicBezTo>
                    <a:cubicBezTo>
                      <a:pt x="78993" y="33588"/>
                      <a:pt x="78899" y="35436"/>
                      <a:pt x="78993" y="37274"/>
                    </a:cubicBezTo>
                    <a:cubicBezTo>
                      <a:pt x="68611" y="258930"/>
                      <a:pt x="42131" y="479548"/>
                      <a:pt x="-254" y="697356"/>
                    </a:cubicBezTo>
                    <a:cubicBezTo>
                      <a:pt x="-4445" y="717588"/>
                      <a:pt x="8223" y="737485"/>
                      <a:pt x="28321" y="742219"/>
                    </a:cubicBezTo>
                    <a:cubicBezTo>
                      <a:pt x="48704" y="745524"/>
                      <a:pt x="67850" y="731713"/>
                      <a:pt x="71183" y="711358"/>
                    </a:cubicBezTo>
                    <a:cubicBezTo>
                      <a:pt x="71183" y="711329"/>
                      <a:pt x="71183" y="711291"/>
                      <a:pt x="71183" y="71126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7" name="Freeform: Shape 186">
                <a:extLst>
                  <a:ext uri="{FF2B5EF4-FFF2-40B4-BE49-F238E27FC236}">
                    <a16:creationId xmlns:a16="http://schemas.microsoft.com/office/drawing/2014/main" id="{E14CC9AB-41EA-4605-9960-B6CF96766CFF}"/>
                  </a:ext>
                </a:extLst>
              </p:cNvPr>
              <p:cNvSpPr/>
              <p:nvPr/>
            </p:nvSpPr>
            <p:spPr>
              <a:xfrm>
                <a:off x="8923711" y="2531898"/>
                <a:ext cx="223328" cy="568922"/>
              </a:xfrm>
              <a:custGeom>
                <a:avLst/>
                <a:gdLst>
                  <a:gd name="connsiteX0" fmla="*/ 70030 w 223328"/>
                  <a:gd name="connsiteY0" fmla="*/ 543358 h 568922"/>
                  <a:gd name="connsiteX1" fmla="*/ 220906 w 223328"/>
                  <a:gd name="connsiteY1" fmla="*/ 46534 h 568922"/>
                  <a:gd name="connsiteX2" fmla="*/ 194807 w 223328"/>
                  <a:gd name="connsiteY2" fmla="*/ 462 h 568922"/>
                  <a:gd name="connsiteX3" fmla="*/ 194712 w 223328"/>
                  <a:gd name="connsiteY3" fmla="*/ 433 h 568922"/>
                  <a:gd name="connsiteX4" fmla="*/ 150231 w 223328"/>
                  <a:gd name="connsiteY4" fmla="*/ 29008 h 568922"/>
                  <a:gd name="connsiteX5" fmla="*/ 1735 w 223328"/>
                  <a:gd name="connsiteY5" fmla="*/ 518022 h 568922"/>
                  <a:gd name="connsiteX6" fmla="*/ 22214 w 223328"/>
                  <a:gd name="connsiteY6" fmla="*/ 566694 h 568922"/>
                  <a:gd name="connsiteX7" fmla="*/ 22214 w 223328"/>
                  <a:gd name="connsiteY7" fmla="*/ 566694 h 568922"/>
                  <a:gd name="connsiteX8" fmla="*/ 70030 w 223328"/>
                  <a:gd name="connsiteY8" fmla="*/ 543358 h 568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3328" h="568922">
                    <a:moveTo>
                      <a:pt x="70030" y="543358"/>
                    </a:moveTo>
                    <a:cubicBezTo>
                      <a:pt x="129561" y="380700"/>
                      <a:pt x="179949" y="214831"/>
                      <a:pt x="220906" y="46534"/>
                    </a:cubicBezTo>
                    <a:cubicBezTo>
                      <a:pt x="226431" y="26608"/>
                      <a:pt x="214715" y="5986"/>
                      <a:pt x="194807" y="462"/>
                    </a:cubicBezTo>
                    <a:cubicBezTo>
                      <a:pt x="194807" y="452"/>
                      <a:pt x="194712" y="442"/>
                      <a:pt x="194712" y="433"/>
                    </a:cubicBezTo>
                    <a:cubicBezTo>
                      <a:pt x="174614" y="-3548"/>
                      <a:pt x="154993" y="9072"/>
                      <a:pt x="150231" y="29008"/>
                    </a:cubicBezTo>
                    <a:cubicBezTo>
                      <a:pt x="109940" y="194667"/>
                      <a:pt x="60314" y="357925"/>
                      <a:pt x="1735" y="518022"/>
                    </a:cubicBezTo>
                    <a:cubicBezTo>
                      <a:pt x="-6075" y="537119"/>
                      <a:pt x="3069" y="558903"/>
                      <a:pt x="22214" y="566694"/>
                    </a:cubicBezTo>
                    <a:cubicBezTo>
                      <a:pt x="22214" y="566694"/>
                      <a:pt x="22214" y="566694"/>
                      <a:pt x="22214" y="566694"/>
                    </a:cubicBezTo>
                    <a:cubicBezTo>
                      <a:pt x="41836" y="573171"/>
                      <a:pt x="63077" y="562818"/>
                      <a:pt x="70030" y="5433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8" name="Freeform: Shape 187">
                <a:extLst>
                  <a:ext uri="{FF2B5EF4-FFF2-40B4-BE49-F238E27FC236}">
                    <a16:creationId xmlns:a16="http://schemas.microsoft.com/office/drawing/2014/main" id="{CBDF6BEF-98BB-4BAA-829F-BA7255957F72}"/>
                  </a:ext>
                </a:extLst>
              </p:cNvPr>
              <p:cNvSpPr/>
              <p:nvPr/>
            </p:nvSpPr>
            <p:spPr>
              <a:xfrm>
                <a:off x="7470289" y="4590345"/>
                <a:ext cx="558317" cy="519540"/>
              </a:xfrm>
              <a:custGeom>
                <a:avLst/>
                <a:gdLst>
                  <a:gd name="connsiteX0" fmla="*/ 59078 w 558317"/>
                  <a:gd name="connsiteY0" fmla="*/ 510403 h 519540"/>
                  <a:gd name="connsiteX1" fmla="*/ 545805 w 558317"/>
                  <a:gd name="connsiteY1" fmla="*/ 62728 h 519540"/>
                  <a:gd name="connsiteX2" fmla="*/ 547330 w 558317"/>
                  <a:gd name="connsiteY2" fmla="*/ 11159 h 519540"/>
                  <a:gd name="connsiteX3" fmla="*/ 495799 w 558317"/>
                  <a:gd name="connsiteY3" fmla="*/ 9626 h 519540"/>
                  <a:gd name="connsiteX4" fmla="*/ 492847 w 558317"/>
                  <a:gd name="connsiteY4" fmla="*/ 12722 h 519540"/>
                  <a:gd name="connsiteX5" fmla="*/ 13739 w 558317"/>
                  <a:gd name="connsiteY5" fmla="*/ 453062 h 519540"/>
                  <a:gd name="connsiteX6" fmla="*/ 6214 w 558317"/>
                  <a:gd name="connsiteY6" fmla="*/ 505545 h 519540"/>
                  <a:gd name="connsiteX7" fmla="*/ 58507 w 558317"/>
                  <a:gd name="connsiteY7" fmla="*/ 510907 h 519540"/>
                  <a:gd name="connsiteX8" fmla="*/ 59078 w 558317"/>
                  <a:gd name="connsiteY8" fmla="*/ 510403 h 519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58317" h="519540">
                    <a:moveTo>
                      <a:pt x="59078" y="510403"/>
                    </a:moveTo>
                    <a:cubicBezTo>
                      <a:pt x="231671" y="372890"/>
                      <a:pt x="394357" y="223281"/>
                      <a:pt x="545805" y="62728"/>
                    </a:cubicBezTo>
                    <a:cubicBezTo>
                      <a:pt x="560474" y="48907"/>
                      <a:pt x="561140" y="25818"/>
                      <a:pt x="547330" y="11159"/>
                    </a:cubicBezTo>
                    <a:cubicBezTo>
                      <a:pt x="533519" y="-3500"/>
                      <a:pt x="510468" y="-4186"/>
                      <a:pt x="495799" y="9626"/>
                    </a:cubicBezTo>
                    <a:cubicBezTo>
                      <a:pt x="494751" y="10597"/>
                      <a:pt x="493799" y="11636"/>
                      <a:pt x="492847" y="12722"/>
                    </a:cubicBezTo>
                    <a:cubicBezTo>
                      <a:pt x="343780" y="170703"/>
                      <a:pt x="183665" y="317855"/>
                      <a:pt x="13739" y="453062"/>
                    </a:cubicBezTo>
                    <a:cubicBezTo>
                      <a:pt x="-2549" y="465654"/>
                      <a:pt x="-5882" y="488886"/>
                      <a:pt x="6214" y="505545"/>
                    </a:cubicBezTo>
                    <a:cubicBezTo>
                      <a:pt x="19169" y="521452"/>
                      <a:pt x="42600" y="523852"/>
                      <a:pt x="58507" y="510907"/>
                    </a:cubicBezTo>
                    <a:cubicBezTo>
                      <a:pt x="58697" y="510736"/>
                      <a:pt x="58887" y="510574"/>
                      <a:pt x="59078" y="5104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9" name="Freeform: Shape 188">
                <a:extLst>
                  <a:ext uri="{FF2B5EF4-FFF2-40B4-BE49-F238E27FC236}">
                    <a16:creationId xmlns:a16="http://schemas.microsoft.com/office/drawing/2014/main" id="{F3E9A026-8D33-4BE3-9552-50B400FF9358}"/>
                  </a:ext>
                </a:extLst>
              </p:cNvPr>
              <p:cNvSpPr/>
              <p:nvPr/>
            </p:nvSpPr>
            <p:spPr>
              <a:xfrm>
                <a:off x="6124119" y="5516715"/>
                <a:ext cx="679535" cy="334025"/>
              </a:xfrm>
              <a:custGeom>
                <a:avLst/>
                <a:gdLst>
                  <a:gd name="connsiteX0" fmla="*/ 49269 w 679535"/>
                  <a:gd name="connsiteY0" fmla="*/ 331078 h 334025"/>
                  <a:gd name="connsiteX1" fmla="*/ 656393 w 679535"/>
                  <a:gd name="connsiteY1" fmla="*/ 69712 h 334025"/>
                  <a:gd name="connsiteX2" fmla="*/ 675538 w 679535"/>
                  <a:gd name="connsiteY2" fmla="*/ 21802 h 334025"/>
                  <a:gd name="connsiteX3" fmla="*/ 627627 w 679535"/>
                  <a:gd name="connsiteY3" fmla="*/ 2666 h 334025"/>
                  <a:gd name="connsiteX4" fmla="*/ 622865 w 679535"/>
                  <a:gd name="connsiteY4" fmla="*/ 5133 h 334025"/>
                  <a:gd name="connsiteX5" fmla="*/ 24980 w 679535"/>
                  <a:gd name="connsiteY5" fmla="*/ 262308 h 334025"/>
                  <a:gd name="connsiteX6" fmla="*/ 597 w 679535"/>
                  <a:gd name="connsiteY6" fmla="*/ 309456 h 334025"/>
                  <a:gd name="connsiteX7" fmla="*/ 48508 w 679535"/>
                  <a:gd name="connsiteY7" fmla="*/ 331383 h 334025"/>
                  <a:gd name="connsiteX8" fmla="*/ 49269 w 679535"/>
                  <a:gd name="connsiteY8" fmla="*/ 331078 h 334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79535" h="334025">
                    <a:moveTo>
                      <a:pt x="49269" y="331078"/>
                    </a:moveTo>
                    <a:cubicBezTo>
                      <a:pt x="257676" y="258688"/>
                      <a:pt x="460558" y="171335"/>
                      <a:pt x="656393" y="69712"/>
                    </a:cubicBezTo>
                    <a:cubicBezTo>
                      <a:pt x="674871" y="61769"/>
                      <a:pt x="683443" y="40318"/>
                      <a:pt x="675538" y="21802"/>
                    </a:cubicBezTo>
                    <a:cubicBezTo>
                      <a:pt x="667633" y="3285"/>
                      <a:pt x="646106" y="-5278"/>
                      <a:pt x="627627" y="2666"/>
                    </a:cubicBezTo>
                    <a:cubicBezTo>
                      <a:pt x="626008" y="3370"/>
                      <a:pt x="624389" y="4190"/>
                      <a:pt x="622865" y="5133"/>
                    </a:cubicBezTo>
                    <a:cubicBezTo>
                      <a:pt x="429983" y="105146"/>
                      <a:pt x="230244" y="191089"/>
                      <a:pt x="24980" y="262308"/>
                    </a:cubicBezTo>
                    <a:cubicBezTo>
                      <a:pt x="5454" y="268842"/>
                      <a:pt x="-5404" y="289730"/>
                      <a:pt x="597" y="309456"/>
                    </a:cubicBezTo>
                    <a:cubicBezTo>
                      <a:pt x="7740" y="328735"/>
                      <a:pt x="29172" y="338546"/>
                      <a:pt x="48508" y="331383"/>
                    </a:cubicBezTo>
                    <a:cubicBezTo>
                      <a:pt x="48793" y="331278"/>
                      <a:pt x="48983" y="331183"/>
                      <a:pt x="49269" y="33107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0" name="Freeform: Shape 189">
                <a:extLst>
                  <a:ext uri="{FF2B5EF4-FFF2-40B4-BE49-F238E27FC236}">
                    <a16:creationId xmlns:a16="http://schemas.microsoft.com/office/drawing/2014/main" id="{5B94F6BB-688A-4BDA-B0A3-29E02C23D4BA}"/>
                  </a:ext>
                </a:extLst>
              </p:cNvPr>
              <p:cNvSpPr/>
              <p:nvPr/>
            </p:nvSpPr>
            <p:spPr>
              <a:xfrm>
                <a:off x="8964728" y="2475086"/>
                <a:ext cx="352323" cy="932662"/>
              </a:xfrm>
              <a:custGeom>
                <a:avLst/>
                <a:gdLst>
                  <a:gd name="connsiteX0" fmla="*/ 70828 w 352323"/>
                  <a:gd name="connsiteY0" fmla="*/ 906208 h 932662"/>
                  <a:gd name="connsiteX1" fmla="*/ 349434 w 352323"/>
                  <a:gd name="connsiteY1" fmla="*/ 47720 h 932662"/>
                  <a:gd name="connsiteX2" fmla="*/ 326098 w 352323"/>
                  <a:gd name="connsiteY2" fmla="*/ 1543 h 932662"/>
                  <a:gd name="connsiteX3" fmla="*/ 279901 w 352323"/>
                  <a:gd name="connsiteY3" fmla="*/ 24860 h 932662"/>
                  <a:gd name="connsiteX4" fmla="*/ 278378 w 352323"/>
                  <a:gd name="connsiteY4" fmla="*/ 31909 h 932662"/>
                  <a:gd name="connsiteX5" fmla="*/ 4057 w 352323"/>
                  <a:gd name="connsiteY5" fmla="*/ 877157 h 932662"/>
                  <a:gd name="connsiteX6" fmla="*/ 16916 w 352323"/>
                  <a:gd name="connsiteY6" fmla="*/ 927259 h 932662"/>
                  <a:gd name="connsiteX7" fmla="*/ 67017 w 352323"/>
                  <a:gd name="connsiteY7" fmla="*/ 914409 h 932662"/>
                  <a:gd name="connsiteX8" fmla="*/ 70732 w 352323"/>
                  <a:gd name="connsiteY8" fmla="*/ 905732 h 932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2323" h="932662">
                    <a:moveTo>
                      <a:pt x="70828" y="906208"/>
                    </a:moveTo>
                    <a:cubicBezTo>
                      <a:pt x="190652" y="629516"/>
                      <a:pt x="283997" y="342062"/>
                      <a:pt x="349434" y="47720"/>
                    </a:cubicBezTo>
                    <a:cubicBezTo>
                      <a:pt x="355721" y="28527"/>
                      <a:pt x="345338" y="7858"/>
                      <a:pt x="326098" y="1543"/>
                    </a:cubicBezTo>
                    <a:cubicBezTo>
                      <a:pt x="306953" y="-4772"/>
                      <a:pt x="286283" y="5667"/>
                      <a:pt x="279901" y="24860"/>
                    </a:cubicBezTo>
                    <a:cubicBezTo>
                      <a:pt x="279235" y="27146"/>
                      <a:pt x="278663" y="29508"/>
                      <a:pt x="278378" y="31909"/>
                    </a:cubicBezTo>
                    <a:cubicBezTo>
                      <a:pt x="213989" y="321726"/>
                      <a:pt x="122072" y="604752"/>
                      <a:pt x="4057" y="877157"/>
                    </a:cubicBezTo>
                    <a:cubicBezTo>
                      <a:pt x="-6229" y="894540"/>
                      <a:pt x="-515" y="916972"/>
                      <a:pt x="16916" y="927259"/>
                    </a:cubicBezTo>
                    <a:cubicBezTo>
                      <a:pt x="34252" y="937546"/>
                      <a:pt x="56731" y="931793"/>
                      <a:pt x="67017" y="914409"/>
                    </a:cubicBezTo>
                    <a:cubicBezTo>
                      <a:pt x="68637" y="911695"/>
                      <a:pt x="69875" y="908770"/>
                      <a:pt x="70732" y="90573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1" name="Freeform: Shape 190">
                <a:extLst>
                  <a:ext uri="{FF2B5EF4-FFF2-40B4-BE49-F238E27FC236}">
                    <a16:creationId xmlns:a16="http://schemas.microsoft.com/office/drawing/2014/main" id="{2248450A-1DA2-400F-A079-BA1C75018129}"/>
                  </a:ext>
                </a:extLst>
              </p:cNvPr>
              <p:cNvSpPr/>
              <p:nvPr/>
            </p:nvSpPr>
            <p:spPr>
              <a:xfrm>
                <a:off x="9283814" y="1937955"/>
                <a:ext cx="120799" cy="414884"/>
              </a:xfrm>
              <a:custGeom>
                <a:avLst/>
                <a:gdLst>
                  <a:gd name="connsiteX0" fmla="*/ 71686 w 120799"/>
                  <a:gd name="connsiteY0" fmla="*/ 381111 h 414884"/>
                  <a:gd name="connsiteX1" fmla="*/ 119311 w 120799"/>
                  <a:gd name="connsiteY1" fmla="*/ 43164 h 414884"/>
                  <a:gd name="connsiteX2" fmla="*/ 87403 w 120799"/>
                  <a:gd name="connsiteY2" fmla="*/ -222 h 414884"/>
                  <a:gd name="connsiteX3" fmla="*/ 87021 w 120799"/>
                  <a:gd name="connsiteY3" fmla="*/ -270 h 414884"/>
                  <a:gd name="connsiteX4" fmla="*/ 46921 w 120799"/>
                  <a:gd name="connsiteY4" fmla="*/ 35640 h 414884"/>
                  <a:gd name="connsiteX5" fmla="*/ 249 w 120799"/>
                  <a:gd name="connsiteY5" fmla="*/ 368348 h 414884"/>
                  <a:gd name="connsiteX6" fmla="*/ 25871 w 120799"/>
                  <a:gd name="connsiteY6" fmla="*/ 413277 h 414884"/>
                  <a:gd name="connsiteX7" fmla="*/ 70829 w 120799"/>
                  <a:gd name="connsiteY7" fmla="*/ 387646 h 414884"/>
                  <a:gd name="connsiteX8" fmla="*/ 71972 w 120799"/>
                  <a:gd name="connsiteY8" fmla="*/ 381111 h 414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0799" h="414884">
                    <a:moveTo>
                      <a:pt x="71686" y="381111"/>
                    </a:moveTo>
                    <a:cubicBezTo>
                      <a:pt x="90736" y="269002"/>
                      <a:pt x="107120" y="156321"/>
                      <a:pt x="119311" y="43164"/>
                    </a:cubicBezTo>
                    <a:cubicBezTo>
                      <a:pt x="122455" y="22362"/>
                      <a:pt x="108168" y="2940"/>
                      <a:pt x="87403" y="-222"/>
                    </a:cubicBezTo>
                    <a:cubicBezTo>
                      <a:pt x="87212" y="-241"/>
                      <a:pt x="87117" y="-250"/>
                      <a:pt x="87021" y="-270"/>
                    </a:cubicBezTo>
                    <a:cubicBezTo>
                      <a:pt x="66162" y="-1089"/>
                      <a:pt x="48446" y="14808"/>
                      <a:pt x="46921" y="35640"/>
                    </a:cubicBezTo>
                    <a:cubicBezTo>
                      <a:pt x="35301" y="147082"/>
                      <a:pt x="19394" y="257953"/>
                      <a:pt x="249" y="368348"/>
                    </a:cubicBezTo>
                    <a:cubicBezTo>
                      <a:pt x="-5085" y="387836"/>
                      <a:pt x="6440" y="407953"/>
                      <a:pt x="25871" y="413277"/>
                    </a:cubicBezTo>
                    <a:cubicBezTo>
                      <a:pt x="45397" y="418611"/>
                      <a:pt x="65495" y="407134"/>
                      <a:pt x="70829" y="387646"/>
                    </a:cubicBezTo>
                    <a:cubicBezTo>
                      <a:pt x="71401" y="385512"/>
                      <a:pt x="71781" y="383321"/>
                      <a:pt x="71972" y="38111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2" name="Freeform: Shape 191">
                <a:extLst>
                  <a:ext uri="{FF2B5EF4-FFF2-40B4-BE49-F238E27FC236}">
                    <a16:creationId xmlns:a16="http://schemas.microsoft.com/office/drawing/2014/main" id="{A4AE4F00-7AA9-42BF-869E-25B74758F8B5}"/>
                  </a:ext>
                </a:extLst>
              </p:cNvPr>
              <p:cNvSpPr/>
              <p:nvPr/>
            </p:nvSpPr>
            <p:spPr>
              <a:xfrm>
                <a:off x="8089278" y="3237796"/>
                <a:ext cx="150854" cy="217988"/>
              </a:xfrm>
              <a:custGeom>
                <a:avLst/>
                <a:gdLst>
                  <a:gd name="connsiteX0" fmla="*/ 65977 w 150854"/>
                  <a:gd name="connsiteY0" fmla="*/ 201410 h 217988"/>
                  <a:gd name="connsiteX1" fmla="*/ 107221 w 150854"/>
                  <a:gd name="connsiteY1" fmla="*/ 125972 h 217988"/>
                  <a:gd name="connsiteX2" fmla="*/ 146844 w 150854"/>
                  <a:gd name="connsiteY2" fmla="*/ 49772 h 217988"/>
                  <a:gd name="connsiteX3" fmla="*/ 129795 w 150854"/>
                  <a:gd name="connsiteY3" fmla="*/ 4814 h 217988"/>
                  <a:gd name="connsiteX4" fmla="*/ 127794 w 150854"/>
                  <a:gd name="connsiteY4" fmla="*/ 3862 h 217988"/>
                  <a:gd name="connsiteX5" fmla="*/ 81884 w 150854"/>
                  <a:gd name="connsiteY5" fmla="*/ 17006 h 217988"/>
                  <a:gd name="connsiteX6" fmla="*/ 42927 w 150854"/>
                  <a:gd name="connsiteY6" fmla="*/ 91968 h 217988"/>
                  <a:gd name="connsiteX7" fmla="*/ 2446 w 150854"/>
                  <a:gd name="connsiteY7" fmla="*/ 166072 h 217988"/>
                  <a:gd name="connsiteX8" fmla="*/ 17400 w 150854"/>
                  <a:gd name="connsiteY8" fmla="*/ 211602 h 217988"/>
                  <a:gd name="connsiteX9" fmla="*/ 19400 w 150854"/>
                  <a:gd name="connsiteY9" fmla="*/ 212650 h 217988"/>
                  <a:gd name="connsiteX10" fmla="*/ 65788 w 150854"/>
                  <a:gd name="connsiteY10" fmla="*/ 201686 h 217988"/>
                  <a:gd name="connsiteX11" fmla="*/ 65977 w 150854"/>
                  <a:gd name="connsiteY11" fmla="*/ 201410 h 217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0854" h="217988">
                    <a:moveTo>
                      <a:pt x="65977" y="201410"/>
                    </a:moveTo>
                    <a:cubicBezTo>
                      <a:pt x="79980" y="176360"/>
                      <a:pt x="94552" y="151404"/>
                      <a:pt x="107221" y="125972"/>
                    </a:cubicBezTo>
                    <a:cubicBezTo>
                      <a:pt x="119889" y="100540"/>
                      <a:pt x="134462" y="75490"/>
                      <a:pt x="146844" y="49772"/>
                    </a:cubicBezTo>
                    <a:cubicBezTo>
                      <a:pt x="154465" y="32646"/>
                      <a:pt x="146844" y="12596"/>
                      <a:pt x="129795" y="4814"/>
                    </a:cubicBezTo>
                    <a:lnTo>
                      <a:pt x="127794" y="3862"/>
                    </a:lnTo>
                    <a:cubicBezTo>
                      <a:pt x="111507" y="-5044"/>
                      <a:pt x="91028" y="804"/>
                      <a:pt x="81884" y="17006"/>
                    </a:cubicBezTo>
                    <a:cubicBezTo>
                      <a:pt x="69692" y="42438"/>
                      <a:pt x="55881" y="66917"/>
                      <a:pt x="42927" y="91968"/>
                    </a:cubicBezTo>
                    <a:cubicBezTo>
                      <a:pt x="29973" y="117019"/>
                      <a:pt x="16162" y="141498"/>
                      <a:pt x="2446" y="166072"/>
                    </a:cubicBezTo>
                    <a:cubicBezTo>
                      <a:pt x="-5745" y="182799"/>
                      <a:pt x="922" y="202972"/>
                      <a:pt x="17400" y="211602"/>
                    </a:cubicBezTo>
                    <a:lnTo>
                      <a:pt x="19400" y="212650"/>
                    </a:lnTo>
                    <a:cubicBezTo>
                      <a:pt x="35212" y="222442"/>
                      <a:pt x="55977" y="217527"/>
                      <a:pt x="65788" y="201686"/>
                    </a:cubicBezTo>
                    <a:cubicBezTo>
                      <a:pt x="65882" y="201591"/>
                      <a:pt x="65882" y="201506"/>
                      <a:pt x="65977" y="2014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3" name="Freeform: Shape 192">
                <a:extLst>
                  <a:ext uri="{FF2B5EF4-FFF2-40B4-BE49-F238E27FC236}">
                    <a16:creationId xmlns:a16="http://schemas.microsoft.com/office/drawing/2014/main" id="{A2E21010-FAFB-4BEE-9B3C-E6152D60ACC8}"/>
                  </a:ext>
                </a:extLst>
              </p:cNvPr>
              <p:cNvSpPr/>
              <p:nvPr/>
            </p:nvSpPr>
            <p:spPr>
              <a:xfrm>
                <a:off x="7477046" y="3517349"/>
                <a:ext cx="606973" cy="761553"/>
              </a:xfrm>
              <a:custGeom>
                <a:avLst/>
                <a:gdLst>
                  <a:gd name="connsiteX0" fmla="*/ 60037 w 606973"/>
                  <a:gd name="connsiteY0" fmla="*/ 752533 h 761553"/>
                  <a:gd name="connsiteX1" fmla="*/ 79087 w 606973"/>
                  <a:gd name="connsiteY1" fmla="*/ 732721 h 761553"/>
                  <a:gd name="connsiteX2" fmla="*/ 98137 w 606973"/>
                  <a:gd name="connsiteY2" fmla="*/ 712432 h 761553"/>
                  <a:gd name="connsiteX3" fmla="*/ 136237 w 606973"/>
                  <a:gd name="connsiteY3" fmla="*/ 671856 h 761553"/>
                  <a:gd name="connsiteX4" fmla="*/ 210150 w 606973"/>
                  <a:gd name="connsiteY4" fmla="*/ 589179 h 761553"/>
                  <a:gd name="connsiteX5" fmla="*/ 281398 w 606973"/>
                  <a:gd name="connsiteY5" fmla="*/ 504216 h 761553"/>
                  <a:gd name="connsiteX6" fmla="*/ 316258 w 606973"/>
                  <a:gd name="connsiteY6" fmla="*/ 460972 h 761553"/>
                  <a:gd name="connsiteX7" fmla="*/ 333594 w 606973"/>
                  <a:gd name="connsiteY7" fmla="*/ 439445 h 761553"/>
                  <a:gd name="connsiteX8" fmla="*/ 350454 w 606973"/>
                  <a:gd name="connsiteY8" fmla="*/ 417348 h 761553"/>
                  <a:gd name="connsiteX9" fmla="*/ 602104 w 606973"/>
                  <a:gd name="connsiteY9" fmla="*/ 52540 h 761553"/>
                  <a:gd name="connsiteX10" fmla="*/ 585626 w 606973"/>
                  <a:gd name="connsiteY10" fmla="*/ 3515 h 761553"/>
                  <a:gd name="connsiteX11" fmla="*/ 540000 w 606973"/>
                  <a:gd name="connsiteY11" fmla="*/ 14440 h 761553"/>
                  <a:gd name="connsiteX12" fmla="*/ 292922 w 606973"/>
                  <a:gd name="connsiteY12" fmla="*/ 372770 h 761553"/>
                  <a:gd name="connsiteX13" fmla="*/ 276349 w 606973"/>
                  <a:gd name="connsiteY13" fmla="*/ 394392 h 761553"/>
                  <a:gd name="connsiteX14" fmla="*/ 259299 w 606973"/>
                  <a:gd name="connsiteY14" fmla="*/ 415633 h 761553"/>
                  <a:gd name="connsiteX15" fmla="*/ 225105 w 606973"/>
                  <a:gd name="connsiteY15" fmla="*/ 458019 h 761553"/>
                  <a:gd name="connsiteX16" fmla="*/ 155096 w 606973"/>
                  <a:gd name="connsiteY16" fmla="*/ 541458 h 761553"/>
                  <a:gd name="connsiteX17" fmla="*/ 82611 w 606973"/>
                  <a:gd name="connsiteY17" fmla="*/ 622612 h 761553"/>
                  <a:gd name="connsiteX18" fmla="*/ 45463 w 606973"/>
                  <a:gd name="connsiteY18" fmla="*/ 662521 h 761553"/>
                  <a:gd name="connsiteX19" fmla="*/ 26413 w 606973"/>
                  <a:gd name="connsiteY19" fmla="*/ 682428 h 761553"/>
                  <a:gd name="connsiteX20" fmla="*/ 7363 w 606973"/>
                  <a:gd name="connsiteY20" fmla="*/ 701478 h 761553"/>
                  <a:gd name="connsiteX21" fmla="*/ 12126 w 606973"/>
                  <a:gd name="connsiteY21" fmla="*/ 752847 h 761553"/>
                  <a:gd name="connsiteX22" fmla="*/ 59655 w 606973"/>
                  <a:gd name="connsiteY22" fmla="*/ 752056 h 761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6973" h="761553">
                    <a:moveTo>
                      <a:pt x="60037" y="752533"/>
                    </a:moveTo>
                    <a:lnTo>
                      <a:pt x="79087" y="732721"/>
                    </a:lnTo>
                    <a:lnTo>
                      <a:pt x="98137" y="712432"/>
                    </a:lnTo>
                    <a:lnTo>
                      <a:pt x="136237" y="671856"/>
                    </a:lnTo>
                    <a:cubicBezTo>
                      <a:pt x="161287" y="644710"/>
                      <a:pt x="185480" y="616706"/>
                      <a:pt x="210150" y="589179"/>
                    </a:cubicBezTo>
                    <a:cubicBezTo>
                      <a:pt x="234820" y="561651"/>
                      <a:pt x="257775" y="532886"/>
                      <a:pt x="281398" y="504216"/>
                    </a:cubicBezTo>
                    <a:lnTo>
                      <a:pt x="316258" y="460972"/>
                    </a:lnTo>
                    <a:lnTo>
                      <a:pt x="333594" y="439445"/>
                    </a:lnTo>
                    <a:lnTo>
                      <a:pt x="350454" y="417348"/>
                    </a:lnTo>
                    <a:cubicBezTo>
                      <a:pt x="440846" y="300390"/>
                      <a:pt x="524856" y="178604"/>
                      <a:pt x="602104" y="52540"/>
                    </a:cubicBezTo>
                    <a:cubicBezTo>
                      <a:pt x="611058" y="34443"/>
                      <a:pt x="603723" y="12497"/>
                      <a:pt x="585626" y="3515"/>
                    </a:cubicBezTo>
                    <a:cubicBezTo>
                      <a:pt x="569718" y="-4343"/>
                      <a:pt x="550574" y="248"/>
                      <a:pt x="540000" y="14440"/>
                    </a:cubicBezTo>
                    <a:cubicBezTo>
                      <a:pt x="464182" y="138284"/>
                      <a:pt x="381695" y="257909"/>
                      <a:pt x="292922" y="372770"/>
                    </a:cubicBezTo>
                    <a:lnTo>
                      <a:pt x="276349" y="394392"/>
                    </a:lnTo>
                    <a:lnTo>
                      <a:pt x="259299" y="415633"/>
                    </a:lnTo>
                    <a:lnTo>
                      <a:pt x="225105" y="458019"/>
                    </a:lnTo>
                    <a:cubicBezTo>
                      <a:pt x="202244" y="486594"/>
                      <a:pt x="178432" y="513550"/>
                      <a:pt x="155096" y="541458"/>
                    </a:cubicBezTo>
                    <a:cubicBezTo>
                      <a:pt x="131759" y="569367"/>
                      <a:pt x="107471" y="595942"/>
                      <a:pt x="82611" y="622612"/>
                    </a:cubicBezTo>
                    <a:lnTo>
                      <a:pt x="45463" y="662521"/>
                    </a:lnTo>
                    <a:lnTo>
                      <a:pt x="26413" y="682428"/>
                    </a:lnTo>
                    <a:lnTo>
                      <a:pt x="7363" y="701478"/>
                    </a:lnTo>
                    <a:cubicBezTo>
                      <a:pt x="-5495" y="716985"/>
                      <a:pt x="-3400" y="739978"/>
                      <a:pt x="12126" y="752847"/>
                    </a:cubicBezTo>
                    <a:cubicBezTo>
                      <a:pt x="26032" y="764353"/>
                      <a:pt x="46225" y="764010"/>
                      <a:pt x="59655" y="7520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4" name="Freeform: Shape 193">
                <a:extLst>
                  <a:ext uri="{FF2B5EF4-FFF2-40B4-BE49-F238E27FC236}">
                    <a16:creationId xmlns:a16="http://schemas.microsoft.com/office/drawing/2014/main" id="{C40E7274-30C0-4B25-ACB4-2A040CF608BC}"/>
                  </a:ext>
                </a:extLst>
              </p:cNvPr>
              <p:cNvSpPr/>
              <p:nvPr/>
            </p:nvSpPr>
            <p:spPr>
              <a:xfrm>
                <a:off x="7914015" y="3548434"/>
                <a:ext cx="329845" cy="455433"/>
              </a:xfrm>
              <a:custGeom>
                <a:avLst/>
                <a:gdLst>
                  <a:gd name="connsiteX0" fmla="*/ 63600 w 329845"/>
                  <a:gd name="connsiteY0" fmla="*/ 441413 h 455433"/>
                  <a:gd name="connsiteX1" fmla="*/ 324394 w 329845"/>
                  <a:gd name="connsiteY1" fmla="*/ 52507 h 455433"/>
                  <a:gd name="connsiteX2" fmla="*/ 310868 w 329845"/>
                  <a:gd name="connsiteY2" fmla="*/ 4882 h 455433"/>
                  <a:gd name="connsiteX3" fmla="*/ 310296 w 329845"/>
                  <a:gd name="connsiteY3" fmla="*/ 4882 h 455433"/>
                  <a:gd name="connsiteX4" fmla="*/ 261814 w 329845"/>
                  <a:gd name="connsiteY4" fmla="*/ 16217 h 455433"/>
                  <a:gd name="connsiteX5" fmla="*/ 5592 w 329845"/>
                  <a:gd name="connsiteY5" fmla="*/ 398264 h 455433"/>
                  <a:gd name="connsiteX6" fmla="*/ 13403 w 329845"/>
                  <a:gd name="connsiteY6" fmla="*/ 447318 h 455433"/>
                  <a:gd name="connsiteX7" fmla="*/ 13403 w 329845"/>
                  <a:gd name="connsiteY7" fmla="*/ 447318 h 455433"/>
                  <a:gd name="connsiteX8" fmla="*/ 63218 w 329845"/>
                  <a:gd name="connsiteY8" fmla="*/ 441899 h 455433"/>
                  <a:gd name="connsiteX9" fmla="*/ 63600 w 329845"/>
                  <a:gd name="connsiteY9" fmla="*/ 441413 h 455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29845" h="455433">
                    <a:moveTo>
                      <a:pt x="63600" y="441413"/>
                    </a:moveTo>
                    <a:cubicBezTo>
                      <a:pt x="157896" y="316854"/>
                      <a:pt x="244955" y="187010"/>
                      <a:pt x="324394" y="52507"/>
                    </a:cubicBezTo>
                    <a:cubicBezTo>
                      <a:pt x="333729" y="35610"/>
                      <a:pt x="327728" y="14350"/>
                      <a:pt x="310868" y="4882"/>
                    </a:cubicBezTo>
                    <a:lnTo>
                      <a:pt x="310296" y="4882"/>
                    </a:lnTo>
                    <a:cubicBezTo>
                      <a:pt x="293723" y="-5186"/>
                      <a:pt x="272196" y="-147"/>
                      <a:pt x="261814" y="16217"/>
                    </a:cubicBezTo>
                    <a:cubicBezTo>
                      <a:pt x="183710" y="148319"/>
                      <a:pt x="98176" y="275878"/>
                      <a:pt x="5592" y="398264"/>
                    </a:cubicBezTo>
                    <a:cubicBezTo>
                      <a:pt x="-5743" y="413981"/>
                      <a:pt x="-2218" y="435888"/>
                      <a:pt x="13403" y="447318"/>
                    </a:cubicBezTo>
                    <a:lnTo>
                      <a:pt x="13403" y="447318"/>
                    </a:lnTo>
                    <a:cubicBezTo>
                      <a:pt x="28643" y="459577"/>
                      <a:pt x="50931" y="457148"/>
                      <a:pt x="63218" y="441899"/>
                    </a:cubicBezTo>
                    <a:cubicBezTo>
                      <a:pt x="63314" y="441737"/>
                      <a:pt x="63504" y="441575"/>
                      <a:pt x="63600" y="44141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5" name="Freeform: Shape 194">
                <a:extLst>
                  <a:ext uri="{FF2B5EF4-FFF2-40B4-BE49-F238E27FC236}">
                    <a16:creationId xmlns:a16="http://schemas.microsoft.com/office/drawing/2014/main" id="{60FB2D3E-CC08-4AB9-B208-8F4B091AC347}"/>
                  </a:ext>
                </a:extLst>
              </p:cNvPr>
              <p:cNvSpPr/>
              <p:nvPr/>
            </p:nvSpPr>
            <p:spPr>
              <a:xfrm>
                <a:off x="7413520" y="4051455"/>
                <a:ext cx="478547" cy="504226"/>
              </a:xfrm>
              <a:custGeom>
                <a:avLst/>
                <a:gdLst>
                  <a:gd name="connsiteX0" fmla="*/ 58888 w 478547"/>
                  <a:gd name="connsiteY0" fmla="*/ 494938 h 504226"/>
                  <a:gd name="connsiteX1" fmla="*/ 470177 w 478547"/>
                  <a:gd name="connsiteY1" fmla="*/ 57931 h 504226"/>
                  <a:gd name="connsiteX2" fmla="*/ 462939 w 478547"/>
                  <a:gd name="connsiteY2" fmla="*/ 6991 h 504226"/>
                  <a:gd name="connsiteX3" fmla="*/ 413789 w 478547"/>
                  <a:gd name="connsiteY3" fmla="*/ 12020 h 504226"/>
                  <a:gd name="connsiteX4" fmla="*/ 9643 w 478547"/>
                  <a:gd name="connsiteY4" fmla="*/ 441407 h 504226"/>
                  <a:gd name="connsiteX5" fmla="*/ 8691 w 478547"/>
                  <a:gd name="connsiteY5" fmla="*/ 491699 h 504226"/>
                  <a:gd name="connsiteX6" fmla="*/ 58411 w 478547"/>
                  <a:gd name="connsiteY6" fmla="*/ 495366 h 504226"/>
                  <a:gd name="connsiteX7" fmla="*/ 58888 w 478547"/>
                  <a:gd name="connsiteY7" fmla="*/ 494938 h 504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8547" h="504226">
                    <a:moveTo>
                      <a:pt x="58888" y="494938"/>
                    </a:moveTo>
                    <a:cubicBezTo>
                      <a:pt x="206239" y="359321"/>
                      <a:pt x="343781" y="213274"/>
                      <a:pt x="470177" y="57931"/>
                    </a:cubicBezTo>
                    <a:cubicBezTo>
                      <a:pt x="482274" y="41862"/>
                      <a:pt x="479035" y="19050"/>
                      <a:pt x="462939" y="6991"/>
                    </a:cubicBezTo>
                    <a:cubicBezTo>
                      <a:pt x="447698" y="-4410"/>
                      <a:pt x="426362" y="-2220"/>
                      <a:pt x="413789" y="12020"/>
                    </a:cubicBezTo>
                    <a:cubicBezTo>
                      <a:pt x="289488" y="164639"/>
                      <a:pt x="154424" y="308143"/>
                      <a:pt x="9643" y="441407"/>
                    </a:cubicBezTo>
                    <a:cubicBezTo>
                      <a:pt x="-4263" y="455152"/>
                      <a:pt x="-4644" y="477440"/>
                      <a:pt x="8691" y="491699"/>
                    </a:cubicBezTo>
                    <a:cubicBezTo>
                      <a:pt x="21359" y="506444"/>
                      <a:pt x="43648" y="508082"/>
                      <a:pt x="58411" y="495366"/>
                    </a:cubicBezTo>
                    <a:cubicBezTo>
                      <a:pt x="58602" y="495233"/>
                      <a:pt x="58697" y="495081"/>
                      <a:pt x="58888" y="4949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6" name="Freeform: Shape 195">
                <a:extLst>
                  <a:ext uri="{FF2B5EF4-FFF2-40B4-BE49-F238E27FC236}">
                    <a16:creationId xmlns:a16="http://schemas.microsoft.com/office/drawing/2014/main" id="{3995095F-46D2-436D-B729-0519288DBF69}"/>
                  </a:ext>
                </a:extLst>
              </p:cNvPr>
              <p:cNvSpPr/>
              <p:nvPr/>
            </p:nvSpPr>
            <p:spPr>
              <a:xfrm>
                <a:off x="8192977" y="3722267"/>
                <a:ext cx="123222" cy="151339"/>
              </a:xfrm>
              <a:custGeom>
                <a:avLst/>
                <a:gdLst>
                  <a:gd name="connsiteX0" fmla="*/ 65434 w 123222"/>
                  <a:gd name="connsiteY0" fmla="*/ 134801 h 151339"/>
                  <a:gd name="connsiteX1" fmla="*/ 117536 w 123222"/>
                  <a:gd name="connsiteY1" fmla="*/ 53839 h 151339"/>
                  <a:gd name="connsiteX2" fmla="*/ 103534 w 123222"/>
                  <a:gd name="connsiteY2" fmla="*/ 4328 h 151339"/>
                  <a:gd name="connsiteX3" fmla="*/ 56005 w 123222"/>
                  <a:gd name="connsiteY3" fmla="*/ 15167 h 151339"/>
                  <a:gd name="connsiteX4" fmla="*/ 4665 w 123222"/>
                  <a:gd name="connsiteY4" fmla="*/ 94701 h 151339"/>
                  <a:gd name="connsiteX5" fmla="*/ 15237 w 123222"/>
                  <a:gd name="connsiteY5" fmla="*/ 144898 h 151339"/>
                  <a:gd name="connsiteX6" fmla="*/ 65243 w 123222"/>
                  <a:gd name="connsiteY6" fmla="*/ 135134 h 151339"/>
                  <a:gd name="connsiteX7" fmla="*/ 65434 w 123222"/>
                  <a:gd name="connsiteY7" fmla="*/ 134801 h 151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3222" h="151339">
                    <a:moveTo>
                      <a:pt x="65434" y="134801"/>
                    </a:moveTo>
                    <a:cubicBezTo>
                      <a:pt x="83055" y="108036"/>
                      <a:pt x="100867" y="81271"/>
                      <a:pt x="117536" y="53839"/>
                    </a:cubicBezTo>
                    <a:cubicBezTo>
                      <a:pt x="127347" y="36294"/>
                      <a:pt x="121060" y="14129"/>
                      <a:pt x="103534" y="4328"/>
                    </a:cubicBezTo>
                    <a:cubicBezTo>
                      <a:pt x="87246" y="-4769"/>
                      <a:pt x="66768" y="-92"/>
                      <a:pt x="56005" y="15167"/>
                    </a:cubicBezTo>
                    <a:cubicBezTo>
                      <a:pt x="39525" y="42123"/>
                      <a:pt x="22095" y="68412"/>
                      <a:pt x="4665" y="94701"/>
                    </a:cubicBezTo>
                    <a:cubicBezTo>
                      <a:pt x="-6003" y="111532"/>
                      <a:pt x="-1336" y="133791"/>
                      <a:pt x="15237" y="144898"/>
                    </a:cubicBezTo>
                    <a:cubicBezTo>
                      <a:pt x="31715" y="156004"/>
                      <a:pt x="54099" y="151632"/>
                      <a:pt x="65243" y="135134"/>
                    </a:cubicBezTo>
                    <a:cubicBezTo>
                      <a:pt x="65243" y="135020"/>
                      <a:pt x="65339" y="134916"/>
                      <a:pt x="65434" y="13480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7" name="Freeform: Shape 196">
                <a:extLst>
                  <a:ext uri="{FF2B5EF4-FFF2-40B4-BE49-F238E27FC236}">
                    <a16:creationId xmlns:a16="http://schemas.microsoft.com/office/drawing/2014/main" id="{2A9E6520-6451-4776-B071-F759870E5478}"/>
                  </a:ext>
                </a:extLst>
              </p:cNvPr>
              <p:cNvSpPr/>
              <p:nvPr/>
            </p:nvSpPr>
            <p:spPr>
              <a:xfrm>
                <a:off x="7767881" y="3608699"/>
                <a:ext cx="793446" cy="1029876"/>
              </a:xfrm>
              <a:custGeom>
                <a:avLst/>
                <a:gdLst>
                  <a:gd name="connsiteX0" fmla="*/ 60858 w 793446"/>
                  <a:gd name="connsiteY0" fmla="*/ 1018656 h 1029876"/>
                  <a:gd name="connsiteX1" fmla="*/ 787424 w 793446"/>
                  <a:gd name="connsiteY1" fmla="*/ 54345 h 1029876"/>
                  <a:gd name="connsiteX2" fmla="*/ 774090 w 793446"/>
                  <a:gd name="connsiteY2" fmla="*/ 4224 h 1029876"/>
                  <a:gd name="connsiteX3" fmla="*/ 773804 w 793446"/>
                  <a:gd name="connsiteY3" fmla="*/ 4053 h 1029876"/>
                  <a:gd name="connsiteX4" fmla="*/ 723893 w 793446"/>
                  <a:gd name="connsiteY4" fmla="*/ 18817 h 1029876"/>
                  <a:gd name="connsiteX5" fmla="*/ 9518 w 793446"/>
                  <a:gd name="connsiteY5" fmla="*/ 967507 h 1029876"/>
                  <a:gd name="connsiteX6" fmla="*/ 9518 w 793446"/>
                  <a:gd name="connsiteY6" fmla="*/ 1019513 h 1029876"/>
                  <a:gd name="connsiteX7" fmla="*/ 9518 w 793446"/>
                  <a:gd name="connsiteY7" fmla="*/ 1019513 h 1029876"/>
                  <a:gd name="connsiteX8" fmla="*/ 60858 w 793446"/>
                  <a:gd name="connsiteY8" fmla="*/ 1018656 h 1029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93446" h="1029876">
                    <a:moveTo>
                      <a:pt x="60858" y="1018656"/>
                    </a:moveTo>
                    <a:cubicBezTo>
                      <a:pt x="345559" y="731563"/>
                      <a:pt x="589971" y="407161"/>
                      <a:pt x="787424" y="54345"/>
                    </a:cubicBezTo>
                    <a:cubicBezTo>
                      <a:pt x="797616" y="36829"/>
                      <a:pt x="791616" y="14388"/>
                      <a:pt x="774090" y="4224"/>
                    </a:cubicBezTo>
                    <a:cubicBezTo>
                      <a:pt x="773995" y="4167"/>
                      <a:pt x="773899" y="4110"/>
                      <a:pt x="773804" y="4053"/>
                    </a:cubicBezTo>
                    <a:cubicBezTo>
                      <a:pt x="755897" y="-5453"/>
                      <a:pt x="733703" y="1119"/>
                      <a:pt x="723893" y="18817"/>
                    </a:cubicBezTo>
                    <a:cubicBezTo>
                      <a:pt x="529773" y="365879"/>
                      <a:pt x="289458" y="685024"/>
                      <a:pt x="9518" y="967507"/>
                    </a:cubicBezTo>
                    <a:cubicBezTo>
                      <a:pt x="-4579" y="981975"/>
                      <a:pt x="-4579" y="1005045"/>
                      <a:pt x="9518" y="1019513"/>
                    </a:cubicBezTo>
                    <a:lnTo>
                      <a:pt x="9518" y="1019513"/>
                    </a:lnTo>
                    <a:cubicBezTo>
                      <a:pt x="23996" y="1033258"/>
                      <a:pt x="46855" y="1032877"/>
                      <a:pt x="60858" y="10186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8" name="Freeform: Shape 197">
                <a:extLst>
                  <a:ext uri="{FF2B5EF4-FFF2-40B4-BE49-F238E27FC236}">
                    <a16:creationId xmlns:a16="http://schemas.microsoft.com/office/drawing/2014/main" id="{970A86A4-EDC3-48B1-AA06-C4B6AF49B89C}"/>
                  </a:ext>
                </a:extLst>
              </p:cNvPr>
              <p:cNvSpPr/>
              <p:nvPr/>
            </p:nvSpPr>
            <p:spPr>
              <a:xfrm>
                <a:off x="8546983" y="3211077"/>
                <a:ext cx="377986" cy="675483"/>
              </a:xfrm>
              <a:custGeom>
                <a:avLst/>
                <a:gdLst>
                  <a:gd name="connsiteX0" fmla="*/ 66615 w 377986"/>
                  <a:gd name="connsiteY0" fmla="*/ 655992 h 675483"/>
                  <a:gd name="connsiteX1" fmla="*/ 230541 w 377986"/>
                  <a:gd name="connsiteY1" fmla="*/ 360717 h 675483"/>
                  <a:gd name="connsiteX2" fmla="*/ 372368 w 377986"/>
                  <a:gd name="connsiteY2" fmla="*/ 53726 h 675483"/>
                  <a:gd name="connsiteX3" fmla="*/ 358176 w 377986"/>
                  <a:gd name="connsiteY3" fmla="*/ 4263 h 675483"/>
                  <a:gd name="connsiteX4" fmla="*/ 308741 w 377986"/>
                  <a:gd name="connsiteY4" fmla="*/ 18455 h 675483"/>
                  <a:gd name="connsiteX5" fmla="*/ 305693 w 377986"/>
                  <a:gd name="connsiteY5" fmla="*/ 25627 h 675483"/>
                  <a:gd name="connsiteX6" fmla="*/ 166056 w 377986"/>
                  <a:gd name="connsiteY6" fmla="*/ 327761 h 675483"/>
                  <a:gd name="connsiteX7" fmla="*/ 4702 w 377986"/>
                  <a:gd name="connsiteY7" fmla="*/ 618749 h 675483"/>
                  <a:gd name="connsiteX8" fmla="*/ 15752 w 377986"/>
                  <a:gd name="connsiteY8" fmla="*/ 670470 h 675483"/>
                  <a:gd name="connsiteX9" fmla="*/ 66615 w 377986"/>
                  <a:gd name="connsiteY9" fmla="*/ 655992 h 67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7986" h="675483">
                    <a:moveTo>
                      <a:pt x="66615" y="655992"/>
                    </a:moveTo>
                    <a:cubicBezTo>
                      <a:pt x="124908" y="559504"/>
                      <a:pt x="179201" y="460634"/>
                      <a:pt x="230541" y="360717"/>
                    </a:cubicBezTo>
                    <a:cubicBezTo>
                      <a:pt x="281881" y="260800"/>
                      <a:pt x="328457" y="157548"/>
                      <a:pt x="372368" y="53726"/>
                    </a:cubicBezTo>
                    <a:cubicBezTo>
                      <a:pt x="382083" y="36152"/>
                      <a:pt x="375797" y="14007"/>
                      <a:pt x="358176" y="4263"/>
                    </a:cubicBezTo>
                    <a:cubicBezTo>
                      <a:pt x="340554" y="-5472"/>
                      <a:pt x="318456" y="881"/>
                      <a:pt x="308741" y="18455"/>
                    </a:cubicBezTo>
                    <a:cubicBezTo>
                      <a:pt x="307407" y="20732"/>
                      <a:pt x="306455" y="23132"/>
                      <a:pt x="305693" y="25627"/>
                    </a:cubicBezTo>
                    <a:cubicBezTo>
                      <a:pt x="262449" y="127830"/>
                      <a:pt x="216444" y="228891"/>
                      <a:pt x="166056" y="327761"/>
                    </a:cubicBezTo>
                    <a:cubicBezTo>
                      <a:pt x="115669" y="426630"/>
                      <a:pt x="62138" y="523785"/>
                      <a:pt x="4702" y="618749"/>
                    </a:cubicBezTo>
                    <a:cubicBezTo>
                      <a:pt x="-6155" y="636151"/>
                      <a:pt x="-1203" y="659011"/>
                      <a:pt x="15752" y="670470"/>
                    </a:cubicBezTo>
                    <a:cubicBezTo>
                      <a:pt x="33754" y="680490"/>
                      <a:pt x="56519" y="674013"/>
                      <a:pt x="66615" y="6559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9" name="Freeform: Shape 198">
                <a:extLst>
                  <a:ext uri="{FF2B5EF4-FFF2-40B4-BE49-F238E27FC236}">
                    <a16:creationId xmlns:a16="http://schemas.microsoft.com/office/drawing/2014/main" id="{180BD0B8-76E4-49CF-8264-6DCEEE991089}"/>
                  </a:ext>
                </a:extLst>
              </p:cNvPr>
              <p:cNvSpPr/>
              <p:nvPr/>
            </p:nvSpPr>
            <p:spPr>
              <a:xfrm>
                <a:off x="8122852" y="3989012"/>
                <a:ext cx="384687" cy="487592"/>
              </a:xfrm>
              <a:custGeom>
                <a:avLst/>
                <a:gdLst>
                  <a:gd name="connsiteX0" fmla="*/ 63835 w 384687"/>
                  <a:gd name="connsiteY0" fmla="*/ 473084 h 487592"/>
                  <a:gd name="connsiteX1" fmla="*/ 375970 w 384687"/>
                  <a:gd name="connsiteY1" fmla="*/ 58556 h 487592"/>
                  <a:gd name="connsiteX2" fmla="*/ 369492 w 384687"/>
                  <a:gd name="connsiteY2" fmla="*/ 7368 h 487592"/>
                  <a:gd name="connsiteX3" fmla="*/ 318343 w 384687"/>
                  <a:gd name="connsiteY3" fmla="*/ 13808 h 487592"/>
                  <a:gd name="connsiteX4" fmla="*/ 315486 w 384687"/>
                  <a:gd name="connsiteY4" fmla="*/ 18075 h 487592"/>
                  <a:gd name="connsiteX5" fmla="*/ 8209 w 384687"/>
                  <a:gd name="connsiteY5" fmla="*/ 426221 h 487592"/>
                  <a:gd name="connsiteX6" fmla="*/ 11162 w 384687"/>
                  <a:gd name="connsiteY6" fmla="*/ 479085 h 487592"/>
                  <a:gd name="connsiteX7" fmla="*/ 63644 w 384687"/>
                  <a:gd name="connsiteY7" fmla="*/ 473313 h 487592"/>
                  <a:gd name="connsiteX8" fmla="*/ 63835 w 384687"/>
                  <a:gd name="connsiteY8" fmla="*/ 473084 h 487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4687" h="487592">
                    <a:moveTo>
                      <a:pt x="63835" y="473084"/>
                    </a:moveTo>
                    <a:cubicBezTo>
                      <a:pt x="175659" y="340953"/>
                      <a:pt x="279863" y="202545"/>
                      <a:pt x="375970" y="58556"/>
                    </a:cubicBezTo>
                    <a:cubicBezTo>
                      <a:pt x="388351" y="42640"/>
                      <a:pt x="385399" y="19722"/>
                      <a:pt x="369492" y="7368"/>
                    </a:cubicBezTo>
                    <a:cubicBezTo>
                      <a:pt x="353586" y="-4985"/>
                      <a:pt x="330726" y="-2109"/>
                      <a:pt x="318343" y="13808"/>
                    </a:cubicBezTo>
                    <a:cubicBezTo>
                      <a:pt x="317295" y="15160"/>
                      <a:pt x="316343" y="16589"/>
                      <a:pt x="315486" y="18075"/>
                    </a:cubicBezTo>
                    <a:cubicBezTo>
                      <a:pt x="220902" y="159864"/>
                      <a:pt x="118318" y="296129"/>
                      <a:pt x="8209" y="426221"/>
                    </a:cubicBezTo>
                    <a:cubicBezTo>
                      <a:pt x="-5221" y="441756"/>
                      <a:pt x="-3887" y="465140"/>
                      <a:pt x="11162" y="479085"/>
                    </a:cubicBezTo>
                    <a:cubicBezTo>
                      <a:pt x="27259" y="491982"/>
                      <a:pt x="50786" y="489400"/>
                      <a:pt x="63644" y="473313"/>
                    </a:cubicBezTo>
                    <a:cubicBezTo>
                      <a:pt x="63740" y="473237"/>
                      <a:pt x="63740" y="473160"/>
                      <a:pt x="63835" y="47308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0" name="Freeform: Shape 199">
                <a:extLst>
                  <a:ext uri="{FF2B5EF4-FFF2-40B4-BE49-F238E27FC236}">
                    <a16:creationId xmlns:a16="http://schemas.microsoft.com/office/drawing/2014/main" id="{8806581F-5EF6-490E-8045-91CD2AA9AA95}"/>
                  </a:ext>
                </a:extLst>
              </p:cNvPr>
              <p:cNvSpPr/>
              <p:nvPr/>
            </p:nvSpPr>
            <p:spPr>
              <a:xfrm>
                <a:off x="8058502" y="3995643"/>
                <a:ext cx="626968" cy="782162"/>
              </a:xfrm>
              <a:custGeom>
                <a:avLst/>
                <a:gdLst>
                  <a:gd name="connsiteX0" fmla="*/ 63319 w 626968"/>
                  <a:gd name="connsiteY0" fmla="*/ 768490 h 782162"/>
                  <a:gd name="connsiteX1" fmla="*/ 619104 w 626968"/>
                  <a:gd name="connsiteY1" fmla="*/ 58116 h 782162"/>
                  <a:gd name="connsiteX2" fmla="*/ 609579 w 626968"/>
                  <a:gd name="connsiteY2" fmla="*/ 4586 h 782162"/>
                  <a:gd name="connsiteX3" fmla="*/ 557858 w 626968"/>
                  <a:gd name="connsiteY3" fmla="*/ 18873 h 782162"/>
                  <a:gd name="connsiteX4" fmla="*/ 10456 w 626968"/>
                  <a:gd name="connsiteY4" fmla="*/ 718675 h 782162"/>
                  <a:gd name="connsiteX5" fmla="*/ 9313 w 626968"/>
                  <a:gd name="connsiteY5" fmla="*/ 772491 h 782162"/>
                  <a:gd name="connsiteX6" fmla="*/ 63035 w 626968"/>
                  <a:gd name="connsiteY6" fmla="*/ 768786 h 782162"/>
                  <a:gd name="connsiteX7" fmla="*/ 63319 w 626968"/>
                  <a:gd name="connsiteY7" fmla="*/ 768490 h 782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6968" h="782162">
                    <a:moveTo>
                      <a:pt x="63319" y="768490"/>
                    </a:moveTo>
                    <a:cubicBezTo>
                      <a:pt x="270488" y="549701"/>
                      <a:pt x="456607" y="311852"/>
                      <a:pt x="619104" y="58116"/>
                    </a:cubicBezTo>
                    <a:cubicBezTo>
                      <a:pt x="631106" y="40666"/>
                      <a:pt x="626819" y="16834"/>
                      <a:pt x="609579" y="4586"/>
                    </a:cubicBezTo>
                    <a:cubicBezTo>
                      <a:pt x="591386" y="-5654"/>
                      <a:pt x="568240" y="718"/>
                      <a:pt x="557858" y="18873"/>
                    </a:cubicBezTo>
                    <a:cubicBezTo>
                      <a:pt x="397743" y="268809"/>
                      <a:pt x="214481" y="503105"/>
                      <a:pt x="10456" y="718675"/>
                    </a:cubicBezTo>
                    <a:cubicBezTo>
                      <a:pt x="-4403" y="733343"/>
                      <a:pt x="-4974" y="757203"/>
                      <a:pt x="9313" y="772491"/>
                    </a:cubicBezTo>
                    <a:cubicBezTo>
                      <a:pt x="25219" y="786312"/>
                      <a:pt x="49223" y="784654"/>
                      <a:pt x="63035" y="768786"/>
                    </a:cubicBezTo>
                    <a:cubicBezTo>
                      <a:pt x="63130" y="768690"/>
                      <a:pt x="63225" y="768586"/>
                      <a:pt x="63319" y="76849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1" name="Freeform: Shape 200">
                <a:extLst>
                  <a:ext uri="{FF2B5EF4-FFF2-40B4-BE49-F238E27FC236}">
                    <a16:creationId xmlns:a16="http://schemas.microsoft.com/office/drawing/2014/main" id="{85DF4E72-DC10-440A-9CFB-A41D8D2A1FF8}"/>
                  </a:ext>
                </a:extLst>
              </p:cNvPr>
              <p:cNvSpPr/>
              <p:nvPr/>
            </p:nvSpPr>
            <p:spPr>
              <a:xfrm>
                <a:off x="8716920" y="3520712"/>
                <a:ext cx="235287" cy="377479"/>
              </a:xfrm>
              <a:custGeom>
                <a:avLst/>
                <a:gdLst>
                  <a:gd name="connsiteX0" fmla="*/ 68795 w 235287"/>
                  <a:gd name="connsiteY0" fmla="*/ 355406 h 377479"/>
                  <a:gd name="connsiteX1" fmla="*/ 110801 w 235287"/>
                  <a:gd name="connsiteY1" fmla="*/ 281206 h 377479"/>
                  <a:gd name="connsiteX2" fmla="*/ 151757 w 235287"/>
                  <a:gd name="connsiteY2" fmla="*/ 206244 h 377479"/>
                  <a:gd name="connsiteX3" fmla="*/ 191382 w 235287"/>
                  <a:gd name="connsiteY3" fmla="*/ 130711 h 377479"/>
                  <a:gd name="connsiteX4" fmla="*/ 229482 w 235287"/>
                  <a:gd name="connsiteY4" fmla="*/ 54511 h 377479"/>
                  <a:gd name="connsiteX5" fmla="*/ 214527 w 235287"/>
                  <a:gd name="connsiteY5" fmla="*/ 2752 h 377479"/>
                  <a:gd name="connsiteX6" fmla="*/ 214242 w 235287"/>
                  <a:gd name="connsiteY6" fmla="*/ 2600 h 377479"/>
                  <a:gd name="connsiteX7" fmla="*/ 164140 w 235287"/>
                  <a:gd name="connsiteY7" fmla="*/ 22507 h 377479"/>
                  <a:gd name="connsiteX8" fmla="*/ 126707 w 235287"/>
                  <a:gd name="connsiteY8" fmla="*/ 97850 h 377479"/>
                  <a:gd name="connsiteX9" fmla="*/ 87654 w 235287"/>
                  <a:gd name="connsiteY9" fmla="*/ 172240 h 377479"/>
                  <a:gd name="connsiteX10" fmla="*/ 47364 w 235287"/>
                  <a:gd name="connsiteY10" fmla="*/ 245964 h 377479"/>
                  <a:gd name="connsiteX11" fmla="*/ 5930 w 235287"/>
                  <a:gd name="connsiteY11" fmla="*/ 319115 h 377479"/>
                  <a:gd name="connsiteX12" fmla="*/ 14026 w 235287"/>
                  <a:gd name="connsiteY12" fmla="*/ 370198 h 377479"/>
                  <a:gd name="connsiteX13" fmla="*/ 65080 w 235287"/>
                  <a:gd name="connsiteY13" fmla="*/ 362092 h 377479"/>
                  <a:gd name="connsiteX14" fmla="*/ 68890 w 235287"/>
                  <a:gd name="connsiteY14" fmla="*/ 355596 h 377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35287" h="377479">
                    <a:moveTo>
                      <a:pt x="68795" y="355406"/>
                    </a:moveTo>
                    <a:cubicBezTo>
                      <a:pt x="83464" y="331117"/>
                      <a:pt x="96798" y="305876"/>
                      <a:pt x="110801" y="281206"/>
                    </a:cubicBezTo>
                    <a:cubicBezTo>
                      <a:pt x="124802" y="256536"/>
                      <a:pt x="138613" y="231581"/>
                      <a:pt x="151757" y="206244"/>
                    </a:cubicBezTo>
                    <a:lnTo>
                      <a:pt x="191382" y="130711"/>
                    </a:lnTo>
                    <a:lnTo>
                      <a:pt x="229482" y="54511"/>
                    </a:lnTo>
                    <a:cubicBezTo>
                      <a:pt x="239673" y="36080"/>
                      <a:pt x="232911" y="12906"/>
                      <a:pt x="214527" y="2752"/>
                    </a:cubicBezTo>
                    <a:cubicBezTo>
                      <a:pt x="214433" y="2695"/>
                      <a:pt x="214337" y="2648"/>
                      <a:pt x="214242" y="2600"/>
                    </a:cubicBezTo>
                    <a:cubicBezTo>
                      <a:pt x="194906" y="-5306"/>
                      <a:pt x="172807" y="3485"/>
                      <a:pt x="164140" y="22507"/>
                    </a:cubicBezTo>
                    <a:lnTo>
                      <a:pt x="126707" y="97850"/>
                    </a:lnTo>
                    <a:lnTo>
                      <a:pt x="87654" y="172240"/>
                    </a:lnTo>
                    <a:cubicBezTo>
                      <a:pt x="74796" y="197100"/>
                      <a:pt x="61079" y="221580"/>
                      <a:pt x="47364" y="245964"/>
                    </a:cubicBezTo>
                    <a:cubicBezTo>
                      <a:pt x="33647" y="270348"/>
                      <a:pt x="20407" y="295112"/>
                      <a:pt x="5930" y="319115"/>
                    </a:cubicBezTo>
                    <a:cubicBezTo>
                      <a:pt x="-5976" y="335460"/>
                      <a:pt x="-2261" y="358330"/>
                      <a:pt x="14026" y="370198"/>
                    </a:cubicBezTo>
                    <a:cubicBezTo>
                      <a:pt x="30409" y="382066"/>
                      <a:pt x="53269" y="378437"/>
                      <a:pt x="65080" y="362092"/>
                    </a:cubicBezTo>
                    <a:cubicBezTo>
                      <a:pt x="66605" y="360064"/>
                      <a:pt x="67843" y="357882"/>
                      <a:pt x="68890" y="35559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2" name="Freeform: Shape 201">
                <a:extLst>
                  <a:ext uri="{FF2B5EF4-FFF2-40B4-BE49-F238E27FC236}">
                    <a16:creationId xmlns:a16="http://schemas.microsoft.com/office/drawing/2014/main" id="{CAFBC6E7-1DC0-48E4-84E4-959DBA58A6E7}"/>
                  </a:ext>
                </a:extLst>
              </p:cNvPr>
              <p:cNvSpPr/>
              <p:nvPr/>
            </p:nvSpPr>
            <p:spPr>
              <a:xfrm>
                <a:off x="7626999" y="4878732"/>
                <a:ext cx="330690" cy="300731"/>
              </a:xfrm>
              <a:custGeom>
                <a:avLst/>
                <a:gdLst>
                  <a:gd name="connsiteX0" fmla="*/ 60578 w 330690"/>
                  <a:gd name="connsiteY0" fmla="*/ 290786 h 300731"/>
                  <a:gd name="connsiteX1" fmla="*/ 315944 w 330690"/>
                  <a:gd name="connsiteY1" fmla="*/ 64662 h 300731"/>
                  <a:gd name="connsiteX2" fmla="*/ 321659 w 330690"/>
                  <a:gd name="connsiteY2" fmla="*/ 13389 h 300731"/>
                  <a:gd name="connsiteX3" fmla="*/ 270319 w 330690"/>
                  <a:gd name="connsiteY3" fmla="*/ 7703 h 300731"/>
                  <a:gd name="connsiteX4" fmla="*/ 265842 w 330690"/>
                  <a:gd name="connsiteY4" fmla="*/ 11989 h 300731"/>
                  <a:gd name="connsiteX5" fmla="*/ 14287 w 330690"/>
                  <a:gd name="connsiteY5" fmla="*/ 234589 h 300731"/>
                  <a:gd name="connsiteX6" fmla="*/ 6382 w 330690"/>
                  <a:gd name="connsiteY6" fmla="*/ 287738 h 300731"/>
                  <a:gd name="connsiteX7" fmla="*/ 6382 w 330690"/>
                  <a:gd name="connsiteY7" fmla="*/ 287738 h 300731"/>
                  <a:gd name="connsiteX8" fmla="*/ 60578 w 330690"/>
                  <a:gd name="connsiteY8" fmla="*/ 290786 h 300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0690" h="300731">
                    <a:moveTo>
                      <a:pt x="60578" y="290786"/>
                    </a:moveTo>
                    <a:cubicBezTo>
                      <a:pt x="148018" y="218110"/>
                      <a:pt x="233457" y="142958"/>
                      <a:pt x="315944" y="64662"/>
                    </a:cubicBezTo>
                    <a:cubicBezTo>
                      <a:pt x="331659" y="52071"/>
                      <a:pt x="334231" y="29115"/>
                      <a:pt x="321659" y="13389"/>
                    </a:cubicBezTo>
                    <a:cubicBezTo>
                      <a:pt x="309085" y="-2346"/>
                      <a:pt x="286035" y="-4889"/>
                      <a:pt x="270319" y="7703"/>
                    </a:cubicBezTo>
                    <a:cubicBezTo>
                      <a:pt x="268699" y="8998"/>
                      <a:pt x="267176" y="10437"/>
                      <a:pt x="265842" y="11989"/>
                    </a:cubicBezTo>
                    <a:cubicBezTo>
                      <a:pt x="184499" y="89018"/>
                      <a:pt x="100678" y="163217"/>
                      <a:pt x="14287" y="234589"/>
                    </a:cubicBezTo>
                    <a:cubicBezTo>
                      <a:pt x="-2477" y="247114"/>
                      <a:pt x="-6097" y="270860"/>
                      <a:pt x="6382" y="287738"/>
                    </a:cubicBezTo>
                    <a:lnTo>
                      <a:pt x="6382" y="287738"/>
                    </a:lnTo>
                    <a:cubicBezTo>
                      <a:pt x="20574" y="303397"/>
                      <a:pt x="44672" y="304750"/>
                      <a:pt x="60578" y="29078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3" name="Freeform: Shape 202">
                <a:extLst>
                  <a:ext uri="{FF2B5EF4-FFF2-40B4-BE49-F238E27FC236}">
                    <a16:creationId xmlns:a16="http://schemas.microsoft.com/office/drawing/2014/main" id="{B8C46F6B-5C82-4256-B21D-5F579E2A2C8C}"/>
                  </a:ext>
                </a:extLst>
              </p:cNvPr>
              <p:cNvSpPr/>
              <p:nvPr/>
            </p:nvSpPr>
            <p:spPr>
              <a:xfrm>
                <a:off x="6275525" y="5753582"/>
                <a:ext cx="391748" cy="205246"/>
              </a:xfrm>
              <a:custGeom>
                <a:avLst/>
                <a:gdLst>
                  <a:gd name="connsiteX0" fmla="*/ 50741 w 391748"/>
                  <a:gd name="connsiteY0" fmla="*/ 201843 h 205246"/>
                  <a:gd name="connsiteX1" fmla="*/ 366018 w 391748"/>
                  <a:gd name="connsiteY1" fmla="*/ 70874 h 205246"/>
                  <a:gd name="connsiteX2" fmla="*/ 388687 w 391748"/>
                  <a:gd name="connsiteY2" fmla="*/ 24402 h 205246"/>
                  <a:gd name="connsiteX3" fmla="*/ 342301 w 391748"/>
                  <a:gd name="connsiteY3" fmla="*/ 1694 h 205246"/>
                  <a:gd name="connsiteX4" fmla="*/ 335728 w 391748"/>
                  <a:gd name="connsiteY4" fmla="*/ 4676 h 205246"/>
                  <a:gd name="connsiteX5" fmla="*/ 25213 w 391748"/>
                  <a:gd name="connsiteY5" fmla="*/ 133644 h 205246"/>
                  <a:gd name="connsiteX6" fmla="*/ 639 w 391748"/>
                  <a:gd name="connsiteY6" fmla="*/ 181746 h 205246"/>
                  <a:gd name="connsiteX7" fmla="*/ 50645 w 391748"/>
                  <a:gd name="connsiteY7" fmla="*/ 201901 h 205246"/>
                  <a:gd name="connsiteX8" fmla="*/ 50741 w 391748"/>
                  <a:gd name="connsiteY8" fmla="*/ 201843 h 205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1748" h="205246">
                    <a:moveTo>
                      <a:pt x="50741" y="201843"/>
                    </a:moveTo>
                    <a:cubicBezTo>
                      <a:pt x="157611" y="162505"/>
                      <a:pt x="262386" y="117833"/>
                      <a:pt x="366018" y="70874"/>
                    </a:cubicBezTo>
                    <a:cubicBezTo>
                      <a:pt x="385163" y="64312"/>
                      <a:pt x="395259" y="43509"/>
                      <a:pt x="388687" y="24402"/>
                    </a:cubicBezTo>
                    <a:cubicBezTo>
                      <a:pt x="382210" y="5295"/>
                      <a:pt x="361351" y="-4868"/>
                      <a:pt x="342301" y="1694"/>
                    </a:cubicBezTo>
                    <a:cubicBezTo>
                      <a:pt x="340015" y="2466"/>
                      <a:pt x="337823" y="3466"/>
                      <a:pt x="335728" y="4676"/>
                    </a:cubicBezTo>
                    <a:cubicBezTo>
                      <a:pt x="233620" y="50968"/>
                      <a:pt x="130465" y="94973"/>
                      <a:pt x="25213" y="133644"/>
                    </a:cubicBezTo>
                    <a:cubicBezTo>
                      <a:pt x="5401" y="140436"/>
                      <a:pt x="-5457" y="161705"/>
                      <a:pt x="639" y="181746"/>
                    </a:cubicBezTo>
                    <a:cubicBezTo>
                      <a:pt x="8830" y="201110"/>
                      <a:pt x="31214" y="210130"/>
                      <a:pt x="50645" y="201901"/>
                    </a:cubicBezTo>
                    <a:cubicBezTo>
                      <a:pt x="50645" y="201882"/>
                      <a:pt x="50741" y="201862"/>
                      <a:pt x="50741" y="20184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4" name="Freeform: Shape 203">
                <a:extLst>
                  <a:ext uri="{FF2B5EF4-FFF2-40B4-BE49-F238E27FC236}">
                    <a16:creationId xmlns:a16="http://schemas.microsoft.com/office/drawing/2014/main" id="{0810AA04-6B26-45E1-8F64-94F73A217188}"/>
                  </a:ext>
                </a:extLst>
              </p:cNvPr>
              <p:cNvSpPr/>
              <p:nvPr/>
            </p:nvSpPr>
            <p:spPr>
              <a:xfrm>
                <a:off x="6326765" y="4565184"/>
                <a:ext cx="827634" cy="542926"/>
              </a:xfrm>
              <a:custGeom>
                <a:avLst/>
                <a:gdLst>
                  <a:gd name="connsiteX0" fmla="*/ 49029 w 827634"/>
                  <a:gd name="connsiteY0" fmla="*/ 540136 h 542926"/>
                  <a:gd name="connsiteX1" fmla="*/ 444983 w 827634"/>
                  <a:gd name="connsiteY1" fmla="*/ 323252 h 542926"/>
                  <a:gd name="connsiteX2" fmla="*/ 814363 w 827634"/>
                  <a:gd name="connsiteY2" fmla="*/ 63410 h 542926"/>
                  <a:gd name="connsiteX3" fmla="*/ 817316 w 827634"/>
                  <a:gd name="connsiteY3" fmla="*/ 11898 h 542926"/>
                  <a:gd name="connsiteX4" fmla="*/ 769214 w 827634"/>
                  <a:gd name="connsiteY4" fmla="*/ 6259 h 542926"/>
                  <a:gd name="connsiteX5" fmla="*/ 406121 w 827634"/>
                  <a:gd name="connsiteY5" fmla="*/ 261529 h 542926"/>
                  <a:gd name="connsiteX6" fmla="*/ 17406 w 827634"/>
                  <a:gd name="connsiteY6" fmla="*/ 474413 h 542926"/>
                  <a:gd name="connsiteX7" fmla="*/ 3690 w 827634"/>
                  <a:gd name="connsiteY7" fmla="*/ 524143 h 542926"/>
                  <a:gd name="connsiteX8" fmla="*/ 48648 w 827634"/>
                  <a:gd name="connsiteY8" fmla="*/ 540136 h 542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27634" h="542926">
                    <a:moveTo>
                      <a:pt x="49029" y="540136"/>
                    </a:moveTo>
                    <a:cubicBezTo>
                      <a:pt x="185047" y="475509"/>
                      <a:pt x="317254" y="403090"/>
                      <a:pt x="444983" y="323252"/>
                    </a:cubicBezTo>
                    <a:cubicBezTo>
                      <a:pt x="572904" y="243699"/>
                      <a:pt x="696253" y="156945"/>
                      <a:pt x="814363" y="63410"/>
                    </a:cubicBezTo>
                    <a:cubicBezTo>
                      <a:pt x="829412" y="49998"/>
                      <a:pt x="830746" y="26938"/>
                      <a:pt x="817316" y="11898"/>
                    </a:cubicBezTo>
                    <a:cubicBezTo>
                      <a:pt x="805029" y="-1884"/>
                      <a:pt x="784359" y="-4304"/>
                      <a:pt x="769214" y="6259"/>
                    </a:cubicBezTo>
                    <a:cubicBezTo>
                      <a:pt x="653105" y="98147"/>
                      <a:pt x="531851" y="183367"/>
                      <a:pt x="406121" y="261529"/>
                    </a:cubicBezTo>
                    <a:cubicBezTo>
                      <a:pt x="280677" y="339854"/>
                      <a:pt x="150946" y="410929"/>
                      <a:pt x="17406" y="474413"/>
                    </a:cubicBezTo>
                    <a:cubicBezTo>
                      <a:pt x="-120" y="484357"/>
                      <a:pt x="-6216" y="506627"/>
                      <a:pt x="3690" y="524143"/>
                    </a:cubicBezTo>
                    <a:cubicBezTo>
                      <a:pt x="12643" y="539898"/>
                      <a:pt x="31788" y="546708"/>
                      <a:pt x="48648" y="54013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5" name="Freeform: Shape 204">
                <a:extLst>
                  <a:ext uri="{FF2B5EF4-FFF2-40B4-BE49-F238E27FC236}">
                    <a16:creationId xmlns:a16="http://schemas.microsoft.com/office/drawing/2014/main" id="{BAFE87CD-3310-4D17-83C3-7B5336B73660}"/>
                  </a:ext>
                </a:extLst>
              </p:cNvPr>
              <p:cNvSpPr/>
              <p:nvPr/>
            </p:nvSpPr>
            <p:spPr>
              <a:xfrm>
                <a:off x="6835137" y="4652391"/>
                <a:ext cx="454969" cy="348348"/>
              </a:xfrm>
              <a:custGeom>
                <a:avLst/>
                <a:gdLst>
                  <a:gd name="connsiteX0" fmla="*/ 53960 w 454969"/>
                  <a:gd name="connsiteY0" fmla="*/ 343010 h 348348"/>
                  <a:gd name="connsiteX1" fmla="*/ 441247 w 454969"/>
                  <a:gd name="connsiteY1" fmla="*/ 63450 h 348348"/>
                  <a:gd name="connsiteX2" fmla="*/ 445723 w 454969"/>
                  <a:gd name="connsiteY2" fmla="*/ 13816 h 348348"/>
                  <a:gd name="connsiteX3" fmla="*/ 445342 w 454969"/>
                  <a:gd name="connsiteY3" fmla="*/ 13349 h 348348"/>
                  <a:gd name="connsiteX4" fmla="*/ 395431 w 454969"/>
                  <a:gd name="connsiteY4" fmla="*/ 6967 h 348348"/>
                  <a:gd name="connsiteX5" fmla="*/ 14431 w 454969"/>
                  <a:gd name="connsiteY5" fmla="*/ 281669 h 348348"/>
                  <a:gd name="connsiteX6" fmla="*/ 4906 w 454969"/>
                  <a:gd name="connsiteY6" fmla="*/ 330722 h 348348"/>
                  <a:gd name="connsiteX7" fmla="*/ 53960 w 454969"/>
                  <a:gd name="connsiteY7" fmla="*/ 343010 h 348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4969" h="348348">
                    <a:moveTo>
                      <a:pt x="53960" y="343010"/>
                    </a:moveTo>
                    <a:cubicBezTo>
                      <a:pt x="188262" y="257228"/>
                      <a:pt x="317516" y="163892"/>
                      <a:pt x="441247" y="63450"/>
                    </a:cubicBezTo>
                    <a:cubicBezTo>
                      <a:pt x="456200" y="50983"/>
                      <a:pt x="458200" y="28761"/>
                      <a:pt x="445723" y="13816"/>
                    </a:cubicBezTo>
                    <a:cubicBezTo>
                      <a:pt x="445628" y="13654"/>
                      <a:pt x="445437" y="13502"/>
                      <a:pt x="445342" y="13349"/>
                    </a:cubicBezTo>
                    <a:cubicBezTo>
                      <a:pt x="433245" y="-1976"/>
                      <a:pt x="411052" y="-4815"/>
                      <a:pt x="395431" y="6967"/>
                    </a:cubicBezTo>
                    <a:cubicBezTo>
                      <a:pt x="273701" y="105647"/>
                      <a:pt x="146542" y="197353"/>
                      <a:pt x="14431" y="281669"/>
                    </a:cubicBezTo>
                    <a:cubicBezTo>
                      <a:pt x="-1666" y="292651"/>
                      <a:pt x="-5858" y="314520"/>
                      <a:pt x="4906" y="330722"/>
                    </a:cubicBezTo>
                    <a:cubicBezTo>
                      <a:pt x="15097" y="347591"/>
                      <a:pt x="37005" y="353078"/>
                      <a:pt x="53960" y="3430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6" name="Freeform: Shape 205">
                <a:extLst>
                  <a:ext uri="{FF2B5EF4-FFF2-40B4-BE49-F238E27FC236}">
                    <a16:creationId xmlns:a16="http://schemas.microsoft.com/office/drawing/2014/main" id="{D897D57B-7D2E-4D00-8BF8-07421C00BF5F}"/>
                  </a:ext>
                </a:extLst>
              </p:cNvPr>
              <p:cNvSpPr/>
              <p:nvPr/>
            </p:nvSpPr>
            <p:spPr>
              <a:xfrm>
                <a:off x="6182780" y="4995279"/>
                <a:ext cx="615206" cy="343822"/>
              </a:xfrm>
              <a:custGeom>
                <a:avLst/>
                <a:gdLst>
                  <a:gd name="connsiteX0" fmla="*/ 47758 w 615206"/>
                  <a:gd name="connsiteY0" fmla="*/ 341212 h 343822"/>
                  <a:gd name="connsiteX1" fmla="*/ 188918 w 615206"/>
                  <a:gd name="connsiteY1" fmla="*/ 280538 h 343822"/>
                  <a:gd name="connsiteX2" fmla="*/ 327603 w 615206"/>
                  <a:gd name="connsiteY2" fmla="*/ 213863 h 343822"/>
                  <a:gd name="connsiteX3" fmla="*/ 597350 w 615206"/>
                  <a:gd name="connsiteY3" fmla="*/ 66606 h 343822"/>
                  <a:gd name="connsiteX4" fmla="*/ 608876 w 615206"/>
                  <a:gd name="connsiteY4" fmla="*/ 17981 h 343822"/>
                  <a:gd name="connsiteX5" fmla="*/ 608686 w 615206"/>
                  <a:gd name="connsiteY5" fmla="*/ 17647 h 343822"/>
                  <a:gd name="connsiteX6" fmla="*/ 560108 w 615206"/>
                  <a:gd name="connsiteY6" fmla="*/ 4122 h 343822"/>
                  <a:gd name="connsiteX7" fmla="*/ 295122 w 615206"/>
                  <a:gd name="connsiteY7" fmla="*/ 148807 h 343822"/>
                  <a:gd name="connsiteX8" fmla="*/ 158915 w 615206"/>
                  <a:gd name="connsiteY8" fmla="*/ 213958 h 343822"/>
                  <a:gd name="connsiteX9" fmla="*/ 20135 w 615206"/>
                  <a:gd name="connsiteY9" fmla="*/ 273489 h 343822"/>
                  <a:gd name="connsiteX10" fmla="*/ 1753 w 615206"/>
                  <a:gd name="connsiteY10" fmla="*/ 320257 h 343822"/>
                  <a:gd name="connsiteX11" fmla="*/ 1753 w 615206"/>
                  <a:gd name="connsiteY11" fmla="*/ 320257 h 343822"/>
                  <a:gd name="connsiteX12" fmla="*/ 47567 w 615206"/>
                  <a:gd name="connsiteY12" fmla="*/ 341297 h 343822"/>
                  <a:gd name="connsiteX13" fmla="*/ 47758 w 615206"/>
                  <a:gd name="connsiteY13" fmla="*/ 341212 h 343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15206" h="343822">
                    <a:moveTo>
                      <a:pt x="47758" y="341212"/>
                    </a:moveTo>
                    <a:cubicBezTo>
                      <a:pt x="95383" y="322162"/>
                      <a:pt x="142056" y="301111"/>
                      <a:pt x="188918" y="280538"/>
                    </a:cubicBezTo>
                    <a:cubicBezTo>
                      <a:pt x="235782" y="259963"/>
                      <a:pt x="281978" y="237580"/>
                      <a:pt x="327603" y="213863"/>
                    </a:cubicBezTo>
                    <a:cubicBezTo>
                      <a:pt x="419233" y="168143"/>
                      <a:pt x="509530" y="119375"/>
                      <a:pt x="597350" y="66606"/>
                    </a:cubicBezTo>
                    <a:cubicBezTo>
                      <a:pt x="613924" y="56366"/>
                      <a:pt x="619163" y="34593"/>
                      <a:pt x="608876" y="17981"/>
                    </a:cubicBezTo>
                    <a:cubicBezTo>
                      <a:pt x="608781" y="17866"/>
                      <a:pt x="608781" y="17762"/>
                      <a:pt x="608686" y="17647"/>
                    </a:cubicBezTo>
                    <a:cubicBezTo>
                      <a:pt x="598779" y="750"/>
                      <a:pt x="577253" y="-5251"/>
                      <a:pt x="560108" y="4122"/>
                    </a:cubicBezTo>
                    <a:cubicBezTo>
                      <a:pt x="473811" y="55938"/>
                      <a:pt x="385134" y="103849"/>
                      <a:pt x="295122" y="148807"/>
                    </a:cubicBezTo>
                    <a:cubicBezTo>
                      <a:pt x="250260" y="171667"/>
                      <a:pt x="204539" y="192621"/>
                      <a:pt x="158915" y="213958"/>
                    </a:cubicBezTo>
                    <a:cubicBezTo>
                      <a:pt x="113290" y="235294"/>
                      <a:pt x="66999" y="254915"/>
                      <a:pt x="20135" y="273489"/>
                    </a:cubicBezTo>
                    <a:cubicBezTo>
                      <a:pt x="2324" y="281518"/>
                      <a:pt x="-5772" y="302264"/>
                      <a:pt x="1753" y="320257"/>
                    </a:cubicBezTo>
                    <a:lnTo>
                      <a:pt x="1753" y="320257"/>
                    </a:lnTo>
                    <a:cubicBezTo>
                      <a:pt x="8611" y="338707"/>
                      <a:pt x="29090" y="348127"/>
                      <a:pt x="47567" y="341297"/>
                    </a:cubicBezTo>
                    <a:cubicBezTo>
                      <a:pt x="47567" y="341269"/>
                      <a:pt x="47663" y="341240"/>
                      <a:pt x="47758" y="3412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7" name="Freeform: Shape 206">
                <a:extLst>
                  <a:ext uri="{FF2B5EF4-FFF2-40B4-BE49-F238E27FC236}">
                    <a16:creationId xmlns:a16="http://schemas.microsoft.com/office/drawing/2014/main" id="{3E92F6A2-1788-48A3-BDB1-417FA267EE52}"/>
                  </a:ext>
                </a:extLst>
              </p:cNvPr>
              <p:cNvSpPr/>
              <p:nvPr/>
            </p:nvSpPr>
            <p:spPr>
              <a:xfrm>
                <a:off x="7149019" y="4840724"/>
                <a:ext cx="148528" cy="129108"/>
              </a:xfrm>
              <a:custGeom>
                <a:avLst/>
                <a:gdLst>
                  <a:gd name="connsiteX0" fmla="*/ 56403 w 148528"/>
                  <a:gd name="connsiteY0" fmla="*/ 122863 h 129108"/>
                  <a:gd name="connsiteX1" fmla="*/ 133364 w 148528"/>
                  <a:gd name="connsiteY1" fmla="*/ 65046 h 129108"/>
                  <a:gd name="connsiteX2" fmla="*/ 140032 w 148528"/>
                  <a:gd name="connsiteY2" fmla="*/ 14573 h 129108"/>
                  <a:gd name="connsiteX3" fmla="*/ 139842 w 148528"/>
                  <a:gd name="connsiteY3" fmla="*/ 14278 h 129108"/>
                  <a:gd name="connsiteX4" fmla="*/ 139842 w 148528"/>
                  <a:gd name="connsiteY4" fmla="*/ 14278 h 129108"/>
                  <a:gd name="connsiteX5" fmla="*/ 88693 w 148528"/>
                  <a:gd name="connsiteY5" fmla="*/ 6944 h 129108"/>
                  <a:gd name="connsiteX6" fmla="*/ 12493 w 148528"/>
                  <a:gd name="connsiteY6" fmla="*/ 64094 h 129108"/>
                  <a:gd name="connsiteX7" fmla="*/ 6968 w 148528"/>
                  <a:gd name="connsiteY7" fmla="*/ 115252 h 129108"/>
                  <a:gd name="connsiteX8" fmla="*/ 55546 w 148528"/>
                  <a:gd name="connsiteY8" fmla="*/ 122673 h 129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8528" h="129108">
                    <a:moveTo>
                      <a:pt x="56403" y="122863"/>
                    </a:moveTo>
                    <a:cubicBezTo>
                      <a:pt x="82596" y="103813"/>
                      <a:pt x="107933" y="84763"/>
                      <a:pt x="133364" y="65046"/>
                    </a:cubicBezTo>
                    <a:cubicBezTo>
                      <a:pt x="149176" y="52959"/>
                      <a:pt x="152129" y="30356"/>
                      <a:pt x="140032" y="14573"/>
                    </a:cubicBezTo>
                    <a:cubicBezTo>
                      <a:pt x="140032" y="14468"/>
                      <a:pt x="139937" y="14373"/>
                      <a:pt x="139842" y="14278"/>
                    </a:cubicBezTo>
                    <a:lnTo>
                      <a:pt x="139842" y="14278"/>
                    </a:lnTo>
                    <a:cubicBezTo>
                      <a:pt x="127745" y="-1801"/>
                      <a:pt x="104885" y="-5077"/>
                      <a:pt x="88693" y="6944"/>
                    </a:cubicBezTo>
                    <a:cubicBezTo>
                      <a:pt x="63642" y="25994"/>
                      <a:pt x="38686" y="45520"/>
                      <a:pt x="12493" y="64094"/>
                    </a:cubicBezTo>
                    <a:cubicBezTo>
                      <a:pt x="-3129" y="76705"/>
                      <a:pt x="-5605" y="99612"/>
                      <a:pt x="6968" y="115252"/>
                    </a:cubicBezTo>
                    <a:cubicBezTo>
                      <a:pt x="18875" y="129921"/>
                      <a:pt x="39925" y="133141"/>
                      <a:pt x="55546" y="12267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8" name="Freeform: Shape 207">
                <a:extLst>
                  <a:ext uri="{FF2B5EF4-FFF2-40B4-BE49-F238E27FC236}">
                    <a16:creationId xmlns:a16="http://schemas.microsoft.com/office/drawing/2014/main" id="{08431F2F-713E-4C95-9B84-0A72DDC45467}"/>
                  </a:ext>
                </a:extLst>
              </p:cNvPr>
              <p:cNvSpPr/>
              <p:nvPr/>
            </p:nvSpPr>
            <p:spPr>
              <a:xfrm>
                <a:off x="6492125" y="4815354"/>
                <a:ext cx="1080555" cy="721975"/>
              </a:xfrm>
              <a:custGeom>
                <a:avLst/>
                <a:gdLst>
                  <a:gd name="connsiteX0" fmla="*/ 51309 w 1080555"/>
                  <a:gd name="connsiteY0" fmla="*/ 718115 h 721975"/>
                  <a:gd name="connsiteX1" fmla="*/ 1066103 w 1080555"/>
                  <a:gd name="connsiteY1" fmla="*/ 63938 h 721975"/>
                  <a:gd name="connsiteX2" fmla="*/ 1071246 w 1080555"/>
                  <a:gd name="connsiteY2" fmla="*/ 12608 h 721975"/>
                  <a:gd name="connsiteX3" fmla="*/ 1070770 w 1080555"/>
                  <a:gd name="connsiteY3" fmla="*/ 12026 h 721975"/>
                  <a:gd name="connsiteX4" fmla="*/ 1018858 w 1080555"/>
                  <a:gd name="connsiteY4" fmla="*/ 8597 h 721975"/>
                  <a:gd name="connsiteX5" fmla="*/ 20543 w 1080555"/>
                  <a:gd name="connsiteY5" fmla="*/ 651440 h 721975"/>
                  <a:gd name="connsiteX6" fmla="*/ 2064 w 1080555"/>
                  <a:gd name="connsiteY6" fmla="*/ 700112 h 721975"/>
                  <a:gd name="connsiteX7" fmla="*/ 50738 w 1080555"/>
                  <a:gd name="connsiteY7" fmla="*/ 718371 h 721975"/>
                  <a:gd name="connsiteX8" fmla="*/ 51309 w 1080555"/>
                  <a:gd name="connsiteY8" fmla="*/ 718115 h 721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80555" h="721975">
                    <a:moveTo>
                      <a:pt x="51309" y="718115"/>
                    </a:moveTo>
                    <a:cubicBezTo>
                      <a:pt x="417640" y="547064"/>
                      <a:pt x="759017" y="326990"/>
                      <a:pt x="1066103" y="63938"/>
                    </a:cubicBezTo>
                    <a:cubicBezTo>
                      <a:pt x="1081724" y="51184"/>
                      <a:pt x="1084010" y="28200"/>
                      <a:pt x="1071246" y="12608"/>
                    </a:cubicBezTo>
                    <a:cubicBezTo>
                      <a:pt x="1071056" y="12407"/>
                      <a:pt x="1070961" y="12217"/>
                      <a:pt x="1070770" y="12026"/>
                    </a:cubicBezTo>
                    <a:cubicBezTo>
                      <a:pt x="1057244" y="-2966"/>
                      <a:pt x="1034290" y="-4490"/>
                      <a:pt x="1018858" y="8597"/>
                    </a:cubicBezTo>
                    <a:cubicBezTo>
                      <a:pt x="716725" y="267106"/>
                      <a:pt x="380874" y="483361"/>
                      <a:pt x="20543" y="651440"/>
                    </a:cubicBezTo>
                    <a:cubicBezTo>
                      <a:pt x="2160" y="659907"/>
                      <a:pt x="-6032" y="681567"/>
                      <a:pt x="2064" y="700112"/>
                    </a:cubicBezTo>
                    <a:cubicBezTo>
                      <a:pt x="10446" y="718601"/>
                      <a:pt x="32259" y="726773"/>
                      <a:pt x="50738" y="718371"/>
                    </a:cubicBezTo>
                    <a:cubicBezTo>
                      <a:pt x="50928" y="718286"/>
                      <a:pt x="51118" y="718200"/>
                      <a:pt x="51309" y="71811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9" name="Freeform: Shape 208">
                <a:extLst>
                  <a:ext uri="{FF2B5EF4-FFF2-40B4-BE49-F238E27FC236}">
                    <a16:creationId xmlns:a16="http://schemas.microsoft.com/office/drawing/2014/main" id="{2E164B41-0082-4894-A12F-EE2B74549F3D}"/>
                  </a:ext>
                </a:extLst>
              </p:cNvPr>
              <p:cNvSpPr/>
              <p:nvPr/>
            </p:nvSpPr>
            <p:spPr>
              <a:xfrm>
                <a:off x="6873463" y="5149172"/>
                <a:ext cx="522873" cy="362836"/>
              </a:xfrm>
              <a:custGeom>
                <a:avLst/>
                <a:gdLst>
                  <a:gd name="connsiteX0" fmla="*/ 54782 w 522873"/>
                  <a:gd name="connsiteY0" fmla="*/ 357245 h 362836"/>
                  <a:gd name="connsiteX1" fmla="*/ 505599 w 522873"/>
                  <a:gd name="connsiteY1" fmla="*/ 66066 h 362836"/>
                  <a:gd name="connsiteX2" fmla="*/ 515315 w 522873"/>
                  <a:gd name="connsiteY2" fmla="*/ 14307 h 362836"/>
                  <a:gd name="connsiteX3" fmla="*/ 515124 w 522873"/>
                  <a:gd name="connsiteY3" fmla="*/ 13964 h 362836"/>
                  <a:gd name="connsiteX4" fmla="*/ 462452 w 522873"/>
                  <a:gd name="connsiteY4" fmla="*/ 7392 h 362836"/>
                  <a:gd name="connsiteX5" fmla="*/ 18777 w 522873"/>
                  <a:gd name="connsiteY5" fmla="*/ 293904 h 362836"/>
                  <a:gd name="connsiteX6" fmla="*/ 2965 w 522873"/>
                  <a:gd name="connsiteY6" fmla="*/ 344386 h 362836"/>
                  <a:gd name="connsiteX7" fmla="*/ 2965 w 522873"/>
                  <a:gd name="connsiteY7" fmla="*/ 344386 h 362836"/>
                  <a:gd name="connsiteX8" fmla="*/ 54782 w 522873"/>
                  <a:gd name="connsiteY8" fmla="*/ 357245 h 362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2873" h="362836">
                    <a:moveTo>
                      <a:pt x="54782" y="357245"/>
                    </a:moveTo>
                    <a:cubicBezTo>
                      <a:pt x="210610" y="269148"/>
                      <a:pt x="361201" y="171917"/>
                      <a:pt x="505599" y="66066"/>
                    </a:cubicBezTo>
                    <a:cubicBezTo>
                      <a:pt x="522554" y="54474"/>
                      <a:pt x="526935" y="31299"/>
                      <a:pt x="515315" y="14307"/>
                    </a:cubicBezTo>
                    <a:cubicBezTo>
                      <a:pt x="515315" y="14192"/>
                      <a:pt x="515220" y="14078"/>
                      <a:pt x="515124" y="13964"/>
                    </a:cubicBezTo>
                    <a:cubicBezTo>
                      <a:pt x="502266" y="-2114"/>
                      <a:pt x="478930" y="-5019"/>
                      <a:pt x="462452" y="7392"/>
                    </a:cubicBezTo>
                    <a:cubicBezTo>
                      <a:pt x="320339" y="111547"/>
                      <a:pt x="172224" y="207217"/>
                      <a:pt x="18777" y="293904"/>
                    </a:cubicBezTo>
                    <a:cubicBezTo>
                      <a:pt x="774" y="303733"/>
                      <a:pt x="-6179" y="326051"/>
                      <a:pt x="2965" y="344386"/>
                    </a:cubicBezTo>
                    <a:lnTo>
                      <a:pt x="2965" y="344386"/>
                    </a:lnTo>
                    <a:cubicBezTo>
                      <a:pt x="13824" y="362084"/>
                      <a:pt x="36874" y="367799"/>
                      <a:pt x="54782" y="35724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0" name="Freeform: Shape 209">
                <a:extLst>
                  <a:ext uri="{FF2B5EF4-FFF2-40B4-BE49-F238E27FC236}">
                    <a16:creationId xmlns:a16="http://schemas.microsoft.com/office/drawing/2014/main" id="{91BF28A8-E069-482A-AB40-3E0F1C05B969}"/>
                  </a:ext>
                </a:extLst>
              </p:cNvPr>
              <p:cNvSpPr/>
              <p:nvPr/>
            </p:nvSpPr>
            <p:spPr>
              <a:xfrm>
                <a:off x="6726789" y="5213910"/>
                <a:ext cx="838207" cy="549111"/>
              </a:xfrm>
              <a:custGeom>
                <a:avLst/>
                <a:gdLst>
                  <a:gd name="connsiteX0" fmla="*/ 53723 w 838207"/>
                  <a:gd name="connsiteY0" fmla="*/ 544158 h 549111"/>
                  <a:gd name="connsiteX1" fmla="*/ 819724 w 838207"/>
                  <a:gd name="connsiteY1" fmla="*/ 67431 h 549111"/>
                  <a:gd name="connsiteX2" fmla="*/ 831725 w 838207"/>
                  <a:gd name="connsiteY2" fmla="*/ 17111 h 549111"/>
                  <a:gd name="connsiteX3" fmla="*/ 781433 w 838207"/>
                  <a:gd name="connsiteY3" fmla="*/ 5128 h 549111"/>
                  <a:gd name="connsiteX4" fmla="*/ 775623 w 838207"/>
                  <a:gd name="connsiteY4" fmla="*/ 9519 h 549111"/>
                  <a:gd name="connsiteX5" fmla="*/ 21337 w 838207"/>
                  <a:gd name="connsiteY5" fmla="*/ 479102 h 549111"/>
                  <a:gd name="connsiteX6" fmla="*/ 2287 w 838207"/>
                  <a:gd name="connsiteY6" fmla="*/ 529394 h 549111"/>
                  <a:gd name="connsiteX7" fmla="*/ 53723 w 838207"/>
                  <a:gd name="connsiteY7" fmla="*/ 544158 h 549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8207" h="549111">
                    <a:moveTo>
                      <a:pt x="53723" y="544158"/>
                    </a:moveTo>
                    <a:cubicBezTo>
                      <a:pt x="323565" y="409769"/>
                      <a:pt x="579979" y="250149"/>
                      <a:pt x="819724" y="67431"/>
                    </a:cubicBezTo>
                    <a:cubicBezTo>
                      <a:pt x="836963" y="56849"/>
                      <a:pt x="842298" y="34312"/>
                      <a:pt x="831725" y="17111"/>
                    </a:cubicBezTo>
                    <a:cubicBezTo>
                      <a:pt x="821151" y="-92"/>
                      <a:pt x="798577" y="-5454"/>
                      <a:pt x="781433" y="5128"/>
                    </a:cubicBezTo>
                    <a:cubicBezTo>
                      <a:pt x="779338" y="6395"/>
                      <a:pt x="777432" y="7871"/>
                      <a:pt x="775623" y="9519"/>
                    </a:cubicBezTo>
                    <a:cubicBezTo>
                      <a:pt x="539593" y="189484"/>
                      <a:pt x="286990" y="346714"/>
                      <a:pt x="21337" y="479102"/>
                    </a:cubicBezTo>
                    <a:cubicBezTo>
                      <a:pt x="2192" y="487760"/>
                      <a:pt x="-6285" y="510249"/>
                      <a:pt x="2287" y="529394"/>
                    </a:cubicBezTo>
                    <a:cubicBezTo>
                      <a:pt x="12480" y="547558"/>
                      <a:pt x="35434" y="554130"/>
                      <a:pt x="53723" y="5441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1" name="Freeform: Shape 210">
                <a:extLst>
                  <a:ext uri="{FF2B5EF4-FFF2-40B4-BE49-F238E27FC236}">
                    <a16:creationId xmlns:a16="http://schemas.microsoft.com/office/drawing/2014/main" id="{EDEA5E45-5B6B-4EAB-87DF-7C193FD53DBB}"/>
                  </a:ext>
                </a:extLst>
              </p:cNvPr>
              <p:cNvSpPr/>
              <p:nvPr/>
            </p:nvSpPr>
            <p:spPr>
              <a:xfrm>
                <a:off x="5099751" y="5186890"/>
                <a:ext cx="936268" cy="277545"/>
              </a:xfrm>
              <a:custGeom>
                <a:avLst/>
                <a:gdLst>
                  <a:gd name="connsiteX0" fmla="*/ 36364 w 936268"/>
                  <a:gd name="connsiteY0" fmla="*/ 277236 h 277545"/>
                  <a:gd name="connsiteX1" fmla="*/ 913426 w 936268"/>
                  <a:gd name="connsiteY1" fmla="*/ 69591 h 277545"/>
                  <a:gd name="connsiteX2" fmla="*/ 932762 w 936268"/>
                  <a:gd name="connsiteY2" fmla="*/ 24681 h 277545"/>
                  <a:gd name="connsiteX3" fmla="*/ 932476 w 936268"/>
                  <a:gd name="connsiteY3" fmla="*/ 23966 h 277545"/>
                  <a:gd name="connsiteX4" fmla="*/ 932476 w 936268"/>
                  <a:gd name="connsiteY4" fmla="*/ 23966 h 277545"/>
                  <a:gd name="connsiteX5" fmla="*/ 888756 w 936268"/>
                  <a:gd name="connsiteY5" fmla="*/ 1201 h 277545"/>
                  <a:gd name="connsiteX6" fmla="*/ 27696 w 936268"/>
                  <a:gd name="connsiteY6" fmla="*/ 204941 h 277545"/>
                  <a:gd name="connsiteX7" fmla="*/ -211 w 936268"/>
                  <a:gd name="connsiteY7" fmla="*/ 248499 h 277545"/>
                  <a:gd name="connsiteX8" fmla="*/ 36364 w 936268"/>
                  <a:gd name="connsiteY8" fmla="*/ 277236 h 277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36268" h="277545">
                    <a:moveTo>
                      <a:pt x="36364" y="277236"/>
                    </a:moveTo>
                    <a:cubicBezTo>
                      <a:pt x="335640" y="241365"/>
                      <a:pt x="629868" y="171708"/>
                      <a:pt x="913426" y="69591"/>
                    </a:cubicBezTo>
                    <a:cubicBezTo>
                      <a:pt x="931143" y="62533"/>
                      <a:pt x="939810" y="42426"/>
                      <a:pt x="932762" y="24681"/>
                    </a:cubicBezTo>
                    <a:cubicBezTo>
                      <a:pt x="932666" y="24442"/>
                      <a:pt x="932571" y="24205"/>
                      <a:pt x="932476" y="23966"/>
                    </a:cubicBezTo>
                    <a:lnTo>
                      <a:pt x="932476" y="23966"/>
                    </a:lnTo>
                    <a:cubicBezTo>
                      <a:pt x="926476" y="5792"/>
                      <a:pt x="907045" y="-4304"/>
                      <a:pt x="888756" y="1201"/>
                    </a:cubicBezTo>
                    <a:cubicBezTo>
                      <a:pt x="610341" y="101461"/>
                      <a:pt x="321543" y="169813"/>
                      <a:pt x="27696" y="204941"/>
                    </a:cubicBezTo>
                    <a:cubicBezTo>
                      <a:pt x="7980" y="209265"/>
                      <a:pt x="-4498" y="228763"/>
                      <a:pt x="-211" y="248499"/>
                    </a:cubicBezTo>
                    <a:cubicBezTo>
                      <a:pt x="3503" y="265587"/>
                      <a:pt x="18839" y="277636"/>
                      <a:pt x="36364" y="27723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2" name="Freeform: Shape 211">
                <a:extLst>
                  <a:ext uri="{FF2B5EF4-FFF2-40B4-BE49-F238E27FC236}">
                    <a16:creationId xmlns:a16="http://schemas.microsoft.com/office/drawing/2014/main" id="{8513B30F-E6A6-4C4B-85DB-2C592B8AA93D}"/>
                  </a:ext>
                </a:extLst>
              </p:cNvPr>
              <p:cNvSpPr/>
              <p:nvPr/>
            </p:nvSpPr>
            <p:spPr>
              <a:xfrm>
                <a:off x="4805313" y="5404775"/>
                <a:ext cx="235361" cy="84321"/>
              </a:xfrm>
              <a:custGeom>
                <a:avLst/>
                <a:gdLst>
                  <a:gd name="connsiteX0" fmla="*/ 33337 w 235361"/>
                  <a:gd name="connsiteY0" fmla="*/ 84021 h 84321"/>
                  <a:gd name="connsiteX1" fmla="*/ 119062 w 235361"/>
                  <a:gd name="connsiteY1" fmla="*/ 79068 h 84321"/>
                  <a:gd name="connsiteX2" fmla="*/ 204787 w 235361"/>
                  <a:gd name="connsiteY2" fmla="*/ 72306 h 84321"/>
                  <a:gd name="connsiteX3" fmla="*/ 234029 w 235361"/>
                  <a:gd name="connsiteY3" fmla="*/ 34501 h 84321"/>
                  <a:gd name="connsiteX4" fmla="*/ 234029 w 235361"/>
                  <a:gd name="connsiteY4" fmla="*/ 34206 h 84321"/>
                  <a:gd name="connsiteX5" fmla="*/ 234029 w 235361"/>
                  <a:gd name="connsiteY5" fmla="*/ 31920 h 84321"/>
                  <a:gd name="connsiteX6" fmla="*/ 198596 w 235361"/>
                  <a:gd name="connsiteY6" fmla="*/ -275 h 84321"/>
                  <a:gd name="connsiteX7" fmla="*/ 114300 w 235361"/>
                  <a:gd name="connsiteY7" fmla="*/ 6297 h 84321"/>
                  <a:gd name="connsiteX8" fmla="*/ 29908 w 235361"/>
                  <a:gd name="connsiteY8" fmla="*/ 11155 h 84321"/>
                  <a:gd name="connsiteX9" fmla="*/ -952 w 235361"/>
                  <a:gd name="connsiteY9" fmla="*/ 47635 h 84321"/>
                  <a:gd name="connsiteX10" fmla="*/ -952 w 235361"/>
                  <a:gd name="connsiteY10" fmla="*/ 49826 h 84321"/>
                  <a:gd name="connsiteX11" fmla="*/ 33051 w 235361"/>
                  <a:gd name="connsiteY11" fmla="*/ 84021 h 84321"/>
                  <a:gd name="connsiteX12" fmla="*/ 33337 w 235361"/>
                  <a:gd name="connsiteY12" fmla="*/ 84021 h 84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5361" h="84321">
                    <a:moveTo>
                      <a:pt x="33337" y="84021"/>
                    </a:moveTo>
                    <a:cubicBezTo>
                      <a:pt x="61912" y="83164"/>
                      <a:pt x="90487" y="80592"/>
                      <a:pt x="119062" y="79068"/>
                    </a:cubicBezTo>
                    <a:cubicBezTo>
                      <a:pt x="147637" y="77544"/>
                      <a:pt x="176212" y="74972"/>
                      <a:pt x="204787" y="72306"/>
                    </a:cubicBezTo>
                    <a:cubicBezTo>
                      <a:pt x="223265" y="69953"/>
                      <a:pt x="236410" y="53027"/>
                      <a:pt x="234029" y="34501"/>
                    </a:cubicBezTo>
                    <a:cubicBezTo>
                      <a:pt x="234029" y="34396"/>
                      <a:pt x="234029" y="34301"/>
                      <a:pt x="234029" y="34206"/>
                    </a:cubicBezTo>
                    <a:lnTo>
                      <a:pt x="234029" y="31920"/>
                    </a:lnTo>
                    <a:cubicBezTo>
                      <a:pt x="232981" y="13327"/>
                      <a:pt x="217170" y="-980"/>
                      <a:pt x="198596" y="-275"/>
                    </a:cubicBezTo>
                    <a:cubicBezTo>
                      <a:pt x="170593" y="2201"/>
                      <a:pt x="142493" y="4773"/>
                      <a:pt x="114300" y="6297"/>
                    </a:cubicBezTo>
                    <a:cubicBezTo>
                      <a:pt x="86106" y="7821"/>
                      <a:pt x="58102" y="10393"/>
                      <a:pt x="29908" y="11155"/>
                    </a:cubicBezTo>
                    <a:cubicBezTo>
                      <a:pt x="11334" y="12822"/>
                      <a:pt x="-2381" y="29081"/>
                      <a:pt x="-952" y="47635"/>
                    </a:cubicBezTo>
                    <a:lnTo>
                      <a:pt x="-952" y="49826"/>
                    </a:lnTo>
                    <a:cubicBezTo>
                      <a:pt x="-1048" y="68657"/>
                      <a:pt x="14192" y="83964"/>
                      <a:pt x="33051" y="84021"/>
                    </a:cubicBezTo>
                    <a:cubicBezTo>
                      <a:pt x="33147" y="84021"/>
                      <a:pt x="33242" y="84021"/>
                      <a:pt x="33337" y="8402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3" name="Freeform: Shape 212">
                <a:extLst>
                  <a:ext uri="{FF2B5EF4-FFF2-40B4-BE49-F238E27FC236}">
                    <a16:creationId xmlns:a16="http://schemas.microsoft.com/office/drawing/2014/main" id="{6715160A-EF95-4E04-9653-433E066D0C31}"/>
                  </a:ext>
                </a:extLst>
              </p:cNvPr>
              <p:cNvSpPr/>
              <p:nvPr/>
            </p:nvSpPr>
            <p:spPr>
              <a:xfrm>
                <a:off x="5615741" y="5313347"/>
                <a:ext cx="521578" cy="211297"/>
              </a:xfrm>
              <a:custGeom>
                <a:avLst/>
                <a:gdLst>
                  <a:gd name="connsiteX0" fmla="*/ 41868 w 521578"/>
                  <a:gd name="connsiteY0" fmla="*/ 210596 h 211297"/>
                  <a:gd name="connsiteX1" fmla="*/ 157406 w 521578"/>
                  <a:gd name="connsiteY1" fmla="*/ 180306 h 211297"/>
                  <a:gd name="connsiteX2" fmla="*/ 271706 w 521578"/>
                  <a:gd name="connsiteY2" fmla="*/ 146778 h 211297"/>
                  <a:gd name="connsiteX3" fmla="*/ 385245 w 521578"/>
                  <a:gd name="connsiteY3" fmla="*/ 109631 h 211297"/>
                  <a:gd name="connsiteX4" fmla="*/ 441537 w 521578"/>
                  <a:gd name="connsiteY4" fmla="*/ 89819 h 211297"/>
                  <a:gd name="connsiteX5" fmla="*/ 470112 w 521578"/>
                  <a:gd name="connsiteY5" fmla="*/ 80294 h 211297"/>
                  <a:gd name="connsiteX6" fmla="*/ 498020 w 521578"/>
                  <a:gd name="connsiteY6" fmla="*/ 69721 h 211297"/>
                  <a:gd name="connsiteX7" fmla="*/ 517737 w 521578"/>
                  <a:gd name="connsiteY7" fmla="*/ 22201 h 211297"/>
                  <a:gd name="connsiteX8" fmla="*/ 472493 w 521578"/>
                  <a:gd name="connsiteY8" fmla="*/ 1617 h 211297"/>
                  <a:gd name="connsiteX9" fmla="*/ 445061 w 521578"/>
                  <a:gd name="connsiteY9" fmla="*/ 12000 h 211297"/>
                  <a:gd name="connsiteX10" fmla="*/ 417439 w 521578"/>
                  <a:gd name="connsiteY10" fmla="*/ 21525 h 211297"/>
                  <a:gd name="connsiteX11" fmla="*/ 362098 w 521578"/>
                  <a:gd name="connsiteY11" fmla="*/ 40575 h 211297"/>
                  <a:gd name="connsiteX12" fmla="*/ 250561 w 521578"/>
                  <a:gd name="connsiteY12" fmla="*/ 77055 h 211297"/>
                  <a:gd name="connsiteX13" fmla="*/ 137975 w 521578"/>
                  <a:gd name="connsiteY13" fmla="*/ 110012 h 211297"/>
                  <a:gd name="connsiteX14" fmla="*/ 24438 w 521578"/>
                  <a:gd name="connsiteY14" fmla="*/ 139730 h 211297"/>
                  <a:gd name="connsiteX15" fmla="*/ 625 w 521578"/>
                  <a:gd name="connsiteY15" fmla="*/ 185507 h 211297"/>
                  <a:gd name="connsiteX16" fmla="*/ 41963 w 521578"/>
                  <a:gd name="connsiteY16" fmla="*/ 210405 h 211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21578" h="211297">
                    <a:moveTo>
                      <a:pt x="41868" y="210596"/>
                    </a:moveTo>
                    <a:cubicBezTo>
                      <a:pt x="80635" y="201642"/>
                      <a:pt x="118925" y="190498"/>
                      <a:pt x="157406" y="180306"/>
                    </a:cubicBezTo>
                    <a:cubicBezTo>
                      <a:pt x="195888" y="170114"/>
                      <a:pt x="233606" y="157827"/>
                      <a:pt x="271706" y="146778"/>
                    </a:cubicBezTo>
                    <a:cubicBezTo>
                      <a:pt x="309806" y="135729"/>
                      <a:pt x="347906" y="122585"/>
                      <a:pt x="385245" y="109631"/>
                    </a:cubicBezTo>
                    <a:lnTo>
                      <a:pt x="441537" y="89819"/>
                    </a:lnTo>
                    <a:lnTo>
                      <a:pt x="470112" y="80294"/>
                    </a:lnTo>
                    <a:lnTo>
                      <a:pt x="498020" y="69721"/>
                    </a:lnTo>
                    <a:cubicBezTo>
                      <a:pt x="516594" y="62044"/>
                      <a:pt x="525452" y="40765"/>
                      <a:pt x="517737" y="22201"/>
                    </a:cubicBezTo>
                    <a:cubicBezTo>
                      <a:pt x="510403" y="4494"/>
                      <a:pt x="490686" y="-4508"/>
                      <a:pt x="472493" y="1617"/>
                    </a:cubicBezTo>
                    <a:lnTo>
                      <a:pt x="445061" y="12000"/>
                    </a:lnTo>
                    <a:lnTo>
                      <a:pt x="417439" y="21525"/>
                    </a:lnTo>
                    <a:lnTo>
                      <a:pt x="362098" y="40575"/>
                    </a:lnTo>
                    <a:cubicBezTo>
                      <a:pt x="325046" y="53242"/>
                      <a:pt x="287709" y="64959"/>
                      <a:pt x="250561" y="77055"/>
                    </a:cubicBezTo>
                    <a:cubicBezTo>
                      <a:pt x="213413" y="89152"/>
                      <a:pt x="175695" y="99820"/>
                      <a:pt x="137975" y="110012"/>
                    </a:cubicBezTo>
                    <a:cubicBezTo>
                      <a:pt x="100256" y="120203"/>
                      <a:pt x="62538" y="130967"/>
                      <a:pt x="24438" y="139730"/>
                    </a:cubicBezTo>
                    <a:cubicBezTo>
                      <a:pt x="5197" y="145807"/>
                      <a:pt x="-5376" y="166304"/>
                      <a:pt x="625" y="185507"/>
                    </a:cubicBezTo>
                    <a:cubicBezTo>
                      <a:pt x="6149" y="203023"/>
                      <a:pt x="23866" y="213691"/>
                      <a:pt x="41963" y="21040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4" name="Freeform: Shape 213">
                <a:extLst>
                  <a:ext uri="{FF2B5EF4-FFF2-40B4-BE49-F238E27FC236}">
                    <a16:creationId xmlns:a16="http://schemas.microsoft.com/office/drawing/2014/main" id="{544E8AF1-BEF2-4638-9392-3F24F5F72FDD}"/>
                  </a:ext>
                </a:extLst>
              </p:cNvPr>
              <p:cNvSpPr/>
              <p:nvPr/>
            </p:nvSpPr>
            <p:spPr>
              <a:xfrm>
                <a:off x="4246736" y="5557326"/>
                <a:ext cx="533186" cy="88866"/>
              </a:xfrm>
              <a:custGeom>
                <a:avLst/>
                <a:gdLst>
                  <a:gd name="connsiteX0" fmla="*/ 30130 w 533186"/>
                  <a:gd name="connsiteY0" fmla="*/ 72250 h 88866"/>
                  <a:gd name="connsiteX1" fmla="*/ 498379 w 533186"/>
                  <a:gd name="connsiteY1" fmla="*/ 87585 h 88866"/>
                  <a:gd name="connsiteX2" fmla="*/ 532097 w 533186"/>
                  <a:gd name="connsiteY2" fmla="*/ 50895 h 88866"/>
                  <a:gd name="connsiteX3" fmla="*/ 532097 w 533186"/>
                  <a:gd name="connsiteY3" fmla="*/ 50628 h 88866"/>
                  <a:gd name="connsiteX4" fmla="*/ 532097 w 533186"/>
                  <a:gd name="connsiteY4" fmla="*/ 49961 h 88866"/>
                  <a:gd name="connsiteX5" fmla="*/ 496855 w 533186"/>
                  <a:gd name="connsiteY5" fmla="*/ 14909 h 88866"/>
                  <a:gd name="connsiteX6" fmla="*/ 36606 w 533186"/>
                  <a:gd name="connsiteY6" fmla="*/ -236 h 88866"/>
                  <a:gd name="connsiteX7" fmla="*/ -826 w 533186"/>
                  <a:gd name="connsiteY7" fmla="*/ 32435 h 88866"/>
                  <a:gd name="connsiteX8" fmla="*/ -826 w 533186"/>
                  <a:gd name="connsiteY8" fmla="*/ 33292 h 88866"/>
                  <a:gd name="connsiteX9" fmla="*/ 30130 w 533186"/>
                  <a:gd name="connsiteY9" fmla="*/ 72250 h 88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33186" h="88866">
                    <a:moveTo>
                      <a:pt x="30130" y="72250"/>
                    </a:moveTo>
                    <a:cubicBezTo>
                      <a:pt x="185863" y="85784"/>
                      <a:pt x="342169" y="90909"/>
                      <a:pt x="498379" y="87585"/>
                    </a:cubicBezTo>
                    <a:cubicBezTo>
                      <a:pt x="517809" y="86766"/>
                      <a:pt x="532954" y="70335"/>
                      <a:pt x="532097" y="50895"/>
                    </a:cubicBezTo>
                    <a:cubicBezTo>
                      <a:pt x="532097" y="50809"/>
                      <a:pt x="532097" y="50713"/>
                      <a:pt x="532097" y="50628"/>
                    </a:cubicBezTo>
                    <a:lnTo>
                      <a:pt x="532097" y="49961"/>
                    </a:lnTo>
                    <a:cubicBezTo>
                      <a:pt x="531811" y="30635"/>
                      <a:pt x="516191" y="15061"/>
                      <a:pt x="496855" y="14909"/>
                    </a:cubicBezTo>
                    <a:cubicBezTo>
                      <a:pt x="343312" y="18157"/>
                      <a:pt x="189674" y="13099"/>
                      <a:pt x="36606" y="-236"/>
                    </a:cubicBezTo>
                    <a:cubicBezTo>
                      <a:pt x="17271" y="-1388"/>
                      <a:pt x="603" y="13156"/>
                      <a:pt x="-826" y="32435"/>
                    </a:cubicBezTo>
                    <a:lnTo>
                      <a:pt x="-826" y="33292"/>
                    </a:lnTo>
                    <a:cubicBezTo>
                      <a:pt x="-3017" y="52590"/>
                      <a:pt x="10794" y="70011"/>
                      <a:pt x="30130" y="72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5" name="Freeform: Shape 214">
                <a:extLst>
                  <a:ext uri="{FF2B5EF4-FFF2-40B4-BE49-F238E27FC236}">
                    <a16:creationId xmlns:a16="http://schemas.microsoft.com/office/drawing/2014/main" id="{0D11617E-A26F-4CFE-96A2-E51CE96696FF}"/>
                  </a:ext>
                </a:extLst>
              </p:cNvPr>
              <p:cNvSpPr/>
              <p:nvPr/>
            </p:nvSpPr>
            <p:spPr>
              <a:xfrm>
                <a:off x="4888207" y="5480942"/>
                <a:ext cx="673936" cy="156405"/>
              </a:xfrm>
              <a:custGeom>
                <a:avLst/>
                <a:gdLst>
                  <a:gd name="connsiteX0" fmla="*/ 36263 w 673936"/>
                  <a:gd name="connsiteY0" fmla="*/ 156063 h 156405"/>
                  <a:gd name="connsiteX1" fmla="*/ 189615 w 673936"/>
                  <a:gd name="connsiteY1" fmla="*/ 143585 h 156405"/>
                  <a:gd name="connsiteX2" fmla="*/ 342015 w 673936"/>
                  <a:gd name="connsiteY2" fmla="*/ 124535 h 156405"/>
                  <a:gd name="connsiteX3" fmla="*/ 493845 w 673936"/>
                  <a:gd name="connsiteY3" fmla="*/ 100913 h 156405"/>
                  <a:gd name="connsiteX4" fmla="*/ 569377 w 673936"/>
                  <a:gd name="connsiteY4" fmla="*/ 86626 h 156405"/>
                  <a:gd name="connsiteX5" fmla="*/ 607477 w 673936"/>
                  <a:gd name="connsiteY5" fmla="*/ 79292 h 156405"/>
                  <a:gd name="connsiteX6" fmla="*/ 644530 w 673936"/>
                  <a:gd name="connsiteY6" fmla="*/ 71576 h 156405"/>
                  <a:gd name="connsiteX7" fmla="*/ 671962 w 673936"/>
                  <a:gd name="connsiteY7" fmla="*/ 28038 h 156405"/>
                  <a:gd name="connsiteX8" fmla="*/ 629290 w 673936"/>
                  <a:gd name="connsiteY8" fmla="*/ 425 h 156405"/>
                  <a:gd name="connsiteX9" fmla="*/ 592428 w 673936"/>
                  <a:gd name="connsiteY9" fmla="*/ 8426 h 156405"/>
                  <a:gd name="connsiteX10" fmla="*/ 555280 w 673936"/>
                  <a:gd name="connsiteY10" fmla="*/ 15665 h 156405"/>
                  <a:gd name="connsiteX11" fmla="*/ 481176 w 673936"/>
                  <a:gd name="connsiteY11" fmla="*/ 29666 h 156405"/>
                  <a:gd name="connsiteX12" fmla="*/ 331920 w 673936"/>
                  <a:gd name="connsiteY12" fmla="*/ 53002 h 156405"/>
                  <a:gd name="connsiteX13" fmla="*/ 181995 w 673936"/>
                  <a:gd name="connsiteY13" fmla="*/ 71290 h 156405"/>
                  <a:gd name="connsiteX14" fmla="*/ 31310 w 673936"/>
                  <a:gd name="connsiteY14" fmla="*/ 83483 h 156405"/>
                  <a:gd name="connsiteX15" fmla="*/ -980 w 673936"/>
                  <a:gd name="connsiteY15" fmla="*/ 121583 h 156405"/>
                  <a:gd name="connsiteX16" fmla="*/ -980 w 673936"/>
                  <a:gd name="connsiteY16" fmla="*/ 121583 h 156405"/>
                  <a:gd name="connsiteX17" fmla="*/ 35502 w 673936"/>
                  <a:gd name="connsiteY17" fmla="*/ 156092 h 156405"/>
                  <a:gd name="connsiteX18" fmla="*/ 36263 w 673936"/>
                  <a:gd name="connsiteY18" fmla="*/ 156063 h 156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73936" h="156405">
                    <a:moveTo>
                      <a:pt x="36263" y="156063"/>
                    </a:moveTo>
                    <a:cubicBezTo>
                      <a:pt x="87508" y="153396"/>
                      <a:pt x="138466" y="147872"/>
                      <a:pt x="189615" y="143585"/>
                    </a:cubicBezTo>
                    <a:cubicBezTo>
                      <a:pt x="240479" y="137585"/>
                      <a:pt x="291532" y="132631"/>
                      <a:pt x="342015" y="124535"/>
                    </a:cubicBezTo>
                    <a:cubicBezTo>
                      <a:pt x="392498" y="116439"/>
                      <a:pt x="443362" y="109200"/>
                      <a:pt x="493845" y="100913"/>
                    </a:cubicBezTo>
                    <a:cubicBezTo>
                      <a:pt x="519085" y="96341"/>
                      <a:pt x="544231" y="91388"/>
                      <a:pt x="569377" y="86626"/>
                    </a:cubicBezTo>
                    <a:cubicBezTo>
                      <a:pt x="581951" y="84149"/>
                      <a:pt x="594619" y="81863"/>
                      <a:pt x="607477" y="79292"/>
                    </a:cubicBezTo>
                    <a:lnTo>
                      <a:pt x="644530" y="71576"/>
                    </a:lnTo>
                    <a:cubicBezTo>
                      <a:pt x="664152" y="67128"/>
                      <a:pt x="676438" y="47640"/>
                      <a:pt x="671962" y="28038"/>
                    </a:cubicBezTo>
                    <a:cubicBezTo>
                      <a:pt x="667580" y="8778"/>
                      <a:pt x="648626" y="-3481"/>
                      <a:pt x="629290" y="425"/>
                    </a:cubicBezTo>
                    <a:lnTo>
                      <a:pt x="592428" y="8426"/>
                    </a:lnTo>
                    <a:cubicBezTo>
                      <a:pt x="580045" y="11093"/>
                      <a:pt x="567663" y="13283"/>
                      <a:pt x="555280" y="15665"/>
                    </a:cubicBezTo>
                    <a:cubicBezTo>
                      <a:pt x="530611" y="20332"/>
                      <a:pt x="505940" y="25190"/>
                      <a:pt x="481176" y="29666"/>
                    </a:cubicBezTo>
                    <a:cubicBezTo>
                      <a:pt x="431455" y="37858"/>
                      <a:pt x="381830" y="46526"/>
                      <a:pt x="331920" y="53002"/>
                    </a:cubicBezTo>
                    <a:cubicBezTo>
                      <a:pt x="282007" y="59479"/>
                      <a:pt x="232001" y="65385"/>
                      <a:pt x="181995" y="71290"/>
                    </a:cubicBezTo>
                    <a:cubicBezTo>
                      <a:pt x="131799" y="75481"/>
                      <a:pt x="81698" y="80815"/>
                      <a:pt x="31310" y="83483"/>
                    </a:cubicBezTo>
                    <a:cubicBezTo>
                      <a:pt x="12069" y="85397"/>
                      <a:pt x="-2218" y="102256"/>
                      <a:pt x="-980" y="121583"/>
                    </a:cubicBezTo>
                    <a:lnTo>
                      <a:pt x="-980" y="121583"/>
                    </a:lnTo>
                    <a:cubicBezTo>
                      <a:pt x="-408" y="141195"/>
                      <a:pt x="15879" y="156644"/>
                      <a:pt x="35502" y="156092"/>
                    </a:cubicBezTo>
                    <a:cubicBezTo>
                      <a:pt x="35786" y="156082"/>
                      <a:pt x="35977" y="156072"/>
                      <a:pt x="36263" y="15606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6" name="Freeform: Shape 215">
                <a:extLst>
                  <a:ext uri="{FF2B5EF4-FFF2-40B4-BE49-F238E27FC236}">
                    <a16:creationId xmlns:a16="http://schemas.microsoft.com/office/drawing/2014/main" id="{C3A3D4BB-CAD1-4A5C-8C02-FFDB02D88061}"/>
                  </a:ext>
                </a:extLst>
              </p:cNvPr>
              <p:cNvSpPr/>
              <p:nvPr/>
            </p:nvSpPr>
            <p:spPr>
              <a:xfrm>
                <a:off x="5921604" y="5494165"/>
                <a:ext cx="162102" cy="102517"/>
              </a:xfrm>
              <a:custGeom>
                <a:avLst/>
                <a:gdLst>
                  <a:gd name="connsiteX0" fmla="*/ 45949 w 162102"/>
                  <a:gd name="connsiteY0" fmla="*/ 100454 h 102517"/>
                  <a:gd name="connsiteX1" fmla="*/ 91764 w 162102"/>
                  <a:gd name="connsiteY1" fmla="*/ 85595 h 102517"/>
                  <a:gd name="connsiteX2" fmla="*/ 137389 w 162102"/>
                  <a:gd name="connsiteY2" fmla="*/ 70164 h 102517"/>
                  <a:gd name="connsiteX3" fmla="*/ 158725 w 162102"/>
                  <a:gd name="connsiteY3" fmla="*/ 23321 h 102517"/>
                  <a:gd name="connsiteX4" fmla="*/ 113672 w 162102"/>
                  <a:gd name="connsiteY4" fmla="*/ 1394 h 102517"/>
                  <a:gd name="connsiteX5" fmla="*/ 68905 w 162102"/>
                  <a:gd name="connsiteY5" fmla="*/ 16539 h 102517"/>
                  <a:gd name="connsiteX6" fmla="*/ 23851 w 162102"/>
                  <a:gd name="connsiteY6" fmla="*/ 31112 h 102517"/>
                  <a:gd name="connsiteX7" fmla="*/ 610 w 162102"/>
                  <a:gd name="connsiteY7" fmla="*/ 76832 h 102517"/>
                  <a:gd name="connsiteX8" fmla="*/ 45282 w 162102"/>
                  <a:gd name="connsiteY8" fmla="*/ 100654 h 102517"/>
                  <a:gd name="connsiteX9" fmla="*/ 45949 w 162102"/>
                  <a:gd name="connsiteY9" fmla="*/ 100454 h 102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2102" h="102517">
                    <a:moveTo>
                      <a:pt x="45949" y="100454"/>
                    </a:moveTo>
                    <a:lnTo>
                      <a:pt x="91764" y="85595"/>
                    </a:lnTo>
                    <a:cubicBezTo>
                      <a:pt x="107099" y="80737"/>
                      <a:pt x="122245" y="76070"/>
                      <a:pt x="137389" y="70164"/>
                    </a:cubicBezTo>
                    <a:cubicBezTo>
                      <a:pt x="156248" y="63107"/>
                      <a:pt x="165773" y="42142"/>
                      <a:pt x="158725" y="23321"/>
                    </a:cubicBezTo>
                    <a:cubicBezTo>
                      <a:pt x="151867" y="5204"/>
                      <a:pt x="132150" y="-4426"/>
                      <a:pt x="113672" y="1394"/>
                    </a:cubicBezTo>
                    <a:cubicBezTo>
                      <a:pt x="98908" y="6728"/>
                      <a:pt x="83954" y="11776"/>
                      <a:pt x="68905" y="16539"/>
                    </a:cubicBezTo>
                    <a:lnTo>
                      <a:pt x="23851" y="31112"/>
                    </a:lnTo>
                    <a:cubicBezTo>
                      <a:pt x="4991" y="37579"/>
                      <a:pt x="-5295" y="57820"/>
                      <a:pt x="610" y="76832"/>
                    </a:cubicBezTo>
                    <a:cubicBezTo>
                      <a:pt x="6420" y="95758"/>
                      <a:pt x="26422" y="106417"/>
                      <a:pt x="45282" y="100654"/>
                    </a:cubicBezTo>
                    <a:cubicBezTo>
                      <a:pt x="45472" y="100588"/>
                      <a:pt x="45758" y="100521"/>
                      <a:pt x="45949" y="10045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7" name="Freeform: Shape 216">
                <a:extLst>
                  <a:ext uri="{FF2B5EF4-FFF2-40B4-BE49-F238E27FC236}">
                    <a16:creationId xmlns:a16="http://schemas.microsoft.com/office/drawing/2014/main" id="{DFB55E13-8A1F-4040-8901-890E3829BEDB}"/>
                  </a:ext>
                </a:extLst>
              </p:cNvPr>
              <p:cNvSpPr/>
              <p:nvPr/>
            </p:nvSpPr>
            <p:spPr>
              <a:xfrm>
                <a:off x="4503366" y="5724924"/>
                <a:ext cx="168508" cy="74115"/>
              </a:xfrm>
              <a:custGeom>
                <a:avLst/>
                <a:gdLst>
                  <a:gd name="connsiteX0" fmla="*/ 34960 w 168508"/>
                  <a:gd name="connsiteY0" fmla="*/ 72482 h 74115"/>
                  <a:gd name="connsiteX1" fmla="*/ 131258 w 168508"/>
                  <a:gd name="connsiteY1" fmla="*/ 73816 h 74115"/>
                  <a:gd name="connsiteX2" fmla="*/ 167454 w 168508"/>
                  <a:gd name="connsiteY2" fmla="*/ 37811 h 74115"/>
                  <a:gd name="connsiteX3" fmla="*/ 167454 w 168508"/>
                  <a:gd name="connsiteY3" fmla="*/ 37431 h 74115"/>
                  <a:gd name="connsiteX4" fmla="*/ 131544 w 168508"/>
                  <a:gd name="connsiteY4" fmla="*/ 1140 h 74115"/>
                  <a:gd name="connsiteX5" fmla="*/ 36294 w 168508"/>
                  <a:gd name="connsiteY5" fmla="*/ -289 h 74115"/>
                  <a:gd name="connsiteX6" fmla="*/ -1044 w 168508"/>
                  <a:gd name="connsiteY6" fmla="*/ 35192 h 74115"/>
                  <a:gd name="connsiteX7" fmla="*/ 34485 w 168508"/>
                  <a:gd name="connsiteY7" fmla="*/ 72482 h 74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8508" h="74115">
                    <a:moveTo>
                      <a:pt x="34960" y="72482"/>
                    </a:moveTo>
                    <a:cubicBezTo>
                      <a:pt x="67060" y="73339"/>
                      <a:pt x="99159" y="73339"/>
                      <a:pt x="131258" y="73816"/>
                    </a:cubicBezTo>
                    <a:cubicBezTo>
                      <a:pt x="151166" y="73873"/>
                      <a:pt x="167358" y="57747"/>
                      <a:pt x="167454" y="37811"/>
                    </a:cubicBezTo>
                    <a:cubicBezTo>
                      <a:pt x="167454" y="37688"/>
                      <a:pt x="167454" y="37554"/>
                      <a:pt x="167454" y="37431"/>
                    </a:cubicBezTo>
                    <a:cubicBezTo>
                      <a:pt x="167358" y="17580"/>
                      <a:pt x="151356" y="1454"/>
                      <a:pt x="131544" y="1140"/>
                    </a:cubicBezTo>
                    <a:cubicBezTo>
                      <a:pt x="99922" y="568"/>
                      <a:pt x="68393" y="664"/>
                      <a:pt x="36294" y="-289"/>
                    </a:cubicBezTo>
                    <a:cubicBezTo>
                      <a:pt x="16196" y="-784"/>
                      <a:pt x="-472" y="15094"/>
                      <a:pt x="-1044" y="35192"/>
                    </a:cubicBezTo>
                    <a:cubicBezTo>
                      <a:pt x="-1520" y="55290"/>
                      <a:pt x="14386" y="71987"/>
                      <a:pt x="34485" y="7248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8" name="Freeform: Shape 217">
                <a:extLst>
                  <a:ext uri="{FF2B5EF4-FFF2-40B4-BE49-F238E27FC236}">
                    <a16:creationId xmlns:a16="http://schemas.microsoft.com/office/drawing/2014/main" id="{BF0EF92D-D186-4E03-93E5-8A4FFBE2FFEA}"/>
                  </a:ext>
                </a:extLst>
              </p:cNvPr>
              <p:cNvSpPr/>
              <p:nvPr/>
            </p:nvSpPr>
            <p:spPr>
              <a:xfrm>
                <a:off x="4744540" y="5563859"/>
                <a:ext cx="1117432" cy="233286"/>
              </a:xfrm>
              <a:custGeom>
                <a:avLst/>
                <a:gdLst>
                  <a:gd name="connsiteX0" fmla="*/ 35722 w 1117432"/>
                  <a:gd name="connsiteY0" fmla="*/ 232975 h 233286"/>
                  <a:gd name="connsiteX1" fmla="*/ 1090330 w 1117432"/>
                  <a:gd name="connsiteY1" fmla="*/ 71050 h 233286"/>
                  <a:gd name="connsiteX2" fmla="*/ 1114905 w 1117432"/>
                  <a:gd name="connsiteY2" fmla="*/ 25806 h 233286"/>
                  <a:gd name="connsiteX3" fmla="*/ 1070423 w 1117432"/>
                  <a:gd name="connsiteY3" fmla="*/ 1041 h 233286"/>
                  <a:gd name="connsiteX4" fmla="*/ 33913 w 1117432"/>
                  <a:gd name="connsiteY4" fmla="*/ 160109 h 233286"/>
                  <a:gd name="connsiteX5" fmla="*/ -1044 w 1117432"/>
                  <a:gd name="connsiteY5" fmla="*/ 197351 h 233286"/>
                  <a:gd name="connsiteX6" fmla="*/ 35341 w 1117432"/>
                  <a:gd name="connsiteY6" fmla="*/ 232985 h 233286"/>
                  <a:gd name="connsiteX7" fmla="*/ 35722 w 1117432"/>
                  <a:gd name="connsiteY7" fmla="*/ 232975 h 23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7432" h="233286">
                    <a:moveTo>
                      <a:pt x="35722" y="232975"/>
                    </a:moveTo>
                    <a:cubicBezTo>
                      <a:pt x="392624" y="222840"/>
                      <a:pt x="746859" y="168452"/>
                      <a:pt x="1090330" y="71050"/>
                    </a:cubicBezTo>
                    <a:cubicBezTo>
                      <a:pt x="1109571" y="65269"/>
                      <a:pt x="1120525" y="45075"/>
                      <a:pt x="1114905" y="25806"/>
                    </a:cubicBezTo>
                    <a:cubicBezTo>
                      <a:pt x="1109380" y="6756"/>
                      <a:pt x="1089568" y="-4293"/>
                      <a:pt x="1070423" y="1041"/>
                    </a:cubicBezTo>
                    <a:cubicBezTo>
                      <a:pt x="732856" y="96710"/>
                      <a:pt x="384623" y="150136"/>
                      <a:pt x="33913" y="160109"/>
                    </a:cubicBezTo>
                    <a:cubicBezTo>
                      <a:pt x="14100" y="160937"/>
                      <a:pt x="-1521" y="177492"/>
                      <a:pt x="-1044" y="197351"/>
                    </a:cubicBezTo>
                    <a:cubicBezTo>
                      <a:pt x="-853" y="217240"/>
                      <a:pt x="15434" y="233185"/>
                      <a:pt x="35341" y="232985"/>
                    </a:cubicBezTo>
                    <a:cubicBezTo>
                      <a:pt x="35436" y="232985"/>
                      <a:pt x="35627" y="232975"/>
                      <a:pt x="35722" y="23297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9" name="Freeform: Shape 218">
                <a:extLst>
                  <a:ext uri="{FF2B5EF4-FFF2-40B4-BE49-F238E27FC236}">
                    <a16:creationId xmlns:a16="http://schemas.microsoft.com/office/drawing/2014/main" id="{DCEBD279-CD07-433A-8974-E42B6D0FC352}"/>
                  </a:ext>
                </a:extLst>
              </p:cNvPr>
              <p:cNvSpPr/>
              <p:nvPr/>
            </p:nvSpPr>
            <p:spPr>
              <a:xfrm>
                <a:off x="5118255" y="5556570"/>
                <a:ext cx="1235188" cy="366992"/>
              </a:xfrm>
              <a:custGeom>
                <a:avLst/>
                <a:gdLst>
                  <a:gd name="connsiteX0" fmla="*/ 40244 w 1235188"/>
                  <a:gd name="connsiteY0" fmla="*/ 366375 h 366992"/>
                  <a:gd name="connsiteX1" fmla="*/ 1210771 w 1235188"/>
                  <a:gd name="connsiteY1" fmla="*/ 69767 h 366992"/>
                  <a:gd name="connsiteX2" fmla="*/ 1231632 w 1235188"/>
                  <a:gd name="connsiteY2" fmla="*/ 22142 h 366992"/>
                  <a:gd name="connsiteX3" fmla="*/ 1231632 w 1235188"/>
                  <a:gd name="connsiteY3" fmla="*/ 22142 h 366992"/>
                  <a:gd name="connsiteX4" fmla="*/ 1183435 w 1235188"/>
                  <a:gd name="connsiteY4" fmla="*/ 2520 h 366992"/>
                  <a:gd name="connsiteX5" fmla="*/ 32148 w 1235188"/>
                  <a:gd name="connsiteY5" fmla="*/ 294271 h 366992"/>
                  <a:gd name="connsiteX6" fmla="*/ -904 w 1235188"/>
                  <a:gd name="connsiteY6" fmla="*/ 334657 h 366992"/>
                  <a:gd name="connsiteX7" fmla="*/ 40148 w 1235188"/>
                  <a:gd name="connsiteY7" fmla="*/ 366394 h 366992"/>
                  <a:gd name="connsiteX8" fmla="*/ 40244 w 1235188"/>
                  <a:gd name="connsiteY8" fmla="*/ 366375 h 366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5188" h="366992">
                    <a:moveTo>
                      <a:pt x="40244" y="366375"/>
                    </a:moveTo>
                    <a:cubicBezTo>
                      <a:pt x="442104" y="321341"/>
                      <a:pt x="835963" y="221547"/>
                      <a:pt x="1210771" y="69767"/>
                    </a:cubicBezTo>
                    <a:cubicBezTo>
                      <a:pt x="1229631" y="62337"/>
                      <a:pt x="1238966" y="41049"/>
                      <a:pt x="1231632" y="22142"/>
                    </a:cubicBezTo>
                    <a:lnTo>
                      <a:pt x="1231632" y="22142"/>
                    </a:lnTo>
                    <a:cubicBezTo>
                      <a:pt x="1223630" y="3520"/>
                      <a:pt x="1202199" y="-5224"/>
                      <a:pt x="1183435" y="2520"/>
                    </a:cubicBezTo>
                    <a:cubicBezTo>
                      <a:pt x="814817" y="151844"/>
                      <a:pt x="427435" y="249999"/>
                      <a:pt x="32148" y="294271"/>
                    </a:cubicBezTo>
                    <a:cubicBezTo>
                      <a:pt x="11955" y="296519"/>
                      <a:pt x="-2714" y="314455"/>
                      <a:pt x="-904" y="334657"/>
                    </a:cubicBezTo>
                    <a:cubicBezTo>
                      <a:pt x="1668" y="354745"/>
                      <a:pt x="20051" y="368956"/>
                      <a:pt x="40148" y="366394"/>
                    </a:cubicBezTo>
                    <a:cubicBezTo>
                      <a:pt x="40148" y="366385"/>
                      <a:pt x="40244" y="366385"/>
                      <a:pt x="40244" y="36637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0" name="Freeform: Shape 219">
                <a:extLst>
                  <a:ext uri="{FF2B5EF4-FFF2-40B4-BE49-F238E27FC236}">
                    <a16:creationId xmlns:a16="http://schemas.microsoft.com/office/drawing/2014/main" id="{300D6BA2-B1C9-4077-A2D5-F3A1EC9CB332}"/>
                  </a:ext>
                </a:extLst>
              </p:cNvPr>
              <p:cNvSpPr/>
              <p:nvPr/>
            </p:nvSpPr>
            <p:spPr>
              <a:xfrm>
                <a:off x="5487576" y="5817434"/>
                <a:ext cx="592584" cy="204252"/>
              </a:xfrm>
              <a:custGeom>
                <a:avLst/>
                <a:gdLst>
                  <a:gd name="connsiteX0" fmla="*/ 44113 w 592584"/>
                  <a:gd name="connsiteY0" fmla="*/ 203048 h 204252"/>
                  <a:gd name="connsiteX1" fmla="*/ 564368 w 592584"/>
                  <a:gd name="connsiteY1" fmla="*/ 71127 h 204252"/>
                  <a:gd name="connsiteX2" fmla="*/ 590181 w 592584"/>
                  <a:gd name="connsiteY2" fmla="*/ 24549 h 204252"/>
                  <a:gd name="connsiteX3" fmla="*/ 590181 w 592584"/>
                  <a:gd name="connsiteY3" fmla="*/ 24549 h 204252"/>
                  <a:gd name="connsiteX4" fmla="*/ 542556 w 592584"/>
                  <a:gd name="connsiteY4" fmla="*/ 1784 h 204252"/>
                  <a:gd name="connsiteX5" fmla="*/ 30396 w 592584"/>
                  <a:gd name="connsiteY5" fmla="*/ 131610 h 204252"/>
                  <a:gd name="connsiteX6" fmla="*/ -655 w 592584"/>
                  <a:gd name="connsiteY6" fmla="*/ 174663 h 204252"/>
                  <a:gd name="connsiteX7" fmla="*/ 44113 w 592584"/>
                  <a:gd name="connsiteY7" fmla="*/ 203048 h 204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2584" h="204252">
                    <a:moveTo>
                      <a:pt x="44113" y="203048"/>
                    </a:moveTo>
                    <a:cubicBezTo>
                      <a:pt x="220039" y="169443"/>
                      <a:pt x="393680" y="125400"/>
                      <a:pt x="564368" y="71127"/>
                    </a:cubicBezTo>
                    <a:cubicBezTo>
                      <a:pt x="584180" y="65192"/>
                      <a:pt x="595611" y="44514"/>
                      <a:pt x="590181" y="24549"/>
                    </a:cubicBezTo>
                    <a:lnTo>
                      <a:pt x="590181" y="24549"/>
                    </a:lnTo>
                    <a:cubicBezTo>
                      <a:pt x="583228" y="5194"/>
                      <a:pt x="561987" y="-4959"/>
                      <a:pt x="542556" y="1784"/>
                    </a:cubicBezTo>
                    <a:cubicBezTo>
                      <a:pt x="374535" y="55153"/>
                      <a:pt x="203561" y="98501"/>
                      <a:pt x="30396" y="131610"/>
                    </a:cubicBezTo>
                    <a:cubicBezTo>
                      <a:pt x="10108" y="135201"/>
                      <a:pt x="-3607" y="154280"/>
                      <a:pt x="-655" y="174663"/>
                    </a:cubicBezTo>
                    <a:cubicBezTo>
                      <a:pt x="3918" y="194846"/>
                      <a:pt x="23920" y="207543"/>
                      <a:pt x="44113" y="20304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1" name="Freeform: Shape 220">
                <a:extLst>
                  <a:ext uri="{FF2B5EF4-FFF2-40B4-BE49-F238E27FC236}">
                    <a16:creationId xmlns:a16="http://schemas.microsoft.com/office/drawing/2014/main" id="{CA09F16E-1067-4446-A34D-E031F43D61E0}"/>
                  </a:ext>
                </a:extLst>
              </p:cNvPr>
              <p:cNvSpPr/>
              <p:nvPr/>
            </p:nvSpPr>
            <p:spPr>
              <a:xfrm>
                <a:off x="4679053" y="5973003"/>
                <a:ext cx="745811" cy="131156"/>
              </a:xfrm>
              <a:custGeom>
                <a:avLst/>
                <a:gdLst>
                  <a:gd name="connsiteX0" fmla="*/ 38534 w 745811"/>
                  <a:gd name="connsiteY0" fmla="*/ 130727 h 131156"/>
                  <a:gd name="connsiteX1" fmla="*/ 207412 w 745811"/>
                  <a:gd name="connsiteY1" fmla="*/ 125679 h 131156"/>
                  <a:gd name="connsiteX2" fmla="*/ 291708 w 745811"/>
                  <a:gd name="connsiteY2" fmla="*/ 120345 h 131156"/>
                  <a:gd name="connsiteX3" fmla="*/ 375909 w 745811"/>
                  <a:gd name="connsiteY3" fmla="*/ 113773 h 131156"/>
                  <a:gd name="connsiteX4" fmla="*/ 711380 w 745811"/>
                  <a:gd name="connsiteY4" fmla="*/ 72529 h 131156"/>
                  <a:gd name="connsiteX5" fmla="*/ 744623 w 745811"/>
                  <a:gd name="connsiteY5" fmla="*/ 33096 h 131156"/>
                  <a:gd name="connsiteX6" fmla="*/ 705189 w 745811"/>
                  <a:gd name="connsiteY6" fmla="*/ -166 h 131156"/>
                  <a:gd name="connsiteX7" fmla="*/ 699759 w 745811"/>
                  <a:gd name="connsiteY7" fmla="*/ 710 h 131156"/>
                  <a:gd name="connsiteX8" fmla="*/ 369623 w 745811"/>
                  <a:gd name="connsiteY8" fmla="*/ 41287 h 131156"/>
                  <a:gd name="connsiteX9" fmla="*/ 286755 w 745811"/>
                  <a:gd name="connsiteY9" fmla="*/ 47764 h 131156"/>
                  <a:gd name="connsiteX10" fmla="*/ 203697 w 745811"/>
                  <a:gd name="connsiteY10" fmla="*/ 53003 h 131156"/>
                  <a:gd name="connsiteX11" fmla="*/ 37581 w 745811"/>
                  <a:gd name="connsiteY11" fmla="*/ 57956 h 131156"/>
                  <a:gd name="connsiteX12" fmla="*/ -995 w 745811"/>
                  <a:gd name="connsiteY12" fmla="*/ 92265 h 131156"/>
                  <a:gd name="connsiteX13" fmla="*/ 33390 w 745811"/>
                  <a:gd name="connsiteY13" fmla="*/ 130794 h 131156"/>
                  <a:gd name="connsiteX14" fmla="*/ 38534 w 745811"/>
                  <a:gd name="connsiteY14" fmla="*/ 130727 h 131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45811" h="131156">
                    <a:moveTo>
                      <a:pt x="38534" y="130727"/>
                    </a:moveTo>
                    <a:cubicBezTo>
                      <a:pt x="94826" y="130727"/>
                      <a:pt x="151119" y="127584"/>
                      <a:pt x="207412" y="125679"/>
                    </a:cubicBezTo>
                    <a:lnTo>
                      <a:pt x="291708" y="120345"/>
                    </a:lnTo>
                    <a:cubicBezTo>
                      <a:pt x="320283" y="118821"/>
                      <a:pt x="347811" y="116344"/>
                      <a:pt x="375909" y="113773"/>
                    </a:cubicBezTo>
                    <a:cubicBezTo>
                      <a:pt x="488209" y="104248"/>
                      <a:pt x="600033" y="90150"/>
                      <a:pt x="711380" y="72529"/>
                    </a:cubicBezTo>
                    <a:cubicBezTo>
                      <a:pt x="731478" y="70824"/>
                      <a:pt x="746336" y="53165"/>
                      <a:pt x="744623" y="33096"/>
                    </a:cubicBezTo>
                    <a:cubicBezTo>
                      <a:pt x="742908" y="13017"/>
                      <a:pt x="725287" y="-1880"/>
                      <a:pt x="705189" y="-166"/>
                    </a:cubicBezTo>
                    <a:cubicBezTo>
                      <a:pt x="703379" y="-13"/>
                      <a:pt x="701569" y="282"/>
                      <a:pt x="699759" y="710"/>
                    </a:cubicBezTo>
                    <a:cubicBezTo>
                      <a:pt x="590222" y="18046"/>
                      <a:pt x="480684" y="32334"/>
                      <a:pt x="369623" y="41287"/>
                    </a:cubicBezTo>
                    <a:cubicBezTo>
                      <a:pt x="342001" y="43859"/>
                      <a:pt x="314378" y="46336"/>
                      <a:pt x="286755" y="47764"/>
                    </a:cubicBezTo>
                    <a:lnTo>
                      <a:pt x="203697" y="53003"/>
                    </a:lnTo>
                    <a:cubicBezTo>
                      <a:pt x="148357" y="54908"/>
                      <a:pt x="92922" y="57956"/>
                      <a:pt x="37581" y="57956"/>
                    </a:cubicBezTo>
                    <a:cubicBezTo>
                      <a:pt x="17483" y="56784"/>
                      <a:pt x="244" y="72148"/>
                      <a:pt x="-995" y="92265"/>
                    </a:cubicBezTo>
                    <a:cubicBezTo>
                      <a:pt x="-2138" y="112372"/>
                      <a:pt x="13197" y="129632"/>
                      <a:pt x="33390" y="130794"/>
                    </a:cubicBezTo>
                    <a:cubicBezTo>
                      <a:pt x="35105" y="130898"/>
                      <a:pt x="36819" y="130870"/>
                      <a:pt x="38534" y="13072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2" name="Freeform: Shape 221">
                <a:extLst>
                  <a:ext uri="{FF2B5EF4-FFF2-40B4-BE49-F238E27FC236}">
                    <a16:creationId xmlns:a16="http://schemas.microsoft.com/office/drawing/2014/main" id="{4BF907FC-656E-4E2E-973F-560001531914}"/>
                  </a:ext>
                </a:extLst>
              </p:cNvPr>
              <p:cNvSpPr/>
              <p:nvPr/>
            </p:nvSpPr>
            <p:spPr>
              <a:xfrm>
                <a:off x="5266988" y="5933246"/>
                <a:ext cx="950869" cy="279618"/>
              </a:xfrm>
              <a:custGeom>
                <a:avLst/>
                <a:gdLst>
                  <a:gd name="connsiteX0" fmla="*/ 43911 w 950869"/>
                  <a:gd name="connsiteY0" fmla="*/ 278592 h 279618"/>
                  <a:gd name="connsiteX1" fmla="*/ 922402 w 950869"/>
                  <a:gd name="connsiteY1" fmla="*/ 71234 h 279618"/>
                  <a:gd name="connsiteX2" fmla="*/ 948310 w 950869"/>
                  <a:gd name="connsiteY2" fmla="*/ 23609 h 279618"/>
                  <a:gd name="connsiteX3" fmla="*/ 898970 w 950869"/>
                  <a:gd name="connsiteY3" fmla="*/ 2367 h 279618"/>
                  <a:gd name="connsiteX4" fmla="*/ 34006 w 950869"/>
                  <a:gd name="connsiteY4" fmla="*/ 206583 h 279618"/>
                  <a:gd name="connsiteX5" fmla="*/ -951 w 950869"/>
                  <a:gd name="connsiteY5" fmla="*/ 247922 h 279618"/>
                  <a:gd name="connsiteX6" fmla="*/ 43245 w 950869"/>
                  <a:gd name="connsiteY6" fmla="*/ 278716 h 279618"/>
                  <a:gd name="connsiteX7" fmla="*/ 43911 w 950869"/>
                  <a:gd name="connsiteY7" fmla="*/ 278592 h 279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50869" h="279618">
                    <a:moveTo>
                      <a:pt x="43911" y="278592"/>
                    </a:moveTo>
                    <a:cubicBezTo>
                      <a:pt x="342615" y="237407"/>
                      <a:pt x="636747" y="167979"/>
                      <a:pt x="922402" y="71234"/>
                    </a:cubicBezTo>
                    <a:cubicBezTo>
                      <a:pt x="942596" y="65080"/>
                      <a:pt x="954121" y="43897"/>
                      <a:pt x="948310" y="23609"/>
                    </a:cubicBezTo>
                    <a:cubicBezTo>
                      <a:pt x="940499" y="4168"/>
                      <a:pt x="918497" y="-5319"/>
                      <a:pt x="898970" y="2367"/>
                    </a:cubicBezTo>
                    <a:cubicBezTo>
                      <a:pt x="617792" y="97694"/>
                      <a:pt x="328138" y="166074"/>
                      <a:pt x="34006" y="206583"/>
                    </a:cubicBezTo>
                    <a:cubicBezTo>
                      <a:pt x="13050" y="208593"/>
                      <a:pt x="-2476" y="226939"/>
                      <a:pt x="-951" y="247922"/>
                    </a:cubicBezTo>
                    <a:cubicBezTo>
                      <a:pt x="2763" y="268639"/>
                      <a:pt x="22575" y="282422"/>
                      <a:pt x="43245" y="278716"/>
                    </a:cubicBezTo>
                    <a:cubicBezTo>
                      <a:pt x="43435" y="278678"/>
                      <a:pt x="43720" y="278631"/>
                      <a:pt x="43911" y="2785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3" name="Freeform: Shape 222">
                <a:extLst>
                  <a:ext uri="{FF2B5EF4-FFF2-40B4-BE49-F238E27FC236}">
                    <a16:creationId xmlns:a16="http://schemas.microsoft.com/office/drawing/2014/main" id="{DFD86B75-631F-46E7-8446-EAA99E66AD75}"/>
                  </a:ext>
                </a:extLst>
              </p:cNvPr>
              <p:cNvSpPr/>
              <p:nvPr/>
            </p:nvSpPr>
            <p:spPr>
              <a:xfrm>
                <a:off x="4760838" y="6159983"/>
                <a:ext cx="417062" cy="95220"/>
              </a:xfrm>
              <a:custGeom>
                <a:avLst/>
                <a:gdLst>
                  <a:gd name="connsiteX0" fmla="*/ 39808 w 417062"/>
                  <a:gd name="connsiteY0" fmla="*/ 94813 h 95220"/>
                  <a:gd name="connsiteX1" fmla="*/ 124961 w 417062"/>
                  <a:gd name="connsiteY1" fmla="*/ 91575 h 95220"/>
                  <a:gd name="connsiteX2" fmla="*/ 210020 w 417062"/>
                  <a:gd name="connsiteY2" fmla="*/ 86526 h 95220"/>
                  <a:gd name="connsiteX3" fmla="*/ 252596 w 417062"/>
                  <a:gd name="connsiteY3" fmla="*/ 83764 h 95220"/>
                  <a:gd name="connsiteX4" fmla="*/ 295077 w 417062"/>
                  <a:gd name="connsiteY4" fmla="*/ 80144 h 95220"/>
                  <a:gd name="connsiteX5" fmla="*/ 379945 w 417062"/>
                  <a:gd name="connsiteY5" fmla="*/ 72525 h 95220"/>
                  <a:gd name="connsiteX6" fmla="*/ 415950 w 417062"/>
                  <a:gd name="connsiteY6" fmla="*/ 31853 h 95220"/>
                  <a:gd name="connsiteX7" fmla="*/ 372611 w 417062"/>
                  <a:gd name="connsiteY7" fmla="*/ 134 h 95220"/>
                  <a:gd name="connsiteX8" fmla="*/ 288982 w 417062"/>
                  <a:gd name="connsiteY8" fmla="*/ 7659 h 95220"/>
                  <a:gd name="connsiteX9" fmla="*/ 247167 w 417062"/>
                  <a:gd name="connsiteY9" fmla="*/ 11279 h 95220"/>
                  <a:gd name="connsiteX10" fmla="*/ 205257 w 417062"/>
                  <a:gd name="connsiteY10" fmla="*/ 13946 h 95220"/>
                  <a:gd name="connsiteX11" fmla="*/ 121437 w 417062"/>
                  <a:gd name="connsiteY11" fmla="*/ 18899 h 95220"/>
                  <a:gd name="connsiteX12" fmla="*/ 37617 w 417062"/>
                  <a:gd name="connsiteY12" fmla="*/ 22137 h 95220"/>
                  <a:gd name="connsiteX13" fmla="*/ -1055 w 417062"/>
                  <a:gd name="connsiteY13" fmla="*/ 59665 h 95220"/>
                  <a:gd name="connsiteX14" fmla="*/ 39808 w 417062"/>
                  <a:gd name="connsiteY14" fmla="*/ 94813 h 95220"/>
                  <a:gd name="connsiteX15" fmla="*/ 39808 w 417062"/>
                  <a:gd name="connsiteY15" fmla="*/ 94813 h 95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17062" h="95220">
                    <a:moveTo>
                      <a:pt x="39808" y="94813"/>
                    </a:moveTo>
                    <a:lnTo>
                      <a:pt x="124961" y="91575"/>
                    </a:lnTo>
                    <a:cubicBezTo>
                      <a:pt x="153536" y="90336"/>
                      <a:pt x="182111" y="88240"/>
                      <a:pt x="210020" y="86526"/>
                    </a:cubicBezTo>
                    <a:lnTo>
                      <a:pt x="252596" y="83764"/>
                    </a:lnTo>
                    <a:lnTo>
                      <a:pt x="295077" y="80144"/>
                    </a:lnTo>
                    <a:lnTo>
                      <a:pt x="379945" y="72525"/>
                    </a:lnTo>
                    <a:cubicBezTo>
                      <a:pt x="401091" y="71096"/>
                      <a:pt x="417093" y="52979"/>
                      <a:pt x="415950" y="31853"/>
                    </a:cubicBezTo>
                    <a:cubicBezTo>
                      <a:pt x="412712" y="11164"/>
                      <a:pt x="393281" y="-2999"/>
                      <a:pt x="372611" y="134"/>
                    </a:cubicBezTo>
                    <a:lnTo>
                      <a:pt x="288982" y="7659"/>
                    </a:lnTo>
                    <a:lnTo>
                      <a:pt x="247167" y="11279"/>
                    </a:lnTo>
                    <a:lnTo>
                      <a:pt x="205257" y="13946"/>
                    </a:lnTo>
                    <a:cubicBezTo>
                      <a:pt x="177348" y="15565"/>
                      <a:pt x="149441" y="17660"/>
                      <a:pt x="121437" y="18899"/>
                    </a:cubicBezTo>
                    <a:lnTo>
                      <a:pt x="37617" y="22137"/>
                    </a:lnTo>
                    <a:cubicBezTo>
                      <a:pt x="16757" y="22175"/>
                      <a:pt x="-387" y="38777"/>
                      <a:pt x="-1055" y="59665"/>
                    </a:cubicBezTo>
                    <a:cubicBezTo>
                      <a:pt x="470" y="80649"/>
                      <a:pt x="18758" y="96385"/>
                      <a:pt x="39808" y="94813"/>
                    </a:cubicBezTo>
                    <a:cubicBezTo>
                      <a:pt x="39808" y="94813"/>
                      <a:pt x="39808" y="94813"/>
                      <a:pt x="39808" y="9481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4" name="Freeform: Shape 223">
                <a:extLst>
                  <a:ext uri="{FF2B5EF4-FFF2-40B4-BE49-F238E27FC236}">
                    <a16:creationId xmlns:a16="http://schemas.microsoft.com/office/drawing/2014/main" id="{3B5FD1BE-5516-4332-93BD-79238A76A5BD}"/>
                  </a:ext>
                </a:extLst>
              </p:cNvPr>
              <p:cNvSpPr/>
              <p:nvPr/>
            </p:nvSpPr>
            <p:spPr>
              <a:xfrm>
                <a:off x="3954168" y="5984767"/>
                <a:ext cx="590547" cy="118204"/>
              </a:xfrm>
              <a:custGeom>
                <a:avLst/>
                <a:gdLst>
                  <a:gd name="connsiteX0" fmla="*/ 32947 w 590547"/>
                  <a:gd name="connsiteY0" fmla="*/ 72576 h 118204"/>
                  <a:gd name="connsiteX1" fmla="*/ -962 w 590547"/>
                  <a:gd name="connsiteY1" fmla="*/ 33714 h 118204"/>
                  <a:gd name="connsiteX2" fmla="*/ 37900 w 590547"/>
                  <a:gd name="connsiteY2" fmla="*/ -214 h 118204"/>
                  <a:gd name="connsiteX3" fmla="*/ 43328 w 590547"/>
                  <a:gd name="connsiteY3" fmla="*/ 567 h 118204"/>
                  <a:gd name="connsiteX4" fmla="*/ 552154 w 590547"/>
                  <a:gd name="connsiteY4" fmla="*/ 44668 h 118204"/>
                  <a:gd name="connsiteX5" fmla="*/ 589493 w 590547"/>
                  <a:gd name="connsiteY5" fmla="*/ 82768 h 118204"/>
                  <a:gd name="connsiteX6" fmla="*/ 550345 w 590547"/>
                  <a:gd name="connsiteY6" fmla="*/ 117849 h 118204"/>
                  <a:gd name="connsiteX7" fmla="*/ 549868 w 590547"/>
                  <a:gd name="connsiteY7" fmla="*/ 117820 h 118204"/>
                  <a:gd name="connsiteX8" fmla="*/ 32947 w 590547"/>
                  <a:gd name="connsiteY8" fmla="*/ 72576 h 118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0547" h="118204">
                    <a:moveTo>
                      <a:pt x="32947" y="72576"/>
                    </a:moveTo>
                    <a:cubicBezTo>
                      <a:pt x="12849" y="71214"/>
                      <a:pt x="-2391" y="53812"/>
                      <a:pt x="-962" y="33714"/>
                    </a:cubicBezTo>
                    <a:cubicBezTo>
                      <a:pt x="372" y="13607"/>
                      <a:pt x="17802" y="-1585"/>
                      <a:pt x="37900" y="-214"/>
                    </a:cubicBezTo>
                    <a:cubicBezTo>
                      <a:pt x="39709" y="-90"/>
                      <a:pt x="41519" y="167"/>
                      <a:pt x="43328" y="567"/>
                    </a:cubicBezTo>
                    <a:cubicBezTo>
                      <a:pt x="212017" y="24828"/>
                      <a:pt x="381847" y="39553"/>
                      <a:pt x="552154" y="44668"/>
                    </a:cubicBezTo>
                    <a:cubicBezTo>
                      <a:pt x="572919" y="45087"/>
                      <a:pt x="589493" y="62023"/>
                      <a:pt x="589493" y="82768"/>
                    </a:cubicBezTo>
                    <a:cubicBezTo>
                      <a:pt x="588350" y="103256"/>
                      <a:pt x="570918" y="118963"/>
                      <a:pt x="550345" y="117849"/>
                    </a:cubicBezTo>
                    <a:cubicBezTo>
                      <a:pt x="550250" y="117839"/>
                      <a:pt x="550059" y="117829"/>
                      <a:pt x="549868" y="117820"/>
                    </a:cubicBezTo>
                    <a:cubicBezTo>
                      <a:pt x="376894" y="112458"/>
                      <a:pt x="204301" y="97351"/>
                      <a:pt x="32947" y="7257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5" name="Freeform: Shape 224">
                <a:extLst>
                  <a:ext uri="{FF2B5EF4-FFF2-40B4-BE49-F238E27FC236}">
                    <a16:creationId xmlns:a16="http://schemas.microsoft.com/office/drawing/2014/main" id="{02A937B8-4BFB-415F-8C67-1A22C142B6C5}"/>
                  </a:ext>
                </a:extLst>
              </p:cNvPr>
              <p:cNvSpPr/>
              <p:nvPr/>
            </p:nvSpPr>
            <p:spPr>
              <a:xfrm>
                <a:off x="3084118" y="5270810"/>
                <a:ext cx="1813134" cy="986517"/>
              </a:xfrm>
              <a:custGeom>
                <a:avLst/>
                <a:gdLst>
                  <a:gd name="connsiteX0" fmla="*/ 793364 w 1813134"/>
                  <a:gd name="connsiteY0" fmla="*/ 73016 h 986517"/>
                  <a:gd name="connsiteX1" fmla="*/ 793364 w 1813134"/>
                  <a:gd name="connsiteY1" fmla="*/ 73968 h 986517"/>
                  <a:gd name="connsiteX2" fmla="*/ 1600894 w 1813134"/>
                  <a:gd name="connsiteY2" fmla="*/ 149311 h 986517"/>
                  <a:gd name="connsiteX3" fmla="*/ 1636136 w 1813134"/>
                  <a:gd name="connsiteY3" fmla="*/ 181505 h 986517"/>
                  <a:gd name="connsiteX4" fmla="*/ 1606418 w 1813134"/>
                  <a:gd name="connsiteY4" fmla="*/ 221653 h 986517"/>
                  <a:gd name="connsiteX5" fmla="*/ 1603180 w 1813134"/>
                  <a:gd name="connsiteY5" fmla="*/ 221987 h 986517"/>
                  <a:gd name="connsiteX6" fmla="*/ 657919 w 1813134"/>
                  <a:gd name="connsiteY6" fmla="*/ 119783 h 986517"/>
                  <a:gd name="connsiteX7" fmla="*/ 612485 w 1813134"/>
                  <a:gd name="connsiteY7" fmla="*/ 149882 h 986517"/>
                  <a:gd name="connsiteX8" fmla="*/ 639917 w 1813134"/>
                  <a:gd name="connsiteY8" fmla="*/ 197507 h 986517"/>
                  <a:gd name="connsiteX9" fmla="*/ 1049492 w 1813134"/>
                  <a:gd name="connsiteY9" fmla="*/ 269898 h 986517"/>
                  <a:gd name="connsiteX10" fmla="*/ 1081305 w 1813134"/>
                  <a:gd name="connsiteY10" fmla="*/ 306855 h 986517"/>
                  <a:gd name="connsiteX11" fmla="*/ 1046063 w 1813134"/>
                  <a:gd name="connsiteY11" fmla="*/ 342487 h 986517"/>
                  <a:gd name="connsiteX12" fmla="*/ 1042062 w 1813134"/>
                  <a:gd name="connsiteY12" fmla="*/ 342287 h 986517"/>
                  <a:gd name="connsiteX13" fmla="*/ 787649 w 1813134"/>
                  <a:gd name="connsiteY13" fmla="*/ 302568 h 986517"/>
                  <a:gd name="connsiteX14" fmla="*/ 740881 w 1813134"/>
                  <a:gd name="connsiteY14" fmla="*/ 334477 h 986517"/>
                  <a:gd name="connsiteX15" fmla="*/ 772791 w 1813134"/>
                  <a:gd name="connsiteY15" fmla="*/ 381245 h 986517"/>
                  <a:gd name="connsiteX16" fmla="*/ 1037490 w 1813134"/>
                  <a:gd name="connsiteY16" fmla="*/ 422393 h 986517"/>
                  <a:gd name="connsiteX17" fmla="*/ 1170840 w 1813134"/>
                  <a:gd name="connsiteY17" fmla="*/ 437061 h 986517"/>
                  <a:gd name="connsiteX18" fmla="*/ 1237515 w 1813134"/>
                  <a:gd name="connsiteY18" fmla="*/ 442491 h 986517"/>
                  <a:gd name="connsiteX19" fmla="*/ 1270853 w 1813134"/>
                  <a:gd name="connsiteY19" fmla="*/ 445157 h 986517"/>
                  <a:gd name="connsiteX20" fmla="*/ 1304285 w 1813134"/>
                  <a:gd name="connsiteY20" fmla="*/ 447062 h 986517"/>
                  <a:gd name="connsiteX21" fmla="*/ 1339813 w 1813134"/>
                  <a:gd name="connsiteY21" fmla="*/ 481829 h 986517"/>
                  <a:gd name="connsiteX22" fmla="*/ 1305428 w 1813134"/>
                  <a:gd name="connsiteY22" fmla="*/ 519929 h 986517"/>
                  <a:gd name="connsiteX23" fmla="*/ 1301713 w 1813134"/>
                  <a:gd name="connsiteY23" fmla="*/ 519929 h 986517"/>
                  <a:gd name="connsiteX24" fmla="*/ 988151 w 1813134"/>
                  <a:gd name="connsiteY24" fmla="*/ 489639 h 986517"/>
                  <a:gd name="connsiteX25" fmla="*/ 677635 w 1813134"/>
                  <a:gd name="connsiteY25" fmla="*/ 436680 h 986517"/>
                  <a:gd name="connsiteX26" fmla="*/ 629630 w 1813134"/>
                  <a:gd name="connsiteY26" fmla="*/ 466608 h 986517"/>
                  <a:gd name="connsiteX27" fmla="*/ 659539 w 1813134"/>
                  <a:gd name="connsiteY27" fmla="*/ 514623 h 986517"/>
                  <a:gd name="connsiteX28" fmla="*/ 661253 w 1813134"/>
                  <a:gd name="connsiteY28" fmla="*/ 514976 h 986517"/>
                  <a:gd name="connsiteX29" fmla="*/ 1771392 w 1813134"/>
                  <a:gd name="connsiteY29" fmla="*/ 603368 h 986517"/>
                  <a:gd name="connsiteX30" fmla="*/ 1811682 w 1813134"/>
                  <a:gd name="connsiteY30" fmla="*/ 634038 h 986517"/>
                  <a:gd name="connsiteX31" fmla="*/ 1780821 w 1813134"/>
                  <a:gd name="connsiteY31" fmla="*/ 675567 h 986517"/>
                  <a:gd name="connsiteX32" fmla="*/ 1776534 w 1813134"/>
                  <a:gd name="connsiteY32" fmla="*/ 675948 h 986517"/>
                  <a:gd name="connsiteX33" fmla="*/ 389885 w 1813134"/>
                  <a:gd name="connsiteY33" fmla="*/ 524501 h 986517"/>
                  <a:gd name="connsiteX34" fmla="*/ 339118 w 1813134"/>
                  <a:gd name="connsiteY34" fmla="*/ 552123 h 986517"/>
                  <a:gd name="connsiteX35" fmla="*/ 368073 w 1813134"/>
                  <a:gd name="connsiteY35" fmla="*/ 601530 h 986517"/>
                  <a:gd name="connsiteX36" fmla="*/ 368931 w 1813134"/>
                  <a:gd name="connsiteY36" fmla="*/ 601748 h 986517"/>
                  <a:gd name="connsiteX37" fmla="*/ 754312 w 1813134"/>
                  <a:gd name="connsiteY37" fmla="*/ 688616 h 986517"/>
                  <a:gd name="connsiteX38" fmla="*/ 788126 w 1813134"/>
                  <a:gd name="connsiteY38" fmla="*/ 727574 h 986517"/>
                  <a:gd name="connsiteX39" fmla="*/ 747359 w 1813134"/>
                  <a:gd name="connsiteY39" fmla="*/ 761178 h 986517"/>
                  <a:gd name="connsiteX40" fmla="*/ 743167 w 1813134"/>
                  <a:gd name="connsiteY40" fmla="*/ 760530 h 986517"/>
                  <a:gd name="connsiteX41" fmla="*/ 702877 w 1813134"/>
                  <a:gd name="connsiteY41" fmla="*/ 753101 h 986517"/>
                  <a:gd name="connsiteX42" fmla="*/ 653252 w 1813134"/>
                  <a:gd name="connsiteY42" fmla="*/ 780800 h 986517"/>
                  <a:gd name="connsiteX43" fmla="*/ 680970 w 1813134"/>
                  <a:gd name="connsiteY43" fmla="*/ 830444 h 986517"/>
                  <a:gd name="connsiteX44" fmla="*/ 688018 w 1813134"/>
                  <a:gd name="connsiteY44" fmla="*/ 831777 h 986517"/>
                  <a:gd name="connsiteX45" fmla="*/ 1510788 w 1813134"/>
                  <a:gd name="connsiteY45" fmla="*/ 913216 h 986517"/>
                  <a:gd name="connsiteX46" fmla="*/ 1550506 w 1813134"/>
                  <a:gd name="connsiteY46" fmla="*/ 946373 h 986517"/>
                  <a:gd name="connsiteX47" fmla="*/ 1517360 w 1813134"/>
                  <a:gd name="connsiteY47" fmla="*/ 986072 h 986517"/>
                  <a:gd name="connsiteX48" fmla="*/ 1509930 w 1813134"/>
                  <a:gd name="connsiteY48" fmla="*/ 985987 h 986517"/>
                  <a:gd name="connsiteX49" fmla="*/ 631153 w 1813134"/>
                  <a:gd name="connsiteY49" fmla="*/ 894833 h 986517"/>
                  <a:gd name="connsiteX50" fmla="*/ 631153 w 1813134"/>
                  <a:gd name="connsiteY50" fmla="*/ 894833 h 986517"/>
                  <a:gd name="connsiteX51" fmla="*/ 317591 w 1813134"/>
                  <a:gd name="connsiteY51" fmla="*/ 821490 h 986517"/>
                  <a:gd name="connsiteX52" fmla="*/ 44604 w 1813134"/>
                  <a:gd name="connsiteY52" fmla="*/ 609463 h 986517"/>
                  <a:gd name="connsiteX53" fmla="*/ 13648 w 1813134"/>
                  <a:gd name="connsiteY53" fmla="*/ 533263 h 986517"/>
                  <a:gd name="connsiteX54" fmla="*/ -354 w 1813134"/>
                  <a:gd name="connsiteY54" fmla="*/ 452396 h 986517"/>
                  <a:gd name="connsiteX55" fmla="*/ 24983 w 1813134"/>
                  <a:gd name="connsiteY55" fmla="*/ 287995 h 986517"/>
                  <a:gd name="connsiteX56" fmla="*/ 24983 w 1813134"/>
                  <a:gd name="connsiteY56" fmla="*/ 287995 h 986517"/>
                  <a:gd name="connsiteX57" fmla="*/ 112613 w 1813134"/>
                  <a:gd name="connsiteY57" fmla="*/ 146453 h 986517"/>
                  <a:gd name="connsiteX58" fmla="*/ 171858 w 1813134"/>
                  <a:gd name="connsiteY58" fmla="*/ 92256 h 986517"/>
                  <a:gd name="connsiteX59" fmla="*/ 238057 w 1813134"/>
                  <a:gd name="connsiteY59" fmla="*/ 49870 h 986517"/>
                  <a:gd name="connsiteX60" fmla="*/ 535903 w 1813134"/>
                  <a:gd name="connsiteY60" fmla="*/ 13008 h 986517"/>
                  <a:gd name="connsiteX61" fmla="*/ 793364 w 1813134"/>
                  <a:gd name="connsiteY61" fmla="*/ 73016 h 986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1813134" h="986517">
                    <a:moveTo>
                      <a:pt x="793364" y="73016"/>
                    </a:moveTo>
                    <a:lnTo>
                      <a:pt x="793364" y="73968"/>
                    </a:lnTo>
                    <a:cubicBezTo>
                      <a:pt x="1059207" y="126794"/>
                      <a:pt x="1329813" y="152045"/>
                      <a:pt x="1600894" y="149311"/>
                    </a:cubicBezTo>
                    <a:cubicBezTo>
                      <a:pt x="1619182" y="149464"/>
                      <a:pt x="1634327" y="163351"/>
                      <a:pt x="1636136" y="181505"/>
                    </a:cubicBezTo>
                    <a:cubicBezTo>
                      <a:pt x="1638994" y="200813"/>
                      <a:pt x="1625659" y="218786"/>
                      <a:pt x="1606418" y="221653"/>
                    </a:cubicBezTo>
                    <a:cubicBezTo>
                      <a:pt x="1605275" y="221815"/>
                      <a:pt x="1604228" y="221930"/>
                      <a:pt x="1603180" y="221987"/>
                    </a:cubicBezTo>
                    <a:cubicBezTo>
                      <a:pt x="1285140" y="225168"/>
                      <a:pt x="967863" y="190859"/>
                      <a:pt x="657919" y="119783"/>
                    </a:cubicBezTo>
                    <a:cubicBezTo>
                      <a:pt x="637060" y="115573"/>
                      <a:pt x="616772" y="129042"/>
                      <a:pt x="612485" y="149882"/>
                    </a:cubicBezTo>
                    <a:cubicBezTo>
                      <a:pt x="607056" y="170590"/>
                      <a:pt x="619247" y="191840"/>
                      <a:pt x="639917" y="197507"/>
                    </a:cubicBezTo>
                    <a:cubicBezTo>
                      <a:pt x="775172" y="228493"/>
                      <a:pt x="911856" y="252657"/>
                      <a:pt x="1049492" y="269898"/>
                    </a:cubicBezTo>
                    <a:cubicBezTo>
                      <a:pt x="1067875" y="272403"/>
                      <a:pt x="1081591" y="288262"/>
                      <a:pt x="1081305" y="306855"/>
                    </a:cubicBezTo>
                    <a:cubicBezTo>
                      <a:pt x="1081400" y="326419"/>
                      <a:pt x="1065685" y="342383"/>
                      <a:pt x="1046063" y="342487"/>
                    </a:cubicBezTo>
                    <a:cubicBezTo>
                      <a:pt x="1044729" y="342497"/>
                      <a:pt x="1043395" y="342430"/>
                      <a:pt x="1042062" y="342287"/>
                    </a:cubicBezTo>
                    <a:cubicBezTo>
                      <a:pt x="956337" y="332096"/>
                      <a:pt x="872041" y="318189"/>
                      <a:pt x="787649" y="302568"/>
                    </a:cubicBezTo>
                    <a:cubicBezTo>
                      <a:pt x="765932" y="298463"/>
                      <a:pt x="744978" y="312750"/>
                      <a:pt x="740881" y="334477"/>
                    </a:cubicBezTo>
                    <a:cubicBezTo>
                      <a:pt x="736786" y="356203"/>
                      <a:pt x="751074" y="377139"/>
                      <a:pt x="772791" y="381245"/>
                    </a:cubicBezTo>
                    <a:cubicBezTo>
                      <a:pt x="860611" y="397437"/>
                      <a:pt x="948813" y="411915"/>
                      <a:pt x="1037490" y="422393"/>
                    </a:cubicBezTo>
                    <a:cubicBezTo>
                      <a:pt x="1081686" y="428488"/>
                      <a:pt x="1126264" y="431918"/>
                      <a:pt x="1170840" y="437061"/>
                    </a:cubicBezTo>
                    <a:lnTo>
                      <a:pt x="1237515" y="442491"/>
                    </a:lnTo>
                    <a:lnTo>
                      <a:pt x="1270853" y="445157"/>
                    </a:lnTo>
                    <a:lnTo>
                      <a:pt x="1304285" y="447062"/>
                    </a:lnTo>
                    <a:cubicBezTo>
                      <a:pt x="1323240" y="448024"/>
                      <a:pt x="1338480" y="462931"/>
                      <a:pt x="1339813" y="481829"/>
                    </a:cubicBezTo>
                    <a:cubicBezTo>
                      <a:pt x="1340861" y="501841"/>
                      <a:pt x="1325431" y="518900"/>
                      <a:pt x="1305428" y="519929"/>
                    </a:cubicBezTo>
                    <a:cubicBezTo>
                      <a:pt x="1304190" y="519996"/>
                      <a:pt x="1302952" y="519996"/>
                      <a:pt x="1301713" y="519929"/>
                    </a:cubicBezTo>
                    <a:cubicBezTo>
                      <a:pt x="1196938" y="513261"/>
                      <a:pt x="1092163" y="503927"/>
                      <a:pt x="988151" y="489639"/>
                    </a:cubicBezTo>
                    <a:cubicBezTo>
                      <a:pt x="884138" y="475352"/>
                      <a:pt x="780506" y="457826"/>
                      <a:pt x="677635" y="436680"/>
                    </a:cubicBezTo>
                    <a:cubicBezTo>
                      <a:pt x="656110" y="431689"/>
                      <a:pt x="634583" y="445091"/>
                      <a:pt x="629630" y="466608"/>
                    </a:cubicBezTo>
                    <a:cubicBezTo>
                      <a:pt x="624677" y="488134"/>
                      <a:pt x="638012" y="509622"/>
                      <a:pt x="659539" y="514623"/>
                    </a:cubicBezTo>
                    <a:cubicBezTo>
                      <a:pt x="660110" y="514747"/>
                      <a:pt x="660682" y="514871"/>
                      <a:pt x="661253" y="514976"/>
                    </a:cubicBezTo>
                    <a:cubicBezTo>
                      <a:pt x="1026156" y="590709"/>
                      <a:pt x="1399060" y="620408"/>
                      <a:pt x="1771392" y="603368"/>
                    </a:cubicBezTo>
                    <a:cubicBezTo>
                      <a:pt x="1790537" y="602196"/>
                      <a:pt x="1807681" y="615246"/>
                      <a:pt x="1811682" y="634038"/>
                    </a:cubicBezTo>
                    <a:cubicBezTo>
                      <a:pt x="1814634" y="654022"/>
                      <a:pt x="1800824" y="672614"/>
                      <a:pt x="1780821" y="675567"/>
                    </a:cubicBezTo>
                    <a:cubicBezTo>
                      <a:pt x="1779392" y="675777"/>
                      <a:pt x="1777963" y="675910"/>
                      <a:pt x="1776534" y="675948"/>
                    </a:cubicBezTo>
                    <a:cubicBezTo>
                      <a:pt x="1309239" y="697808"/>
                      <a:pt x="841466" y="646716"/>
                      <a:pt x="389885" y="524501"/>
                    </a:cubicBezTo>
                    <a:cubicBezTo>
                      <a:pt x="368263" y="518328"/>
                      <a:pt x="345689" y="530616"/>
                      <a:pt x="339118" y="552123"/>
                    </a:cubicBezTo>
                    <a:cubicBezTo>
                      <a:pt x="333497" y="573755"/>
                      <a:pt x="346452" y="595871"/>
                      <a:pt x="368073" y="601530"/>
                    </a:cubicBezTo>
                    <a:cubicBezTo>
                      <a:pt x="368359" y="601606"/>
                      <a:pt x="368645" y="601682"/>
                      <a:pt x="368931" y="601748"/>
                    </a:cubicBezTo>
                    <a:cubicBezTo>
                      <a:pt x="495899" y="636353"/>
                      <a:pt x="624391" y="665309"/>
                      <a:pt x="754312" y="688616"/>
                    </a:cubicBezTo>
                    <a:cubicBezTo>
                      <a:pt x="773743" y="691293"/>
                      <a:pt x="788222" y="707952"/>
                      <a:pt x="788126" y="727574"/>
                    </a:cubicBezTo>
                    <a:cubicBezTo>
                      <a:pt x="786125" y="748100"/>
                      <a:pt x="767933" y="763149"/>
                      <a:pt x="747359" y="761178"/>
                    </a:cubicBezTo>
                    <a:cubicBezTo>
                      <a:pt x="745930" y="761044"/>
                      <a:pt x="744596" y="760826"/>
                      <a:pt x="743167" y="760530"/>
                    </a:cubicBezTo>
                    <a:cubicBezTo>
                      <a:pt x="729738" y="758311"/>
                      <a:pt x="716307" y="755834"/>
                      <a:pt x="702877" y="753101"/>
                    </a:cubicBezTo>
                    <a:cubicBezTo>
                      <a:pt x="681541" y="747043"/>
                      <a:pt x="659253" y="759444"/>
                      <a:pt x="653252" y="780800"/>
                    </a:cubicBezTo>
                    <a:cubicBezTo>
                      <a:pt x="647156" y="802155"/>
                      <a:pt x="659539" y="824386"/>
                      <a:pt x="680970" y="830444"/>
                    </a:cubicBezTo>
                    <a:cubicBezTo>
                      <a:pt x="683256" y="831101"/>
                      <a:pt x="685637" y="831549"/>
                      <a:pt x="688018" y="831777"/>
                    </a:cubicBezTo>
                    <a:cubicBezTo>
                      <a:pt x="959386" y="882850"/>
                      <a:pt x="1234658" y="910102"/>
                      <a:pt x="1510788" y="913216"/>
                    </a:cubicBezTo>
                    <a:cubicBezTo>
                      <a:pt x="1530886" y="911406"/>
                      <a:pt x="1548697" y="926246"/>
                      <a:pt x="1550506" y="946373"/>
                    </a:cubicBezTo>
                    <a:cubicBezTo>
                      <a:pt x="1552317" y="966489"/>
                      <a:pt x="1537457" y="984263"/>
                      <a:pt x="1517360" y="986072"/>
                    </a:cubicBezTo>
                    <a:cubicBezTo>
                      <a:pt x="1514883" y="986292"/>
                      <a:pt x="1512406" y="986263"/>
                      <a:pt x="1509930" y="985987"/>
                    </a:cubicBezTo>
                    <a:cubicBezTo>
                      <a:pt x="1214846" y="982634"/>
                      <a:pt x="920618" y="952126"/>
                      <a:pt x="631153" y="894833"/>
                    </a:cubicBezTo>
                    <a:lnTo>
                      <a:pt x="631153" y="894833"/>
                    </a:lnTo>
                    <a:cubicBezTo>
                      <a:pt x="526378" y="873878"/>
                      <a:pt x="421603" y="849875"/>
                      <a:pt x="317591" y="821490"/>
                    </a:cubicBezTo>
                    <a:cubicBezTo>
                      <a:pt x="193766" y="787962"/>
                      <a:pt x="96706" y="708048"/>
                      <a:pt x="44604" y="609463"/>
                    </a:cubicBezTo>
                    <a:cubicBezTo>
                      <a:pt x="31555" y="585280"/>
                      <a:pt x="21173" y="559724"/>
                      <a:pt x="13648" y="533263"/>
                    </a:cubicBezTo>
                    <a:cubicBezTo>
                      <a:pt x="6123" y="506880"/>
                      <a:pt x="1456" y="479771"/>
                      <a:pt x="-354" y="452396"/>
                    </a:cubicBezTo>
                    <a:cubicBezTo>
                      <a:pt x="-3687" y="396418"/>
                      <a:pt x="4884" y="340364"/>
                      <a:pt x="24983" y="287995"/>
                    </a:cubicBezTo>
                    <a:lnTo>
                      <a:pt x="24983" y="287995"/>
                    </a:lnTo>
                    <a:cubicBezTo>
                      <a:pt x="44890" y="235636"/>
                      <a:pt x="74608" y="187582"/>
                      <a:pt x="112613" y="146453"/>
                    </a:cubicBezTo>
                    <a:cubicBezTo>
                      <a:pt x="130710" y="126670"/>
                      <a:pt x="150522" y="108534"/>
                      <a:pt x="171858" y="92256"/>
                    </a:cubicBezTo>
                    <a:cubicBezTo>
                      <a:pt x="192718" y="76387"/>
                      <a:pt x="214911" y="62214"/>
                      <a:pt x="238057" y="49870"/>
                    </a:cubicBezTo>
                    <a:cubicBezTo>
                      <a:pt x="330163" y="2245"/>
                      <a:pt x="434463" y="-14614"/>
                      <a:pt x="535903" y="13008"/>
                    </a:cubicBezTo>
                    <a:cubicBezTo>
                      <a:pt x="620296" y="36059"/>
                      <a:pt x="706592" y="55680"/>
                      <a:pt x="793364" y="7301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6" name="Freeform: Shape 225">
                <a:extLst>
                  <a:ext uri="{FF2B5EF4-FFF2-40B4-BE49-F238E27FC236}">
                    <a16:creationId xmlns:a16="http://schemas.microsoft.com/office/drawing/2014/main" id="{9B7FEDFA-D118-4317-AB5E-0096B88B5F0F}"/>
                  </a:ext>
                </a:extLst>
              </p:cNvPr>
              <p:cNvSpPr/>
              <p:nvPr/>
            </p:nvSpPr>
            <p:spPr>
              <a:xfrm>
                <a:off x="8578727" y="561546"/>
                <a:ext cx="851836" cy="1713774"/>
              </a:xfrm>
              <a:custGeom>
                <a:avLst/>
                <a:gdLst>
                  <a:gd name="connsiteX0" fmla="*/ 252993 w 851836"/>
                  <a:gd name="connsiteY0" fmla="*/ 1668938 h 1713774"/>
                  <a:gd name="connsiteX1" fmla="*/ 304619 w 851836"/>
                  <a:gd name="connsiteY1" fmla="*/ 1268888 h 1713774"/>
                  <a:gd name="connsiteX2" fmla="*/ 316239 w 851836"/>
                  <a:gd name="connsiteY2" fmla="*/ 1067434 h 1713774"/>
                  <a:gd name="connsiteX3" fmla="*/ 318525 w 851836"/>
                  <a:gd name="connsiteY3" fmla="*/ 966565 h 1713774"/>
                  <a:gd name="connsiteX4" fmla="*/ 319192 w 851836"/>
                  <a:gd name="connsiteY4" fmla="*/ 916082 h 1713774"/>
                  <a:gd name="connsiteX5" fmla="*/ 319192 w 851836"/>
                  <a:gd name="connsiteY5" fmla="*/ 864361 h 1713774"/>
                  <a:gd name="connsiteX6" fmla="*/ 283092 w 851836"/>
                  <a:gd name="connsiteY6" fmla="*/ 822451 h 1713774"/>
                  <a:gd name="connsiteX7" fmla="*/ 239277 w 851836"/>
                  <a:gd name="connsiteY7" fmla="*/ 858656 h 1713774"/>
                  <a:gd name="connsiteX8" fmla="*/ 239087 w 851836"/>
                  <a:gd name="connsiteY8" fmla="*/ 862647 h 1713774"/>
                  <a:gd name="connsiteX9" fmla="*/ 237658 w 851836"/>
                  <a:gd name="connsiteY9" fmla="*/ 1026286 h 1713774"/>
                  <a:gd name="connsiteX10" fmla="*/ 230133 w 851836"/>
                  <a:gd name="connsiteY10" fmla="*/ 1187449 h 1713774"/>
                  <a:gd name="connsiteX11" fmla="*/ 217083 w 851836"/>
                  <a:gd name="connsiteY11" fmla="*/ 1348231 h 1713774"/>
                  <a:gd name="connsiteX12" fmla="*/ 197272 w 851836"/>
                  <a:gd name="connsiteY12" fmla="*/ 1508156 h 1713774"/>
                  <a:gd name="connsiteX13" fmla="*/ 155552 w 851836"/>
                  <a:gd name="connsiteY13" fmla="*/ 1538274 h 1713774"/>
                  <a:gd name="connsiteX14" fmla="*/ 125073 w 851836"/>
                  <a:gd name="connsiteY14" fmla="*/ 1499584 h 1713774"/>
                  <a:gd name="connsiteX15" fmla="*/ 165459 w 851836"/>
                  <a:gd name="connsiteY15" fmla="*/ 989044 h 1713774"/>
                  <a:gd name="connsiteX16" fmla="*/ 125834 w 851836"/>
                  <a:gd name="connsiteY16" fmla="*/ 950944 h 1713774"/>
                  <a:gd name="connsiteX17" fmla="*/ 125834 w 851836"/>
                  <a:gd name="connsiteY17" fmla="*/ 950944 h 1713774"/>
                  <a:gd name="connsiteX18" fmla="*/ 125834 w 851836"/>
                  <a:gd name="connsiteY18" fmla="*/ 950944 h 1713774"/>
                  <a:gd name="connsiteX19" fmla="*/ 85353 w 851836"/>
                  <a:gd name="connsiteY19" fmla="*/ 987805 h 1713774"/>
                  <a:gd name="connsiteX20" fmla="*/ 85353 w 851836"/>
                  <a:gd name="connsiteY20" fmla="*/ 1022667 h 1713774"/>
                  <a:gd name="connsiteX21" fmla="*/ 84019 w 851836"/>
                  <a:gd name="connsiteY21" fmla="*/ 1057433 h 1713774"/>
                  <a:gd name="connsiteX22" fmla="*/ 81352 w 851836"/>
                  <a:gd name="connsiteY22" fmla="*/ 1127061 h 1713774"/>
                  <a:gd name="connsiteX23" fmla="*/ 76971 w 851836"/>
                  <a:gd name="connsiteY23" fmla="*/ 1196498 h 1713774"/>
                  <a:gd name="connsiteX24" fmla="*/ 74685 w 851836"/>
                  <a:gd name="connsiteY24" fmla="*/ 1231264 h 1713774"/>
                  <a:gd name="connsiteX25" fmla="*/ 71542 w 851836"/>
                  <a:gd name="connsiteY25" fmla="*/ 1265936 h 1713774"/>
                  <a:gd name="connsiteX26" fmla="*/ 31823 w 851836"/>
                  <a:gd name="connsiteY26" fmla="*/ 1298606 h 1713774"/>
                  <a:gd name="connsiteX27" fmla="*/ -1038 w 851836"/>
                  <a:gd name="connsiteY27" fmla="*/ 1261268 h 1713774"/>
                  <a:gd name="connsiteX28" fmla="*/ 2676 w 851836"/>
                  <a:gd name="connsiteY28" fmla="*/ 1216882 h 1713774"/>
                  <a:gd name="connsiteX29" fmla="*/ 5438 w 851836"/>
                  <a:gd name="connsiteY29" fmla="*/ 1172400 h 1713774"/>
                  <a:gd name="connsiteX30" fmla="*/ 8201 w 851836"/>
                  <a:gd name="connsiteY30" fmla="*/ 1127918 h 1713774"/>
                  <a:gd name="connsiteX31" fmla="*/ 10010 w 851836"/>
                  <a:gd name="connsiteY31" fmla="*/ 1083341 h 1713774"/>
                  <a:gd name="connsiteX32" fmla="*/ 12677 w 851836"/>
                  <a:gd name="connsiteY32" fmla="*/ 994187 h 1713774"/>
                  <a:gd name="connsiteX33" fmla="*/ 13534 w 851836"/>
                  <a:gd name="connsiteY33" fmla="*/ 903700 h 1713774"/>
                  <a:gd name="connsiteX34" fmla="*/ 13059 w 851836"/>
                  <a:gd name="connsiteY34" fmla="*/ 509746 h 1713774"/>
                  <a:gd name="connsiteX35" fmla="*/ 14011 w 851836"/>
                  <a:gd name="connsiteY35" fmla="*/ 509746 h 1713774"/>
                  <a:gd name="connsiteX36" fmla="*/ 14011 w 851836"/>
                  <a:gd name="connsiteY36" fmla="*/ 226567 h 1713774"/>
                  <a:gd name="connsiteX37" fmla="*/ 46681 w 851836"/>
                  <a:gd name="connsiteY37" fmla="*/ 188467 h 1713774"/>
                  <a:gd name="connsiteX38" fmla="*/ 86591 w 851836"/>
                  <a:gd name="connsiteY38" fmla="*/ 221348 h 1713774"/>
                  <a:gd name="connsiteX39" fmla="*/ 86782 w 851836"/>
                  <a:gd name="connsiteY39" fmla="*/ 224948 h 1713774"/>
                  <a:gd name="connsiteX40" fmla="*/ 86782 w 851836"/>
                  <a:gd name="connsiteY40" fmla="*/ 416686 h 1713774"/>
                  <a:gd name="connsiteX41" fmla="*/ 122881 w 851836"/>
                  <a:gd name="connsiteY41" fmla="*/ 458596 h 1713774"/>
                  <a:gd name="connsiteX42" fmla="*/ 166602 w 851836"/>
                  <a:gd name="connsiteY42" fmla="*/ 422287 h 1713774"/>
                  <a:gd name="connsiteX43" fmla="*/ 166792 w 851836"/>
                  <a:gd name="connsiteY43" fmla="*/ 418496 h 1713774"/>
                  <a:gd name="connsiteX44" fmla="*/ 166792 w 851836"/>
                  <a:gd name="connsiteY44" fmla="*/ 172180 h 1713774"/>
                  <a:gd name="connsiteX45" fmla="*/ 199462 w 851836"/>
                  <a:gd name="connsiteY45" fmla="*/ 134080 h 1713774"/>
                  <a:gd name="connsiteX46" fmla="*/ 239373 w 851836"/>
                  <a:gd name="connsiteY46" fmla="*/ 166960 h 1713774"/>
                  <a:gd name="connsiteX47" fmla="*/ 239562 w 851836"/>
                  <a:gd name="connsiteY47" fmla="*/ 170560 h 1713774"/>
                  <a:gd name="connsiteX48" fmla="*/ 239562 w 851836"/>
                  <a:gd name="connsiteY48" fmla="*/ 534225 h 1713774"/>
                  <a:gd name="connsiteX49" fmla="*/ 275662 w 851836"/>
                  <a:gd name="connsiteY49" fmla="*/ 576135 h 1713774"/>
                  <a:gd name="connsiteX50" fmla="*/ 319477 w 851836"/>
                  <a:gd name="connsiteY50" fmla="*/ 539930 h 1713774"/>
                  <a:gd name="connsiteX51" fmla="*/ 319668 w 851836"/>
                  <a:gd name="connsiteY51" fmla="*/ 535939 h 1713774"/>
                  <a:gd name="connsiteX52" fmla="*/ 319668 w 851836"/>
                  <a:gd name="connsiteY52" fmla="*/ 266572 h 1713774"/>
                  <a:gd name="connsiteX53" fmla="*/ 352244 w 851836"/>
                  <a:gd name="connsiteY53" fmla="*/ 228472 h 1713774"/>
                  <a:gd name="connsiteX54" fmla="*/ 392153 w 851836"/>
                  <a:gd name="connsiteY54" fmla="*/ 261353 h 1713774"/>
                  <a:gd name="connsiteX55" fmla="*/ 392344 w 851836"/>
                  <a:gd name="connsiteY55" fmla="*/ 264953 h 1713774"/>
                  <a:gd name="connsiteX56" fmla="*/ 392344 w 851836"/>
                  <a:gd name="connsiteY56" fmla="*/ 498315 h 1713774"/>
                  <a:gd name="connsiteX57" fmla="*/ 428444 w 851836"/>
                  <a:gd name="connsiteY57" fmla="*/ 540226 h 1713774"/>
                  <a:gd name="connsiteX58" fmla="*/ 472259 w 851836"/>
                  <a:gd name="connsiteY58" fmla="*/ 504021 h 1713774"/>
                  <a:gd name="connsiteX59" fmla="*/ 472449 w 851836"/>
                  <a:gd name="connsiteY59" fmla="*/ 500125 h 1713774"/>
                  <a:gd name="connsiteX60" fmla="*/ 472449 w 851836"/>
                  <a:gd name="connsiteY60" fmla="*/ 37972 h 1713774"/>
                  <a:gd name="connsiteX61" fmla="*/ 505119 w 851836"/>
                  <a:gd name="connsiteY61" fmla="*/ -128 h 1713774"/>
                  <a:gd name="connsiteX62" fmla="*/ 545030 w 851836"/>
                  <a:gd name="connsiteY62" fmla="*/ 32753 h 1713774"/>
                  <a:gd name="connsiteX63" fmla="*/ 545220 w 851836"/>
                  <a:gd name="connsiteY63" fmla="*/ 36353 h 1713774"/>
                  <a:gd name="connsiteX64" fmla="*/ 545220 w 851836"/>
                  <a:gd name="connsiteY64" fmla="*/ 445928 h 1713774"/>
                  <a:gd name="connsiteX65" fmla="*/ 585225 w 851836"/>
                  <a:gd name="connsiteY65" fmla="*/ 485933 h 1713774"/>
                  <a:gd name="connsiteX66" fmla="*/ 625231 w 851836"/>
                  <a:gd name="connsiteY66" fmla="*/ 445928 h 1713774"/>
                  <a:gd name="connsiteX67" fmla="*/ 625231 w 851836"/>
                  <a:gd name="connsiteY67" fmla="*/ 384015 h 1713774"/>
                  <a:gd name="connsiteX68" fmla="*/ 657901 w 851836"/>
                  <a:gd name="connsiteY68" fmla="*/ 345915 h 1713774"/>
                  <a:gd name="connsiteX69" fmla="*/ 697811 w 851836"/>
                  <a:gd name="connsiteY69" fmla="*/ 378796 h 1713774"/>
                  <a:gd name="connsiteX70" fmla="*/ 698001 w 851836"/>
                  <a:gd name="connsiteY70" fmla="*/ 382396 h 1713774"/>
                  <a:gd name="connsiteX71" fmla="*/ 698001 w 851836"/>
                  <a:gd name="connsiteY71" fmla="*/ 554894 h 1713774"/>
                  <a:gd name="connsiteX72" fmla="*/ 734101 w 851836"/>
                  <a:gd name="connsiteY72" fmla="*/ 596804 h 1713774"/>
                  <a:gd name="connsiteX73" fmla="*/ 777916 w 851836"/>
                  <a:gd name="connsiteY73" fmla="*/ 560600 h 1713774"/>
                  <a:gd name="connsiteX74" fmla="*/ 778106 w 851836"/>
                  <a:gd name="connsiteY74" fmla="*/ 556704 h 1713774"/>
                  <a:gd name="connsiteX75" fmla="*/ 778106 w 851836"/>
                  <a:gd name="connsiteY75" fmla="*/ 202850 h 1713774"/>
                  <a:gd name="connsiteX76" fmla="*/ 810682 w 851836"/>
                  <a:gd name="connsiteY76" fmla="*/ 164750 h 1713774"/>
                  <a:gd name="connsiteX77" fmla="*/ 850591 w 851836"/>
                  <a:gd name="connsiteY77" fmla="*/ 197630 h 1713774"/>
                  <a:gd name="connsiteX78" fmla="*/ 850782 w 851836"/>
                  <a:gd name="connsiteY78" fmla="*/ 201231 h 1713774"/>
                  <a:gd name="connsiteX79" fmla="*/ 850782 w 851836"/>
                  <a:gd name="connsiteY79" fmla="*/ 509746 h 1713774"/>
                  <a:gd name="connsiteX80" fmla="*/ 850782 w 851836"/>
                  <a:gd name="connsiteY80" fmla="*/ 509746 h 1713774"/>
                  <a:gd name="connsiteX81" fmla="*/ 850782 w 851836"/>
                  <a:gd name="connsiteY81" fmla="*/ 915415 h 1713774"/>
                  <a:gd name="connsiteX82" fmla="*/ 850782 w 851836"/>
                  <a:gd name="connsiteY82" fmla="*/ 915415 h 1713774"/>
                  <a:gd name="connsiteX83" fmla="*/ 849830 w 851836"/>
                  <a:gd name="connsiteY83" fmla="*/ 998283 h 1713774"/>
                  <a:gd name="connsiteX84" fmla="*/ 849258 w 851836"/>
                  <a:gd name="connsiteY84" fmla="*/ 1039812 h 1713774"/>
                  <a:gd name="connsiteX85" fmla="*/ 847735 w 851836"/>
                  <a:gd name="connsiteY85" fmla="*/ 1081246 h 1713774"/>
                  <a:gd name="connsiteX86" fmla="*/ 844591 w 851836"/>
                  <a:gd name="connsiteY86" fmla="*/ 1164304 h 1713774"/>
                  <a:gd name="connsiteX87" fmla="*/ 839352 w 851836"/>
                  <a:gd name="connsiteY87" fmla="*/ 1247171 h 1713774"/>
                  <a:gd name="connsiteX88" fmla="*/ 804014 w 851836"/>
                  <a:gd name="connsiteY88" fmla="*/ 1286414 h 1713774"/>
                  <a:gd name="connsiteX89" fmla="*/ 766391 w 851836"/>
                  <a:gd name="connsiteY89" fmla="*/ 1247885 h 1713774"/>
                  <a:gd name="connsiteX90" fmla="*/ 766581 w 851836"/>
                  <a:gd name="connsiteY90" fmla="*/ 1244123 h 1713774"/>
                  <a:gd name="connsiteX91" fmla="*/ 772582 w 851836"/>
                  <a:gd name="connsiteY91" fmla="*/ 1144015 h 1713774"/>
                  <a:gd name="connsiteX92" fmla="*/ 776297 w 851836"/>
                  <a:gd name="connsiteY92" fmla="*/ 1043907 h 1713774"/>
                  <a:gd name="connsiteX93" fmla="*/ 777725 w 851836"/>
                  <a:gd name="connsiteY93" fmla="*/ 943800 h 1713774"/>
                  <a:gd name="connsiteX94" fmla="*/ 777725 w 851836"/>
                  <a:gd name="connsiteY94" fmla="*/ 918749 h 1713774"/>
                  <a:gd name="connsiteX95" fmla="*/ 777725 w 851836"/>
                  <a:gd name="connsiteY95" fmla="*/ 848931 h 1713774"/>
                  <a:gd name="connsiteX96" fmla="*/ 741626 w 851836"/>
                  <a:gd name="connsiteY96" fmla="*/ 807021 h 1713774"/>
                  <a:gd name="connsiteX97" fmla="*/ 697525 w 851836"/>
                  <a:gd name="connsiteY97" fmla="*/ 842911 h 1713774"/>
                  <a:gd name="connsiteX98" fmla="*/ 697334 w 851836"/>
                  <a:gd name="connsiteY98" fmla="*/ 847597 h 1713774"/>
                  <a:gd name="connsiteX99" fmla="*/ 697334 w 851836"/>
                  <a:gd name="connsiteY99" fmla="*/ 917987 h 1713774"/>
                  <a:gd name="connsiteX100" fmla="*/ 696382 w 851836"/>
                  <a:gd name="connsiteY100" fmla="*/ 992663 h 1713774"/>
                  <a:gd name="connsiteX101" fmla="*/ 663235 w 851836"/>
                  <a:gd name="connsiteY101" fmla="*/ 1032382 h 1713774"/>
                  <a:gd name="connsiteX102" fmla="*/ 623611 w 851836"/>
                  <a:gd name="connsiteY102" fmla="*/ 995854 h 1713774"/>
                  <a:gd name="connsiteX103" fmla="*/ 623611 w 851836"/>
                  <a:gd name="connsiteY103" fmla="*/ 993330 h 1713774"/>
                  <a:gd name="connsiteX104" fmla="*/ 624563 w 851836"/>
                  <a:gd name="connsiteY104" fmla="*/ 904747 h 1713774"/>
                  <a:gd name="connsiteX105" fmla="*/ 588463 w 851836"/>
                  <a:gd name="connsiteY105" fmla="*/ 862837 h 1713774"/>
                  <a:gd name="connsiteX106" fmla="*/ 544744 w 851836"/>
                  <a:gd name="connsiteY106" fmla="*/ 899147 h 1713774"/>
                  <a:gd name="connsiteX107" fmla="*/ 544553 w 851836"/>
                  <a:gd name="connsiteY107" fmla="*/ 902938 h 1713774"/>
                  <a:gd name="connsiteX108" fmla="*/ 524837 w 851836"/>
                  <a:gd name="connsiteY108" fmla="*/ 1337849 h 1713774"/>
                  <a:gd name="connsiteX109" fmla="*/ 488832 w 851836"/>
                  <a:gd name="connsiteY109" fmla="*/ 1373568 h 1713774"/>
                  <a:gd name="connsiteX110" fmla="*/ 451970 w 851836"/>
                  <a:gd name="connsiteY110" fmla="*/ 1335716 h 1713774"/>
                  <a:gd name="connsiteX111" fmla="*/ 452161 w 851836"/>
                  <a:gd name="connsiteY111" fmla="*/ 1332896 h 1713774"/>
                  <a:gd name="connsiteX112" fmla="*/ 470639 w 851836"/>
                  <a:gd name="connsiteY112" fmla="*/ 1009713 h 1713774"/>
                  <a:gd name="connsiteX113" fmla="*/ 435016 w 851836"/>
                  <a:gd name="connsiteY113" fmla="*/ 967041 h 1713774"/>
                  <a:gd name="connsiteX114" fmla="*/ 390819 w 851836"/>
                  <a:gd name="connsiteY114" fmla="*/ 1002617 h 1713774"/>
                  <a:gd name="connsiteX115" fmla="*/ 390630 w 851836"/>
                  <a:gd name="connsiteY115" fmla="*/ 1006379 h 1713774"/>
                  <a:gd name="connsiteX116" fmla="*/ 370626 w 851836"/>
                  <a:gd name="connsiteY116" fmla="*/ 1346422 h 1713774"/>
                  <a:gd name="connsiteX117" fmla="*/ 324144 w 851836"/>
                  <a:gd name="connsiteY117" fmla="*/ 1683892 h 1713774"/>
                  <a:gd name="connsiteX118" fmla="*/ 281282 w 851836"/>
                  <a:gd name="connsiteY118" fmla="*/ 1712791 h 1713774"/>
                  <a:gd name="connsiteX119" fmla="*/ 277948 w 851836"/>
                  <a:gd name="connsiteY119" fmla="*/ 1711991 h 1713774"/>
                  <a:gd name="connsiteX120" fmla="*/ 252993 w 851836"/>
                  <a:gd name="connsiteY120" fmla="*/ 1668938 h 1713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</a:cxnLst>
                <a:rect l="l" t="t" r="r" b="b"/>
                <a:pathLst>
                  <a:path w="851836" h="1713774">
                    <a:moveTo>
                      <a:pt x="252993" y="1668938"/>
                    </a:moveTo>
                    <a:cubicBezTo>
                      <a:pt x="276519" y="1536541"/>
                      <a:pt x="293665" y="1403191"/>
                      <a:pt x="304619" y="1268888"/>
                    </a:cubicBezTo>
                    <a:cubicBezTo>
                      <a:pt x="309952" y="1202213"/>
                      <a:pt x="314144" y="1134681"/>
                      <a:pt x="316239" y="1067434"/>
                    </a:cubicBezTo>
                    <a:cubicBezTo>
                      <a:pt x="317859" y="1033906"/>
                      <a:pt x="318144" y="1000188"/>
                      <a:pt x="318525" y="966565"/>
                    </a:cubicBezTo>
                    <a:lnTo>
                      <a:pt x="319192" y="916082"/>
                    </a:lnTo>
                    <a:lnTo>
                      <a:pt x="319192" y="864361"/>
                    </a:lnTo>
                    <a:cubicBezTo>
                      <a:pt x="319573" y="843244"/>
                      <a:pt x="304047" y="825214"/>
                      <a:pt x="283092" y="822451"/>
                    </a:cubicBezTo>
                    <a:cubicBezTo>
                      <a:pt x="260994" y="820346"/>
                      <a:pt x="241373" y="836558"/>
                      <a:pt x="239277" y="858656"/>
                    </a:cubicBezTo>
                    <a:cubicBezTo>
                      <a:pt x="239182" y="859980"/>
                      <a:pt x="239087" y="861313"/>
                      <a:pt x="239087" y="862647"/>
                    </a:cubicBezTo>
                    <a:cubicBezTo>
                      <a:pt x="239087" y="919797"/>
                      <a:pt x="238325" y="972184"/>
                      <a:pt x="237658" y="1026286"/>
                    </a:cubicBezTo>
                    <a:cubicBezTo>
                      <a:pt x="235467" y="1080007"/>
                      <a:pt x="234134" y="1133824"/>
                      <a:pt x="230133" y="1187449"/>
                    </a:cubicBezTo>
                    <a:cubicBezTo>
                      <a:pt x="226133" y="1241075"/>
                      <a:pt x="221846" y="1294606"/>
                      <a:pt x="217083" y="1348231"/>
                    </a:cubicBezTo>
                    <a:cubicBezTo>
                      <a:pt x="212321" y="1401857"/>
                      <a:pt x="205368" y="1455007"/>
                      <a:pt x="197272" y="1508156"/>
                    </a:cubicBezTo>
                    <a:cubicBezTo>
                      <a:pt x="194034" y="1527997"/>
                      <a:pt x="175364" y="1541475"/>
                      <a:pt x="155552" y="1538274"/>
                    </a:cubicBezTo>
                    <a:cubicBezTo>
                      <a:pt x="136884" y="1535255"/>
                      <a:pt x="123644" y="1518443"/>
                      <a:pt x="125073" y="1499584"/>
                    </a:cubicBezTo>
                    <a:cubicBezTo>
                      <a:pt x="149265" y="1330420"/>
                      <a:pt x="162696" y="1159903"/>
                      <a:pt x="165459" y="989044"/>
                    </a:cubicBezTo>
                    <a:cubicBezTo>
                      <a:pt x="165077" y="967584"/>
                      <a:pt x="147266" y="950525"/>
                      <a:pt x="125834" y="950944"/>
                    </a:cubicBezTo>
                    <a:cubicBezTo>
                      <a:pt x="125834" y="950944"/>
                      <a:pt x="125834" y="950944"/>
                      <a:pt x="125834" y="950944"/>
                    </a:cubicBezTo>
                    <a:lnTo>
                      <a:pt x="125834" y="950944"/>
                    </a:lnTo>
                    <a:cubicBezTo>
                      <a:pt x="104498" y="950077"/>
                      <a:pt x="86496" y="966508"/>
                      <a:pt x="85353" y="987805"/>
                    </a:cubicBezTo>
                    <a:lnTo>
                      <a:pt x="85353" y="1022667"/>
                    </a:lnTo>
                    <a:lnTo>
                      <a:pt x="84019" y="1057433"/>
                    </a:lnTo>
                    <a:lnTo>
                      <a:pt x="81352" y="1127061"/>
                    </a:lnTo>
                    <a:lnTo>
                      <a:pt x="76971" y="1196498"/>
                    </a:lnTo>
                    <a:cubicBezTo>
                      <a:pt x="76209" y="1208119"/>
                      <a:pt x="75637" y="1219739"/>
                      <a:pt x="74685" y="1231264"/>
                    </a:cubicBezTo>
                    <a:lnTo>
                      <a:pt x="71542" y="1265936"/>
                    </a:lnTo>
                    <a:cubicBezTo>
                      <a:pt x="69541" y="1285938"/>
                      <a:pt x="51825" y="1300559"/>
                      <a:pt x="31823" y="1298606"/>
                    </a:cubicBezTo>
                    <a:cubicBezTo>
                      <a:pt x="12677" y="1296739"/>
                      <a:pt x="-1610" y="1280413"/>
                      <a:pt x="-1038" y="1261268"/>
                    </a:cubicBezTo>
                    <a:lnTo>
                      <a:pt x="2676" y="1216882"/>
                    </a:lnTo>
                    <a:lnTo>
                      <a:pt x="5438" y="1172400"/>
                    </a:lnTo>
                    <a:lnTo>
                      <a:pt x="8201" y="1127918"/>
                    </a:lnTo>
                    <a:cubicBezTo>
                      <a:pt x="9153" y="1113059"/>
                      <a:pt x="9344" y="1098200"/>
                      <a:pt x="10010" y="1083341"/>
                    </a:cubicBezTo>
                    <a:cubicBezTo>
                      <a:pt x="10868" y="1053623"/>
                      <a:pt x="12677" y="1024000"/>
                      <a:pt x="12677" y="994187"/>
                    </a:cubicBezTo>
                    <a:lnTo>
                      <a:pt x="13534" y="903700"/>
                    </a:lnTo>
                    <a:lnTo>
                      <a:pt x="13059" y="509746"/>
                    </a:lnTo>
                    <a:lnTo>
                      <a:pt x="14011" y="509746"/>
                    </a:lnTo>
                    <a:lnTo>
                      <a:pt x="14011" y="226567"/>
                    </a:lnTo>
                    <a:cubicBezTo>
                      <a:pt x="13820" y="207479"/>
                      <a:pt x="27822" y="191192"/>
                      <a:pt x="46681" y="188467"/>
                    </a:cubicBezTo>
                    <a:cubicBezTo>
                      <a:pt x="66780" y="186524"/>
                      <a:pt x="84687" y="201240"/>
                      <a:pt x="86591" y="221348"/>
                    </a:cubicBezTo>
                    <a:cubicBezTo>
                      <a:pt x="86687" y="222548"/>
                      <a:pt x="86782" y="223748"/>
                      <a:pt x="86782" y="224948"/>
                    </a:cubicBezTo>
                    <a:lnTo>
                      <a:pt x="86782" y="416686"/>
                    </a:lnTo>
                    <a:cubicBezTo>
                      <a:pt x="86305" y="437832"/>
                      <a:pt x="101927" y="455920"/>
                      <a:pt x="122881" y="458596"/>
                    </a:cubicBezTo>
                    <a:cubicBezTo>
                      <a:pt x="144980" y="460644"/>
                      <a:pt x="164601" y="444395"/>
                      <a:pt x="166602" y="422287"/>
                    </a:cubicBezTo>
                    <a:cubicBezTo>
                      <a:pt x="166697" y="421030"/>
                      <a:pt x="166792" y="419763"/>
                      <a:pt x="166792" y="418496"/>
                    </a:cubicBezTo>
                    <a:lnTo>
                      <a:pt x="166792" y="172180"/>
                    </a:lnTo>
                    <a:cubicBezTo>
                      <a:pt x="166602" y="153092"/>
                      <a:pt x="180603" y="136804"/>
                      <a:pt x="199462" y="134080"/>
                    </a:cubicBezTo>
                    <a:cubicBezTo>
                      <a:pt x="219560" y="132136"/>
                      <a:pt x="237467" y="146853"/>
                      <a:pt x="239373" y="166960"/>
                    </a:cubicBezTo>
                    <a:cubicBezTo>
                      <a:pt x="239468" y="168160"/>
                      <a:pt x="239562" y="169360"/>
                      <a:pt x="239562" y="170560"/>
                    </a:cubicBezTo>
                    <a:lnTo>
                      <a:pt x="239562" y="534225"/>
                    </a:lnTo>
                    <a:cubicBezTo>
                      <a:pt x="239182" y="555342"/>
                      <a:pt x="254708" y="573373"/>
                      <a:pt x="275662" y="576135"/>
                    </a:cubicBezTo>
                    <a:cubicBezTo>
                      <a:pt x="297761" y="578240"/>
                      <a:pt x="317382" y="562028"/>
                      <a:pt x="319477" y="539930"/>
                    </a:cubicBezTo>
                    <a:cubicBezTo>
                      <a:pt x="319573" y="538606"/>
                      <a:pt x="319668" y="537273"/>
                      <a:pt x="319668" y="535939"/>
                    </a:cubicBezTo>
                    <a:lnTo>
                      <a:pt x="319668" y="266572"/>
                    </a:lnTo>
                    <a:cubicBezTo>
                      <a:pt x="319477" y="247513"/>
                      <a:pt x="333384" y="231235"/>
                      <a:pt x="352244" y="228472"/>
                    </a:cubicBezTo>
                    <a:cubicBezTo>
                      <a:pt x="372341" y="226529"/>
                      <a:pt x="390248" y="241245"/>
                      <a:pt x="392153" y="261353"/>
                    </a:cubicBezTo>
                    <a:cubicBezTo>
                      <a:pt x="392248" y="262553"/>
                      <a:pt x="392344" y="263753"/>
                      <a:pt x="392344" y="264953"/>
                    </a:cubicBezTo>
                    <a:lnTo>
                      <a:pt x="392344" y="498315"/>
                    </a:lnTo>
                    <a:cubicBezTo>
                      <a:pt x="391962" y="519452"/>
                      <a:pt x="407488" y="537511"/>
                      <a:pt x="428444" y="540226"/>
                    </a:cubicBezTo>
                    <a:cubicBezTo>
                      <a:pt x="450541" y="542331"/>
                      <a:pt x="470163" y="526119"/>
                      <a:pt x="472259" y="504021"/>
                    </a:cubicBezTo>
                    <a:cubicBezTo>
                      <a:pt x="472354" y="502726"/>
                      <a:pt x="472449" y="501430"/>
                      <a:pt x="472449" y="500125"/>
                    </a:cubicBezTo>
                    <a:lnTo>
                      <a:pt x="472449" y="37972"/>
                    </a:lnTo>
                    <a:cubicBezTo>
                      <a:pt x="472259" y="18884"/>
                      <a:pt x="486260" y="2597"/>
                      <a:pt x="505119" y="-128"/>
                    </a:cubicBezTo>
                    <a:cubicBezTo>
                      <a:pt x="525218" y="-2071"/>
                      <a:pt x="543125" y="12645"/>
                      <a:pt x="545030" y="32753"/>
                    </a:cubicBezTo>
                    <a:cubicBezTo>
                      <a:pt x="545125" y="33953"/>
                      <a:pt x="545220" y="35153"/>
                      <a:pt x="545220" y="36353"/>
                    </a:cubicBezTo>
                    <a:lnTo>
                      <a:pt x="545220" y="445928"/>
                    </a:lnTo>
                    <a:cubicBezTo>
                      <a:pt x="545220" y="468026"/>
                      <a:pt x="563127" y="485933"/>
                      <a:pt x="585225" y="485933"/>
                    </a:cubicBezTo>
                    <a:cubicBezTo>
                      <a:pt x="607324" y="485933"/>
                      <a:pt x="625231" y="468026"/>
                      <a:pt x="625231" y="445928"/>
                    </a:cubicBezTo>
                    <a:lnTo>
                      <a:pt x="625231" y="384015"/>
                    </a:lnTo>
                    <a:cubicBezTo>
                      <a:pt x="625040" y="364927"/>
                      <a:pt x="639041" y="348640"/>
                      <a:pt x="657901" y="345915"/>
                    </a:cubicBezTo>
                    <a:cubicBezTo>
                      <a:pt x="677998" y="343973"/>
                      <a:pt x="695905" y="358689"/>
                      <a:pt x="697811" y="378796"/>
                    </a:cubicBezTo>
                    <a:cubicBezTo>
                      <a:pt x="697906" y="379996"/>
                      <a:pt x="698001" y="381196"/>
                      <a:pt x="698001" y="382396"/>
                    </a:cubicBezTo>
                    <a:lnTo>
                      <a:pt x="698001" y="554894"/>
                    </a:lnTo>
                    <a:cubicBezTo>
                      <a:pt x="697620" y="576011"/>
                      <a:pt x="713146" y="594042"/>
                      <a:pt x="734101" y="596804"/>
                    </a:cubicBezTo>
                    <a:cubicBezTo>
                      <a:pt x="756199" y="598909"/>
                      <a:pt x="775820" y="582698"/>
                      <a:pt x="777916" y="560600"/>
                    </a:cubicBezTo>
                    <a:cubicBezTo>
                      <a:pt x="778011" y="559304"/>
                      <a:pt x="778106" y="558009"/>
                      <a:pt x="778106" y="556704"/>
                    </a:cubicBezTo>
                    <a:lnTo>
                      <a:pt x="778106" y="202850"/>
                    </a:lnTo>
                    <a:cubicBezTo>
                      <a:pt x="777916" y="183791"/>
                      <a:pt x="791823" y="167512"/>
                      <a:pt x="810682" y="164750"/>
                    </a:cubicBezTo>
                    <a:cubicBezTo>
                      <a:pt x="830780" y="162807"/>
                      <a:pt x="848687" y="177523"/>
                      <a:pt x="850591" y="197630"/>
                    </a:cubicBezTo>
                    <a:cubicBezTo>
                      <a:pt x="850687" y="198831"/>
                      <a:pt x="850782" y="200031"/>
                      <a:pt x="850782" y="201231"/>
                    </a:cubicBezTo>
                    <a:lnTo>
                      <a:pt x="850782" y="509746"/>
                    </a:lnTo>
                    <a:lnTo>
                      <a:pt x="850782" y="509746"/>
                    </a:lnTo>
                    <a:lnTo>
                      <a:pt x="850782" y="915415"/>
                    </a:lnTo>
                    <a:lnTo>
                      <a:pt x="850782" y="915415"/>
                    </a:lnTo>
                    <a:lnTo>
                      <a:pt x="849830" y="998283"/>
                    </a:lnTo>
                    <a:lnTo>
                      <a:pt x="849258" y="1039812"/>
                    </a:lnTo>
                    <a:lnTo>
                      <a:pt x="847735" y="1081246"/>
                    </a:lnTo>
                    <a:lnTo>
                      <a:pt x="844591" y="1164304"/>
                    </a:lnTo>
                    <a:lnTo>
                      <a:pt x="839352" y="1247171"/>
                    </a:lnTo>
                    <a:cubicBezTo>
                      <a:pt x="839257" y="1267335"/>
                      <a:pt x="824113" y="1284233"/>
                      <a:pt x="804014" y="1286414"/>
                    </a:cubicBezTo>
                    <a:cubicBezTo>
                      <a:pt x="782964" y="1286176"/>
                      <a:pt x="766105" y="1268926"/>
                      <a:pt x="766391" y="1247885"/>
                    </a:cubicBezTo>
                    <a:cubicBezTo>
                      <a:pt x="766391" y="1246628"/>
                      <a:pt x="766486" y="1245371"/>
                      <a:pt x="766581" y="1244123"/>
                    </a:cubicBezTo>
                    <a:cubicBezTo>
                      <a:pt x="768581" y="1210786"/>
                      <a:pt x="771153" y="1177448"/>
                      <a:pt x="772582" y="1144015"/>
                    </a:cubicBezTo>
                    <a:lnTo>
                      <a:pt x="776297" y="1043907"/>
                    </a:lnTo>
                    <a:lnTo>
                      <a:pt x="777725" y="943800"/>
                    </a:lnTo>
                    <a:lnTo>
                      <a:pt x="777725" y="918749"/>
                    </a:lnTo>
                    <a:lnTo>
                      <a:pt x="777725" y="848931"/>
                    </a:lnTo>
                    <a:cubicBezTo>
                      <a:pt x="778106" y="827814"/>
                      <a:pt x="762580" y="809783"/>
                      <a:pt x="741626" y="807021"/>
                    </a:cubicBezTo>
                    <a:cubicBezTo>
                      <a:pt x="719527" y="804754"/>
                      <a:pt x="699811" y="820823"/>
                      <a:pt x="697525" y="842911"/>
                    </a:cubicBezTo>
                    <a:cubicBezTo>
                      <a:pt x="697334" y="844464"/>
                      <a:pt x="697334" y="846035"/>
                      <a:pt x="697334" y="847597"/>
                    </a:cubicBezTo>
                    <a:lnTo>
                      <a:pt x="697334" y="917987"/>
                    </a:lnTo>
                    <a:lnTo>
                      <a:pt x="696382" y="992663"/>
                    </a:lnTo>
                    <a:cubicBezTo>
                      <a:pt x="697144" y="1012437"/>
                      <a:pt x="682856" y="1029573"/>
                      <a:pt x="663235" y="1032382"/>
                    </a:cubicBezTo>
                    <a:cubicBezTo>
                      <a:pt x="642184" y="1033230"/>
                      <a:pt x="624468" y="1016876"/>
                      <a:pt x="623611" y="995854"/>
                    </a:cubicBezTo>
                    <a:cubicBezTo>
                      <a:pt x="623611" y="995006"/>
                      <a:pt x="623611" y="994168"/>
                      <a:pt x="623611" y="993330"/>
                    </a:cubicBezTo>
                    <a:lnTo>
                      <a:pt x="624563" y="904747"/>
                    </a:lnTo>
                    <a:cubicBezTo>
                      <a:pt x="625040" y="883602"/>
                      <a:pt x="609419" y="865514"/>
                      <a:pt x="588463" y="862837"/>
                    </a:cubicBezTo>
                    <a:cubicBezTo>
                      <a:pt x="566366" y="860790"/>
                      <a:pt x="546744" y="877039"/>
                      <a:pt x="544744" y="899147"/>
                    </a:cubicBezTo>
                    <a:cubicBezTo>
                      <a:pt x="544648" y="900404"/>
                      <a:pt x="544553" y="901671"/>
                      <a:pt x="544553" y="902938"/>
                    </a:cubicBezTo>
                    <a:cubicBezTo>
                      <a:pt x="544553" y="1047527"/>
                      <a:pt x="538363" y="1193355"/>
                      <a:pt x="524837" y="1337849"/>
                    </a:cubicBezTo>
                    <a:cubicBezTo>
                      <a:pt x="523694" y="1357175"/>
                      <a:pt x="508168" y="1372539"/>
                      <a:pt x="488832" y="1373568"/>
                    </a:cubicBezTo>
                    <a:cubicBezTo>
                      <a:pt x="468258" y="1373282"/>
                      <a:pt x="451684" y="1356337"/>
                      <a:pt x="451970" y="1335716"/>
                    </a:cubicBezTo>
                    <a:cubicBezTo>
                      <a:pt x="452066" y="1334773"/>
                      <a:pt x="452066" y="1333830"/>
                      <a:pt x="452161" y="1332896"/>
                    </a:cubicBezTo>
                    <a:cubicBezTo>
                      <a:pt x="462924" y="1225454"/>
                      <a:pt x="467782" y="1117536"/>
                      <a:pt x="470639" y="1009713"/>
                    </a:cubicBezTo>
                    <a:cubicBezTo>
                      <a:pt x="471402" y="988463"/>
                      <a:pt x="456067" y="970051"/>
                      <a:pt x="435016" y="967041"/>
                    </a:cubicBezTo>
                    <a:cubicBezTo>
                      <a:pt x="413013" y="964669"/>
                      <a:pt x="393201" y="980604"/>
                      <a:pt x="390819" y="1002617"/>
                    </a:cubicBezTo>
                    <a:cubicBezTo>
                      <a:pt x="390725" y="1003874"/>
                      <a:pt x="390630" y="1005122"/>
                      <a:pt x="390630" y="1006379"/>
                    </a:cubicBezTo>
                    <a:cubicBezTo>
                      <a:pt x="387867" y="1119917"/>
                      <a:pt x="381866" y="1233455"/>
                      <a:pt x="370626" y="1346422"/>
                    </a:cubicBezTo>
                    <a:cubicBezTo>
                      <a:pt x="359388" y="1459388"/>
                      <a:pt x="343766" y="1571974"/>
                      <a:pt x="324144" y="1683892"/>
                    </a:cubicBezTo>
                    <a:cubicBezTo>
                      <a:pt x="320240" y="1703723"/>
                      <a:pt x="301095" y="1716658"/>
                      <a:pt x="281282" y="1712791"/>
                    </a:cubicBezTo>
                    <a:cubicBezTo>
                      <a:pt x="280139" y="1712582"/>
                      <a:pt x="278996" y="1712305"/>
                      <a:pt x="277948" y="1711991"/>
                    </a:cubicBezTo>
                    <a:cubicBezTo>
                      <a:pt x="259756" y="1706190"/>
                      <a:pt x="248993" y="1687569"/>
                      <a:pt x="252993" y="16689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7" name="Freeform: Shape 226">
                <a:extLst>
                  <a:ext uri="{FF2B5EF4-FFF2-40B4-BE49-F238E27FC236}">
                    <a16:creationId xmlns:a16="http://schemas.microsoft.com/office/drawing/2014/main" id="{E530E4CE-EC53-414B-9E76-EC7AC98E82EC}"/>
                  </a:ext>
                </a:extLst>
              </p:cNvPr>
              <p:cNvSpPr/>
              <p:nvPr/>
            </p:nvSpPr>
            <p:spPr>
              <a:xfrm>
                <a:off x="8542156" y="1918175"/>
                <a:ext cx="95921" cy="234172"/>
              </a:xfrm>
              <a:custGeom>
                <a:avLst/>
                <a:gdLst>
                  <a:gd name="connsiteX0" fmla="*/ 70966 w 95921"/>
                  <a:gd name="connsiteY0" fmla="*/ 206867 h 234172"/>
                  <a:gd name="connsiteX1" fmla="*/ 83730 w 95921"/>
                  <a:gd name="connsiteY1" fmla="*/ 121809 h 234172"/>
                  <a:gd name="connsiteX2" fmla="*/ 89730 w 95921"/>
                  <a:gd name="connsiteY2" fmla="*/ 79232 h 234172"/>
                  <a:gd name="connsiteX3" fmla="*/ 94779 w 95921"/>
                  <a:gd name="connsiteY3" fmla="*/ 36465 h 234172"/>
                  <a:gd name="connsiteX4" fmla="*/ 63441 w 95921"/>
                  <a:gd name="connsiteY4" fmla="*/ 80 h 234172"/>
                  <a:gd name="connsiteX5" fmla="*/ 61155 w 95921"/>
                  <a:gd name="connsiteY5" fmla="*/ 80 h 234172"/>
                  <a:gd name="connsiteX6" fmla="*/ 22484 w 95921"/>
                  <a:gd name="connsiteY6" fmla="*/ 28178 h 234172"/>
                  <a:gd name="connsiteX7" fmla="*/ 17531 w 95921"/>
                  <a:gd name="connsiteY7" fmla="*/ 70184 h 234172"/>
                  <a:gd name="connsiteX8" fmla="*/ 11721 w 95921"/>
                  <a:gd name="connsiteY8" fmla="*/ 111998 h 234172"/>
                  <a:gd name="connsiteX9" fmla="*/ -852 w 95921"/>
                  <a:gd name="connsiteY9" fmla="*/ 195533 h 234172"/>
                  <a:gd name="connsiteX10" fmla="*/ 28675 w 95921"/>
                  <a:gd name="connsiteY10" fmla="*/ 233156 h 234172"/>
                  <a:gd name="connsiteX11" fmla="*/ 30865 w 95921"/>
                  <a:gd name="connsiteY11" fmla="*/ 233156 h 234172"/>
                  <a:gd name="connsiteX12" fmla="*/ 70966 w 95921"/>
                  <a:gd name="connsiteY12" fmla="*/ 206867 h 234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921" h="234172">
                    <a:moveTo>
                      <a:pt x="70966" y="206867"/>
                    </a:moveTo>
                    <a:cubicBezTo>
                      <a:pt x="76015" y="178292"/>
                      <a:pt x="79824" y="150289"/>
                      <a:pt x="83730" y="121809"/>
                    </a:cubicBezTo>
                    <a:lnTo>
                      <a:pt x="89730" y="79232"/>
                    </a:lnTo>
                    <a:cubicBezTo>
                      <a:pt x="91635" y="65040"/>
                      <a:pt x="93064" y="50657"/>
                      <a:pt x="94779" y="36465"/>
                    </a:cubicBezTo>
                    <a:cubicBezTo>
                      <a:pt x="96113" y="17777"/>
                      <a:pt x="82110" y="1499"/>
                      <a:pt x="63441" y="80"/>
                    </a:cubicBezTo>
                    <a:lnTo>
                      <a:pt x="61155" y="80"/>
                    </a:lnTo>
                    <a:cubicBezTo>
                      <a:pt x="42772" y="-2673"/>
                      <a:pt x="25532" y="9833"/>
                      <a:pt x="22484" y="28178"/>
                    </a:cubicBezTo>
                    <a:cubicBezTo>
                      <a:pt x="20769" y="42180"/>
                      <a:pt x="19436" y="56182"/>
                      <a:pt x="17531" y="70184"/>
                    </a:cubicBezTo>
                    <a:lnTo>
                      <a:pt x="11721" y="111998"/>
                    </a:lnTo>
                    <a:cubicBezTo>
                      <a:pt x="7816" y="139907"/>
                      <a:pt x="4101" y="167815"/>
                      <a:pt x="-852" y="195533"/>
                    </a:cubicBezTo>
                    <a:cubicBezTo>
                      <a:pt x="-2852" y="214021"/>
                      <a:pt x="10197" y="230728"/>
                      <a:pt x="28675" y="233156"/>
                    </a:cubicBezTo>
                    <a:lnTo>
                      <a:pt x="30865" y="233156"/>
                    </a:lnTo>
                    <a:cubicBezTo>
                      <a:pt x="49154" y="236966"/>
                      <a:pt x="67156" y="225203"/>
                      <a:pt x="70966" y="20686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8" name="Freeform: Shape 227">
                <a:extLst>
                  <a:ext uri="{FF2B5EF4-FFF2-40B4-BE49-F238E27FC236}">
                    <a16:creationId xmlns:a16="http://schemas.microsoft.com/office/drawing/2014/main" id="{9D643BA5-1259-4E89-A005-4D718F755B76}"/>
                  </a:ext>
                </a:extLst>
              </p:cNvPr>
              <p:cNvSpPr/>
              <p:nvPr/>
            </p:nvSpPr>
            <p:spPr>
              <a:xfrm>
                <a:off x="7192936" y="4364063"/>
                <a:ext cx="196588" cy="182705"/>
              </a:xfrm>
              <a:custGeom>
                <a:avLst/>
                <a:gdLst>
                  <a:gd name="connsiteX0" fmla="*/ 56968 w 196588"/>
                  <a:gd name="connsiteY0" fmla="*/ 175091 h 182705"/>
                  <a:gd name="connsiteX1" fmla="*/ 89734 w 196588"/>
                  <a:gd name="connsiteY1" fmla="*/ 147182 h 182705"/>
                  <a:gd name="connsiteX2" fmla="*/ 121928 w 196588"/>
                  <a:gd name="connsiteY2" fmla="*/ 118607 h 182705"/>
                  <a:gd name="connsiteX3" fmla="*/ 154123 w 196588"/>
                  <a:gd name="connsiteY3" fmla="*/ 90032 h 182705"/>
                  <a:gd name="connsiteX4" fmla="*/ 185747 w 196588"/>
                  <a:gd name="connsiteY4" fmla="*/ 60695 h 182705"/>
                  <a:gd name="connsiteX5" fmla="*/ 185747 w 196588"/>
                  <a:gd name="connsiteY5" fmla="*/ 13070 h 182705"/>
                  <a:gd name="connsiteX6" fmla="*/ 184127 w 196588"/>
                  <a:gd name="connsiteY6" fmla="*/ 11451 h 182705"/>
                  <a:gd name="connsiteX7" fmla="*/ 136502 w 196588"/>
                  <a:gd name="connsiteY7" fmla="*/ 7641 h 182705"/>
                  <a:gd name="connsiteX8" fmla="*/ 105450 w 196588"/>
                  <a:gd name="connsiteY8" fmla="*/ 36216 h 182705"/>
                  <a:gd name="connsiteX9" fmla="*/ 73351 w 196588"/>
                  <a:gd name="connsiteY9" fmla="*/ 64505 h 182705"/>
                  <a:gd name="connsiteX10" fmla="*/ 41729 w 196588"/>
                  <a:gd name="connsiteY10" fmla="*/ 92604 h 182705"/>
                  <a:gd name="connsiteX11" fmla="*/ 9534 w 196588"/>
                  <a:gd name="connsiteY11" fmla="*/ 119941 h 182705"/>
                  <a:gd name="connsiteX12" fmla="*/ 7628 w 196588"/>
                  <a:gd name="connsiteY12" fmla="*/ 167566 h 182705"/>
                  <a:gd name="connsiteX13" fmla="*/ 9057 w 196588"/>
                  <a:gd name="connsiteY13" fmla="*/ 169280 h 182705"/>
                  <a:gd name="connsiteX14" fmla="*/ 56778 w 196588"/>
                  <a:gd name="connsiteY14" fmla="*/ 175243 h 182705"/>
                  <a:gd name="connsiteX15" fmla="*/ 56968 w 196588"/>
                  <a:gd name="connsiteY15" fmla="*/ 175091 h 18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96588" h="182705">
                    <a:moveTo>
                      <a:pt x="56968" y="175091"/>
                    </a:moveTo>
                    <a:cubicBezTo>
                      <a:pt x="67922" y="165566"/>
                      <a:pt x="78971" y="156707"/>
                      <a:pt x="89734" y="147182"/>
                    </a:cubicBezTo>
                    <a:lnTo>
                      <a:pt x="121928" y="118607"/>
                    </a:lnTo>
                    <a:lnTo>
                      <a:pt x="154123" y="90032"/>
                    </a:lnTo>
                    <a:lnTo>
                      <a:pt x="185747" y="60695"/>
                    </a:lnTo>
                    <a:cubicBezTo>
                      <a:pt x="198796" y="47494"/>
                      <a:pt x="198796" y="26272"/>
                      <a:pt x="185747" y="13070"/>
                    </a:cubicBezTo>
                    <a:lnTo>
                      <a:pt x="184127" y="11451"/>
                    </a:lnTo>
                    <a:cubicBezTo>
                      <a:pt x="171935" y="-2589"/>
                      <a:pt x="150790" y="-4284"/>
                      <a:pt x="136502" y="7641"/>
                    </a:cubicBezTo>
                    <a:lnTo>
                      <a:pt x="105450" y="36216"/>
                    </a:lnTo>
                    <a:lnTo>
                      <a:pt x="73351" y="64505"/>
                    </a:lnTo>
                    <a:lnTo>
                      <a:pt x="41729" y="92604"/>
                    </a:lnTo>
                    <a:cubicBezTo>
                      <a:pt x="31155" y="102129"/>
                      <a:pt x="20297" y="110797"/>
                      <a:pt x="9534" y="119941"/>
                    </a:cubicBezTo>
                    <a:cubicBezTo>
                      <a:pt x="-3801" y="132704"/>
                      <a:pt x="-4658" y="153774"/>
                      <a:pt x="7628" y="167566"/>
                    </a:cubicBezTo>
                    <a:lnTo>
                      <a:pt x="9057" y="169280"/>
                    </a:lnTo>
                    <a:cubicBezTo>
                      <a:pt x="20582" y="184102"/>
                      <a:pt x="41918" y="186768"/>
                      <a:pt x="56778" y="175243"/>
                    </a:cubicBezTo>
                    <a:cubicBezTo>
                      <a:pt x="56873" y="175195"/>
                      <a:pt x="56873" y="175138"/>
                      <a:pt x="56968" y="1750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9" name="Freeform: Shape 228">
                <a:extLst>
                  <a:ext uri="{FF2B5EF4-FFF2-40B4-BE49-F238E27FC236}">
                    <a16:creationId xmlns:a16="http://schemas.microsoft.com/office/drawing/2014/main" id="{41D553DB-82EC-4438-A4A2-FB7E892E98FC}"/>
                  </a:ext>
                </a:extLst>
              </p:cNvPr>
              <p:cNvSpPr/>
              <p:nvPr/>
            </p:nvSpPr>
            <p:spPr>
              <a:xfrm>
                <a:off x="6066231" y="5084827"/>
                <a:ext cx="224399" cy="136406"/>
              </a:xfrm>
              <a:custGeom>
                <a:avLst/>
                <a:gdLst>
                  <a:gd name="connsiteX0" fmla="*/ 45626 w 224399"/>
                  <a:gd name="connsiteY0" fmla="*/ 134316 h 136406"/>
                  <a:gd name="connsiteX1" fmla="*/ 204311 w 224399"/>
                  <a:gd name="connsiteY1" fmla="*/ 68213 h 136406"/>
                  <a:gd name="connsiteX2" fmla="*/ 220028 w 224399"/>
                  <a:gd name="connsiteY2" fmla="*/ 23331 h 136406"/>
                  <a:gd name="connsiteX3" fmla="*/ 219837 w 224399"/>
                  <a:gd name="connsiteY3" fmla="*/ 22969 h 136406"/>
                  <a:gd name="connsiteX4" fmla="*/ 218885 w 224399"/>
                  <a:gd name="connsiteY4" fmla="*/ 20969 h 136406"/>
                  <a:gd name="connsiteX5" fmla="*/ 174975 w 224399"/>
                  <a:gd name="connsiteY5" fmla="*/ 1919 h 136406"/>
                  <a:gd name="connsiteX6" fmla="*/ 19146 w 224399"/>
                  <a:gd name="connsiteY6" fmla="*/ 66879 h 136406"/>
                  <a:gd name="connsiteX7" fmla="*/ 1715 w 224399"/>
                  <a:gd name="connsiteY7" fmla="*/ 111171 h 136406"/>
                  <a:gd name="connsiteX8" fmla="*/ 2477 w 224399"/>
                  <a:gd name="connsiteY8" fmla="*/ 113266 h 136406"/>
                  <a:gd name="connsiteX9" fmla="*/ 45626 w 224399"/>
                  <a:gd name="connsiteY9" fmla="*/ 134316 h 136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4399" h="136406">
                    <a:moveTo>
                      <a:pt x="45626" y="134316"/>
                    </a:moveTo>
                    <a:cubicBezTo>
                      <a:pt x="98870" y="113171"/>
                      <a:pt x="152019" y="91645"/>
                      <a:pt x="204311" y="68213"/>
                    </a:cubicBezTo>
                    <a:cubicBezTo>
                      <a:pt x="221076" y="60155"/>
                      <a:pt x="228029" y="40057"/>
                      <a:pt x="220028" y="23331"/>
                    </a:cubicBezTo>
                    <a:cubicBezTo>
                      <a:pt x="219933" y="23208"/>
                      <a:pt x="219933" y="23093"/>
                      <a:pt x="219837" y="22969"/>
                    </a:cubicBezTo>
                    <a:lnTo>
                      <a:pt x="218885" y="20969"/>
                    </a:lnTo>
                    <a:cubicBezTo>
                      <a:pt x="211837" y="3805"/>
                      <a:pt x="192310" y="-4634"/>
                      <a:pt x="174975" y="1919"/>
                    </a:cubicBezTo>
                    <a:cubicBezTo>
                      <a:pt x="123635" y="24874"/>
                      <a:pt x="71438" y="46020"/>
                      <a:pt x="19146" y="66879"/>
                    </a:cubicBezTo>
                    <a:cubicBezTo>
                      <a:pt x="2096" y="74318"/>
                      <a:pt x="-5619" y="94131"/>
                      <a:pt x="1715" y="111171"/>
                    </a:cubicBezTo>
                    <a:lnTo>
                      <a:pt x="2477" y="113266"/>
                    </a:lnTo>
                    <a:cubicBezTo>
                      <a:pt x="8669" y="130897"/>
                      <a:pt x="27908" y="140270"/>
                      <a:pt x="45626" y="13431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0" name="Freeform: Shape 229">
                <a:extLst>
                  <a:ext uri="{FF2B5EF4-FFF2-40B4-BE49-F238E27FC236}">
                    <a16:creationId xmlns:a16="http://schemas.microsoft.com/office/drawing/2014/main" id="{7574EE5C-41EB-4EE5-B6C5-4B2AFA44B395}"/>
                  </a:ext>
                </a:extLst>
              </p:cNvPr>
              <p:cNvSpPr/>
              <p:nvPr/>
            </p:nvSpPr>
            <p:spPr>
              <a:xfrm>
                <a:off x="8249608" y="2233257"/>
                <a:ext cx="338083" cy="903281"/>
              </a:xfrm>
              <a:custGeom>
                <a:avLst/>
                <a:gdLst>
                  <a:gd name="connsiteX0" fmla="*/ 67763 w 338083"/>
                  <a:gd name="connsiteY0" fmla="*/ 883337 h 903281"/>
                  <a:gd name="connsiteX1" fmla="*/ 336749 w 338083"/>
                  <a:gd name="connsiteY1" fmla="*/ 40660 h 903281"/>
                  <a:gd name="connsiteX2" fmla="*/ 305031 w 338083"/>
                  <a:gd name="connsiteY2" fmla="*/ -21 h 903281"/>
                  <a:gd name="connsiteX3" fmla="*/ 265406 w 338083"/>
                  <a:gd name="connsiteY3" fmla="*/ 26373 h 903281"/>
                  <a:gd name="connsiteX4" fmla="*/ 1374 w 338083"/>
                  <a:gd name="connsiteY4" fmla="*/ 853715 h 903281"/>
                  <a:gd name="connsiteX5" fmla="*/ 20424 w 338083"/>
                  <a:gd name="connsiteY5" fmla="*/ 899053 h 903281"/>
                  <a:gd name="connsiteX6" fmla="*/ 67287 w 338083"/>
                  <a:gd name="connsiteY6" fmla="*/ 884242 h 903281"/>
                  <a:gd name="connsiteX7" fmla="*/ 67763 w 338083"/>
                  <a:gd name="connsiteY7" fmla="*/ 883337 h 903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083" h="903281">
                    <a:moveTo>
                      <a:pt x="67763" y="883337"/>
                    </a:moveTo>
                    <a:cubicBezTo>
                      <a:pt x="188350" y="613275"/>
                      <a:pt x="278551" y="330649"/>
                      <a:pt x="336749" y="40660"/>
                    </a:cubicBezTo>
                    <a:cubicBezTo>
                      <a:pt x="339225" y="20667"/>
                      <a:pt x="325033" y="2446"/>
                      <a:pt x="305031" y="-21"/>
                    </a:cubicBezTo>
                    <a:cubicBezTo>
                      <a:pt x="287124" y="-2240"/>
                      <a:pt x="270264" y="8980"/>
                      <a:pt x="265406" y="26373"/>
                    </a:cubicBezTo>
                    <a:cubicBezTo>
                      <a:pt x="208256" y="311065"/>
                      <a:pt x="119675" y="588538"/>
                      <a:pt x="1374" y="853715"/>
                    </a:cubicBezTo>
                    <a:cubicBezTo>
                      <a:pt x="-5579" y="871488"/>
                      <a:pt x="2898" y="891567"/>
                      <a:pt x="20424" y="899053"/>
                    </a:cubicBezTo>
                    <a:cubicBezTo>
                      <a:pt x="37474" y="907912"/>
                      <a:pt x="58428" y="901282"/>
                      <a:pt x="67287" y="884242"/>
                    </a:cubicBezTo>
                    <a:cubicBezTo>
                      <a:pt x="67477" y="883946"/>
                      <a:pt x="67572" y="883642"/>
                      <a:pt x="67763" y="88333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1" name="Freeform: Shape 230">
                <a:extLst>
                  <a:ext uri="{FF2B5EF4-FFF2-40B4-BE49-F238E27FC236}">
                    <a16:creationId xmlns:a16="http://schemas.microsoft.com/office/drawing/2014/main" id="{0D2AF9C1-3339-41ED-A1F4-8EF76D1307F5}"/>
                  </a:ext>
                </a:extLst>
              </p:cNvPr>
              <p:cNvSpPr/>
              <p:nvPr/>
            </p:nvSpPr>
            <p:spPr>
              <a:xfrm>
                <a:off x="8566069" y="2207611"/>
                <a:ext cx="182340" cy="519688"/>
              </a:xfrm>
              <a:custGeom>
                <a:avLst/>
                <a:gdLst>
                  <a:gd name="connsiteX0" fmla="*/ 69246 w 182340"/>
                  <a:gd name="connsiteY0" fmla="*/ 495409 h 519688"/>
                  <a:gd name="connsiteX1" fmla="*/ 180783 w 182340"/>
                  <a:gd name="connsiteY1" fmla="*/ 40780 h 519688"/>
                  <a:gd name="connsiteX2" fmla="*/ 152303 w 182340"/>
                  <a:gd name="connsiteY2" fmla="*/ 404 h 519688"/>
                  <a:gd name="connsiteX3" fmla="*/ 152208 w 182340"/>
                  <a:gd name="connsiteY3" fmla="*/ 394 h 519688"/>
                  <a:gd name="connsiteX4" fmla="*/ 151542 w 182340"/>
                  <a:gd name="connsiteY4" fmla="*/ 394 h 519688"/>
                  <a:gd name="connsiteX5" fmla="*/ 109727 w 182340"/>
                  <a:gd name="connsiteY5" fmla="*/ 27540 h 519688"/>
                  <a:gd name="connsiteX6" fmla="*/ 189 w 182340"/>
                  <a:gd name="connsiteY6" fmla="*/ 474167 h 519688"/>
                  <a:gd name="connsiteX7" fmla="*/ 24383 w 182340"/>
                  <a:gd name="connsiteY7" fmla="*/ 517601 h 519688"/>
                  <a:gd name="connsiteX8" fmla="*/ 25049 w 182340"/>
                  <a:gd name="connsiteY8" fmla="*/ 517601 h 519688"/>
                  <a:gd name="connsiteX9" fmla="*/ 69246 w 182340"/>
                  <a:gd name="connsiteY9" fmla="*/ 495437 h 519688"/>
                  <a:gd name="connsiteX10" fmla="*/ 69246 w 182340"/>
                  <a:gd name="connsiteY10" fmla="*/ 495409 h 519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2340" h="519688">
                    <a:moveTo>
                      <a:pt x="69246" y="495409"/>
                    </a:moveTo>
                    <a:cubicBezTo>
                      <a:pt x="114871" y="346056"/>
                      <a:pt x="152114" y="194276"/>
                      <a:pt x="180783" y="40780"/>
                    </a:cubicBezTo>
                    <a:cubicBezTo>
                      <a:pt x="184022" y="21749"/>
                      <a:pt x="171258" y="3680"/>
                      <a:pt x="152303" y="404"/>
                    </a:cubicBezTo>
                    <a:cubicBezTo>
                      <a:pt x="152208" y="404"/>
                      <a:pt x="152208" y="394"/>
                      <a:pt x="152208" y="394"/>
                    </a:cubicBezTo>
                    <a:lnTo>
                      <a:pt x="151542" y="394"/>
                    </a:lnTo>
                    <a:cubicBezTo>
                      <a:pt x="132587" y="-3387"/>
                      <a:pt x="114014" y="8652"/>
                      <a:pt x="109727" y="27540"/>
                    </a:cubicBezTo>
                    <a:cubicBezTo>
                      <a:pt x="81533" y="178340"/>
                      <a:pt x="44958" y="327444"/>
                      <a:pt x="189" y="474167"/>
                    </a:cubicBezTo>
                    <a:cubicBezTo>
                      <a:pt x="-4859" y="492808"/>
                      <a:pt x="5904" y="512077"/>
                      <a:pt x="24383" y="517601"/>
                    </a:cubicBezTo>
                    <a:lnTo>
                      <a:pt x="25049" y="517601"/>
                    </a:lnTo>
                    <a:cubicBezTo>
                      <a:pt x="43338" y="523678"/>
                      <a:pt x="63149" y="513753"/>
                      <a:pt x="69246" y="495437"/>
                    </a:cubicBezTo>
                    <a:cubicBezTo>
                      <a:pt x="69246" y="495427"/>
                      <a:pt x="69246" y="495418"/>
                      <a:pt x="69246" y="49540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2" name="Freeform: Shape 231">
                <a:extLst>
                  <a:ext uri="{FF2B5EF4-FFF2-40B4-BE49-F238E27FC236}">
                    <a16:creationId xmlns:a16="http://schemas.microsoft.com/office/drawing/2014/main" id="{7D189CA0-CD46-481D-A8CA-F5977F7E488F}"/>
                  </a:ext>
                </a:extLst>
              </p:cNvPr>
              <p:cNvSpPr/>
              <p:nvPr/>
            </p:nvSpPr>
            <p:spPr>
              <a:xfrm>
                <a:off x="8284367" y="2800939"/>
                <a:ext cx="306545" cy="615380"/>
              </a:xfrm>
              <a:custGeom>
                <a:avLst/>
                <a:gdLst>
                  <a:gd name="connsiteX0" fmla="*/ 66626 w 306545"/>
                  <a:gd name="connsiteY0" fmla="*/ 597500 h 615380"/>
                  <a:gd name="connsiteX1" fmla="*/ 303704 w 306545"/>
                  <a:gd name="connsiteY1" fmla="*/ 46479 h 615380"/>
                  <a:gd name="connsiteX2" fmla="*/ 281320 w 306545"/>
                  <a:gd name="connsiteY2" fmla="*/ 1959 h 615380"/>
                  <a:gd name="connsiteX3" fmla="*/ 280844 w 306545"/>
                  <a:gd name="connsiteY3" fmla="*/ 1806 h 615380"/>
                  <a:gd name="connsiteX4" fmla="*/ 234934 w 306545"/>
                  <a:gd name="connsiteY4" fmla="*/ 22666 h 615380"/>
                  <a:gd name="connsiteX5" fmla="*/ 2047 w 306545"/>
                  <a:gd name="connsiteY5" fmla="*/ 563877 h 615380"/>
                  <a:gd name="connsiteX6" fmla="*/ 20716 w 306545"/>
                  <a:gd name="connsiteY6" fmla="*/ 611978 h 615380"/>
                  <a:gd name="connsiteX7" fmla="*/ 66626 w 306545"/>
                  <a:gd name="connsiteY7" fmla="*/ 597500 h 615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6545" h="615380">
                    <a:moveTo>
                      <a:pt x="66626" y="597500"/>
                    </a:moveTo>
                    <a:cubicBezTo>
                      <a:pt x="158923" y="419811"/>
                      <a:pt x="238172" y="235655"/>
                      <a:pt x="303704" y="46479"/>
                    </a:cubicBezTo>
                    <a:cubicBezTo>
                      <a:pt x="309800" y="28000"/>
                      <a:pt x="299798" y="8064"/>
                      <a:pt x="281320" y="1959"/>
                    </a:cubicBezTo>
                    <a:cubicBezTo>
                      <a:pt x="281130" y="1902"/>
                      <a:pt x="281034" y="1854"/>
                      <a:pt x="280844" y="1806"/>
                    </a:cubicBezTo>
                    <a:cubicBezTo>
                      <a:pt x="262460" y="-4747"/>
                      <a:pt x="242077" y="4483"/>
                      <a:pt x="234934" y="22666"/>
                    </a:cubicBezTo>
                    <a:cubicBezTo>
                      <a:pt x="170544" y="208461"/>
                      <a:pt x="92629" y="389340"/>
                      <a:pt x="2047" y="563877"/>
                    </a:cubicBezTo>
                    <a:cubicBezTo>
                      <a:pt x="-6049" y="582317"/>
                      <a:pt x="2237" y="603843"/>
                      <a:pt x="20716" y="611978"/>
                    </a:cubicBezTo>
                    <a:cubicBezTo>
                      <a:pt x="37479" y="619369"/>
                      <a:pt x="57101" y="613168"/>
                      <a:pt x="66626" y="5975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3" name="Freeform: Shape 232">
                <a:extLst>
                  <a:ext uri="{FF2B5EF4-FFF2-40B4-BE49-F238E27FC236}">
                    <a16:creationId xmlns:a16="http://schemas.microsoft.com/office/drawing/2014/main" id="{A2920E8B-9E95-4B3E-B3EF-F8F17C7B00CE}"/>
                  </a:ext>
                </a:extLst>
              </p:cNvPr>
              <p:cNvSpPr/>
              <p:nvPr/>
            </p:nvSpPr>
            <p:spPr>
              <a:xfrm>
                <a:off x="8783006" y="2344791"/>
                <a:ext cx="93579" cy="164683"/>
              </a:xfrm>
              <a:custGeom>
                <a:avLst/>
                <a:gdLst>
                  <a:gd name="connsiteX0" fmla="*/ 70526 w 93579"/>
                  <a:gd name="connsiteY0" fmla="*/ 137248 h 164683"/>
                  <a:gd name="connsiteX1" fmla="*/ 91672 w 93579"/>
                  <a:gd name="connsiteY1" fmla="*/ 43332 h 164683"/>
                  <a:gd name="connsiteX2" fmla="*/ 64240 w 93579"/>
                  <a:gd name="connsiteY2" fmla="*/ 574 h 164683"/>
                  <a:gd name="connsiteX3" fmla="*/ 63764 w 93579"/>
                  <a:gd name="connsiteY3" fmla="*/ 469 h 164683"/>
                  <a:gd name="connsiteX4" fmla="*/ 20520 w 93579"/>
                  <a:gd name="connsiteY4" fmla="*/ 28092 h 164683"/>
                  <a:gd name="connsiteX5" fmla="*/ -245 w 93579"/>
                  <a:gd name="connsiteY5" fmla="*/ 120389 h 164683"/>
                  <a:gd name="connsiteX6" fmla="*/ 27759 w 93579"/>
                  <a:gd name="connsiteY6" fmla="*/ 163575 h 164683"/>
                  <a:gd name="connsiteX7" fmla="*/ 70526 w 93579"/>
                  <a:gd name="connsiteY7" fmla="*/ 137248 h 164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3579" h="164683">
                    <a:moveTo>
                      <a:pt x="70526" y="137248"/>
                    </a:moveTo>
                    <a:cubicBezTo>
                      <a:pt x="78527" y="106101"/>
                      <a:pt x="84623" y="74574"/>
                      <a:pt x="91672" y="43332"/>
                    </a:cubicBezTo>
                    <a:cubicBezTo>
                      <a:pt x="95959" y="23958"/>
                      <a:pt x="83671" y="4812"/>
                      <a:pt x="64240" y="574"/>
                    </a:cubicBezTo>
                    <a:cubicBezTo>
                      <a:pt x="64144" y="536"/>
                      <a:pt x="63954" y="507"/>
                      <a:pt x="63764" y="469"/>
                    </a:cubicBezTo>
                    <a:cubicBezTo>
                      <a:pt x="44237" y="-3570"/>
                      <a:pt x="25092" y="8689"/>
                      <a:pt x="20520" y="28092"/>
                    </a:cubicBezTo>
                    <a:cubicBezTo>
                      <a:pt x="13663" y="58857"/>
                      <a:pt x="7566" y="89814"/>
                      <a:pt x="-245" y="120389"/>
                    </a:cubicBezTo>
                    <a:cubicBezTo>
                      <a:pt x="-4435" y="140039"/>
                      <a:pt x="8042" y="159375"/>
                      <a:pt x="27759" y="163575"/>
                    </a:cubicBezTo>
                    <a:cubicBezTo>
                      <a:pt x="46714" y="167633"/>
                      <a:pt x="65573" y="156041"/>
                      <a:pt x="70526" y="13724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4" name="Freeform: Shape 233">
                <a:extLst>
                  <a:ext uri="{FF2B5EF4-FFF2-40B4-BE49-F238E27FC236}">
                    <a16:creationId xmlns:a16="http://schemas.microsoft.com/office/drawing/2014/main" id="{97C18DCC-59F8-462A-8FC4-1A8F60573D5A}"/>
                  </a:ext>
                </a:extLst>
              </p:cNvPr>
              <p:cNvSpPr/>
              <p:nvPr/>
            </p:nvSpPr>
            <p:spPr>
              <a:xfrm>
                <a:off x="7325316" y="3996826"/>
                <a:ext cx="802986" cy="837651"/>
              </a:xfrm>
              <a:custGeom>
                <a:avLst/>
                <a:gdLst>
                  <a:gd name="connsiteX0" fmla="*/ 58033 w 802986"/>
                  <a:gd name="connsiteY0" fmla="*/ 829124 h 837651"/>
                  <a:gd name="connsiteX1" fmla="*/ 794982 w 802986"/>
                  <a:gd name="connsiteY1" fmla="*/ 57599 h 837651"/>
                  <a:gd name="connsiteX2" fmla="*/ 786981 w 802986"/>
                  <a:gd name="connsiteY2" fmla="*/ 6736 h 837651"/>
                  <a:gd name="connsiteX3" fmla="*/ 786981 w 802986"/>
                  <a:gd name="connsiteY3" fmla="*/ 6736 h 837651"/>
                  <a:gd name="connsiteX4" fmla="*/ 736594 w 802986"/>
                  <a:gd name="connsiteY4" fmla="*/ 14165 h 837651"/>
                  <a:gd name="connsiteX5" fmla="*/ 398171 w 802986"/>
                  <a:gd name="connsiteY5" fmla="*/ 415930 h 837651"/>
                  <a:gd name="connsiteX6" fmla="*/ 12313 w 802986"/>
                  <a:gd name="connsiteY6" fmla="*/ 772737 h 837651"/>
                  <a:gd name="connsiteX7" fmla="*/ 7169 w 802986"/>
                  <a:gd name="connsiteY7" fmla="*/ 823981 h 837651"/>
                  <a:gd name="connsiteX8" fmla="*/ 58413 w 802986"/>
                  <a:gd name="connsiteY8" fmla="*/ 829124 h 837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02986" h="837651">
                    <a:moveTo>
                      <a:pt x="58033" y="829124"/>
                    </a:moveTo>
                    <a:cubicBezTo>
                      <a:pt x="334543" y="603306"/>
                      <a:pt x="582099" y="344159"/>
                      <a:pt x="794982" y="57599"/>
                    </a:cubicBezTo>
                    <a:cubicBezTo>
                      <a:pt x="806793" y="41331"/>
                      <a:pt x="803174" y="18595"/>
                      <a:pt x="786981" y="6736"/>
                    </a:cubicBezTo>
                    <a:lnTo>
                      <a:pt x="786981" y="6736"/>
                    </a:lnTo>
                    <a:cubicBezTo>
                      <a:pt x="770979" y="-5018"/>
                      <a:pt x="748500" y="-1713"/>
                      <a:pt x="736594" y="14165"/>
                    </a:cubicBezTo>
                    <a:cubicBezTo>
                      <a:pt x="631914" y="154754"/>
                      <a:pt x="518948" y="288914"/>
                      <a:pt x="398171" y="415930"/>
                    </a:cubicBezTo>
                    <a:cubicBezTo>
                      <a:pt x="276917" y="542574"/>
                      <a:pt x="148044" y="661732"/>
                      <a:pt x="12313" y="772737"/>
                    </a:cubicBezTo>
                    <a:cubicBezTo>
                      <a:pt x="-3213" y="785472"/>
                      <a:pt x="-5594" y="808408"/>
                      <a:pt x="7169" y="823981"/>
                    </a:cubicBezTo>
                    <a:cubicBezTo>
                      <a:pt x="19933" y="839555"/>
                      <a:pt x="42888" y="841860"/>
                      <a:pt x="58413" y="82912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5" name="Freeform: Shape 234">
                <a:extLst>
                  <a:ext uri="{FF2B5EF4-FFF2-40B4-BE49-F238E27FC236}">
                    <a16:creationId xmlns:a16="http://schemas.microsoft.com/office/drawing/2014/main" id="{FB6F10BA-DF12-4002-9CF5-12736192AE4D}"/>
                  </a:ext>
                </a:extLst>
              </p:cNvPr>
              <p:cNvSpPr/>
              <p:nvPr/>
            </p:nvSpPr>
            <p:spPr>
              <a:xfrm>
                <a:off x="8325903" y="2611678"/>
                <a:ext cx="484616" cy="1046901"/>
              </a:xfrm>
              <a:custGeom>
                <a:avLst/>
                <a:gdLst>
                  <a:gd name="connsiteX0" fmla="*/ 66905 w 484616"/>
                  <a:gd name="connsiteY0" fmla="*/ 1028410 h 1046901"/>
                  <a:gd name="connsiteX1" fmla="*/ 482291 w 484616"/>
                  <a:gd name="connsiteY1" fmla="*/ 45716 h 1046901"/>
                  <a:gd name="connsiteX2" fmla="*/ 456668 w 484616"/>
                  <a:gd name="connsiteY2" fmla="*/ 1044 h 1046901"/>
                  <a:gd name="connsiteX3" fmla="*/ 412282 w 484616"/>
                  <a:gd name="connsiteY3" fmla="*/ 26000 h 1046901"/>
                  <a:gd name="connsiteX4" fmla="*/ 412282 w 484616"/>
                  <a:gd name="connsiteY4" fmla="*/ 26000 h 1046901"/>
                  <a:gd name="connsiteX5" fmla="*/ 3850 w 484616"/>
                  <a:gd name="connsiteY5" fmla="*/ 991930 h 1046901"/>
                  <a:gd name="connsiteX6" fmla="*/ 17185 w 484616"/>
                  <a:gd name="connsiteY6" fmla="*/ 1041698 h 1046901"/>
                  <a:gd name="connsiteX7" fmla="*/ 66905 w 484616"/>
                  <a:gd name="connsiteY7" fmla="*/ 1028410 h 1046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4616" h="1046901">
                    <a:moveTo>
                      <a:pt x="66905" y="1028410"/>
                    </a:moveTo>
                    <a:cubicBezTo>
                      <a:pt x="245785" y="719439"/>
                      <a:pt x="385326" y="389312"/>
                      <a:pt x="482291" y="45716"/>
                    </a:cubicBezTo>
                    <a:cubicBezTo>
                      <a:pt x="487530" y="26314"/>
                      <a:pt x="476099" y="6340"/>
                      <a:pt x="456668" y="1044"/>
                    </a:cubicBezTo>
                    <a:cubicBezTo>
                      <a:pt x="437523" y="-4318"/>
                      <a:pt x="417615" y="6845"/>
                      <a:pt x="412282" y="26000"/>
                    </a:cubicBezTo>
                    <a:cubicBezTo>
                      <a:pt x="412282" y="26000"/>
                      <a:pt x="412282" y="26000"/>
                      <a:pt x="412282" y="26000"/>
                    </a:cubicBezTo>
                    <a:cubicBezTo>
                      <a:pt x="316937" y="363728"/>
                      <a:pt x="179681" y="688225"/>
                      <a:pt x="3850" y="991930"/>
                    </a:cubicBezTo>
                    <a:cubicBezTo>
                      <a:pt x="-6247" y="1009342"/>
                      <a:pt x="-246" y="1031621"/>
                      <a:pt x="17185" y="1041698"/>
                    </a:cubicBezTo>
                    <a:cubicBezTo>
                      <a:pt x="34520" y="1051775"/>
                      <a:pt x="56808" y="1045822"/>
                      <a:pt x="66905" y="10284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6" name="Freeform: Shape 235">
                <a:extLst>
                  <a:ext uri="{FF2B5EF4-FFF2-40B4-BE49-F238E27FC236}">
                    <a16:creationId xmlns:a16="http://schemas.microsoft.com/office/drawing/2014/main" id="{FA0D1AC6-CFB0-4649-9EB4-7BC8D4C7255D}"/>
                  </a:ext>
                </a:extLst>
              </p:cNvPr>
              <p:cNvSpPr/>
              <p:nvPr/>
            </p:nvSpPr>
            <p:spPr>
              <a:xfrm>
                <a:off x="6132602" y="4956726"/>
                <a:ext cx="1007709" cy="566475"/>
              </a:xfrm>
              <a:custGeom>
                <a:avLst/>
                <a:gdLst>
                  <a:gd name="connsiteX0" fmla="*/ 47835 w 1007709"/>
                  <a:gd name="connsiteY0" fmla="*/ 563884 h 566475"/>
                  <a:gd name="connsiteX1" fmla="*/ 294913 w 1007709"/>
                  <a:gd name="connsiteY1" fmla="*/ 461871 h 566475"/>
                  <a:gd name="connsiteX2" fmla="*/ 534944 w 1007709"/>
                  <a:gd name="connsiteY2" fmla="*/ 344142 h 566475"/>
                  <a:gd name="connsiteX3" fmla="*/ 767449 w 1007709"/>
                  <a:gd name="connsiteY3" fmla="*/ 212125 h 566475"/>
                  <a:gd name="connsiteX4" fmla="*/ 880416 w 1007709"/>
                  <a:gd name="connsiteY4" fmla="*/ 140593 h 566475"/>
                  <a:gd name="connsiteX5" fmla="*/ 936232 w 1007709"/>
                  <a:gd name="connsiteY5" fmla="*/ 103826 h 566475"/>
                  <a:gd name="connsiteX6" fmla="*/ 991191 w 1007709"/>
                  <a:gd name="connsiteY6" fmla="*/ 65726 h 566475"/>
                  <a:gd name="connsiteX7" fmla="*/ 1000240 w 1007709"/>
                  <a:gd name="connsiteY7" fmla="*/ 15758 h 566475"/>
                  <a:gd name="connsiteX8" fmla="*/ 999954 w 1007709"/>
                  <a:gd name="connsiteY8" fmla="*/ 15339 h 566475"/>
                  <a:gd name="connsiteX9" fmla="*/ 949567 w 1007709"/>
                  <a:gd name="connsiteY9" fmla="*/ 5814 h 566475"/>
                  <a:gd name="connsiteX10" fmla="*/ 895465 w 1007709"/>
                  <a:gd name="connsiteY10" fmla="*/ 43247 h 566475"/>
                  <a:gd name="connsiteX11" fmla="*/ 840601 w 1007709"/>
                  <a:gd name="connsiteY11" fmla="*/ 79442 h 566475"/>
                  <a:gd name="connsiteX12" fmla="*/ 729634 w 1007709"/>
                  <a:gd name="connsiteY12" fmla="*/ 149736 h 566475"/>
                  <a:gd name="connsiteX13" fmla="*/ 501034 w 1007709"/>
                  <a:gd name="connsiteY13" fmla="*/ 279467 h 566475"/>
                  <a:gd name="connsiteX14" fmla="*/ 265005 w 1007709"/>
                  <a:gd name="connsiteY14" fmla="*/ 395196 h 566475"/>
                  <a:gd name="connsiteX15" fmla="*/ 22118 w 1007709"/>
                  <a:gd name="connsiteY15" fmla="*/ 495494 h 566475"/>
                  <a:gd name="connsiteX16" fmla="*/ 1258 w 1007709"/>
                  <a:gd name="connsiteY16" fmla="*/ 542357 h 566475"/>
                  <a:gd name="connsiteX17" fmla="*/ 47454 w 1007709"/>
                  <a:gd name="connsiteY17" fmla="*/ 564008 h 566475"/>
                  <a:gd name="connsiteX18" fmla="*/ 47835 w 1007709"/>
                  <a:gd name="connsiteY18" fmla="*/ 563884 h 566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07709" h="566475">
                    <a:moveTo>
                      <a:pt x="47835" y="563884"/>
                    </a:moveTo>
                    <a:cubicBezTo>
                      <a:pt x="131465" y="532928"/>
                      <a:pt x="213379" y="497780"/>
                      <a:pt x="294913" y="461871"/>
                    </a:cubicBezTo>
                    <a:cubicBezTo>
                      <a:pt x="375875" y="424533"/>
                      <a:pt x="456838" y="386242"/>
                      <a:pt x="534944" y="344142"/>
                    </a:cubicBezTo>
                    <a:cubicBezTo>
                      <a:pt x="613048" y="302041"/>
                      <a:pt x="691154" y="258417"/>
                      <a:pt x="767449" y="212125"/>
                    </a:cubicBezTo>
                    <a:cubicBezTo>
                      <a:pt x="805549" y="188408"/>
                      <a:pt x="843649" y="165548"/>
                      <a:pt x="880416" y="140593"/>
                    </a:cubicBezTo>
                    <a:lnTo>
                      <a:pt x="936232" y="103826"/>
                    </a:lnTo>
                    <a:lnTo>
                      <a:pt x="991191" y="65726"/>
                    </a:lnTo>
                    <a:cubicBezTo>
                      <a:pt x="1007479" y="54429"/>
                      <a:pt x="1011575" y="32055"/>
                      <a:pt x="1000240" y="15758"/>
                    </a:cubicBezTo>
                    <a:cubicBezTo>
                      <a:pt x="1000144" y="15615"/>
                      <a:pt x="1000049" y="15482"/>
                      <a:pt x="999954" y="15339"/>
                    </a:cubicBezTo>
                    <a:cubicBezTo>
                      <a:pt x="988524" y="-958"/>
                      <a:pt x="966141" y="-5178"/>
                      <a:pt x="949567" y="5814"/>
                    </a:cubicBezTo>
                    <a:lnTo>
                      <a:pt x="895465" y="43247"/>
                    </a:lnTo>
                    <a:lnTo>
                      <a:pt x="840601" y="79442"/>
                    </a:lnTo>
                    <a:cubicBezTo>
                      <a:pt x="804311" y="103921"/>
                      <a:pt x="766591" y="126400"/>
                      <a:pt x="729634" y="149736"/>
                    </a:cubicBezTo>
                    <a:cubicBezTo>
                      <a:pt x="654577" y="194980"/>
                      <a:pt x="578663" y="238986"/>
                      <a:pt x="501034" y="279467"/>
                    </a:cubicBezTo>
                    <a:cubicBezTo>
                      <a:pt x="423406" y="319948"/>
                      <a:pt x="344539" y="358525"/>
                      <a:pt x="265005" y="395196"/>
                    </a:cubicBezTo>
                    <a:cubicBezTo>
                      <a:pt x="185471" y="431867"/>
                      <a:pt x="104319" y="465110"/>
                      <a:pt x="22118" y="495494"/>
                    </a:cubicBezTo>
                    <a:cubicBezTo>
                      <a:pt x="3543" y="502847"/>
                      <a:pt x="-5696" y="523660"/>
                      <a:pt x="1258" y="542357"/>
                    </a:cubicBezTo>
                    <a:cubicBezTo>
                      <a:pt x="8020" y="561102"/>
                      <a:pt x="28785" y="570799"/>
                      <a:pt x="47454" y="564008"/>
                    </a:cubicBezTo>
                    <a:cubicBezTo>
                      <a:pt x="47644" y="563969"/>
                      <a:pt x="47740" y="563922"/>
                      <a:pt x="47835" y="56388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7" name="Freeform: Shape 236">
                <a:extLst>
                  <a:ext uri="{FF2B5EF4-FFF2-40B4-BE49-F238E27FC236}">
                    <a16:creationId xmlns:a16="http://schemas.microsoft.com/office/drawing/2014/main" id="{AD2FA47C-60CF-40B4-8E0C-3743BA418CB3}"/>
                  </a:ext>
                </a:extLst>
              </p:cNvPr>
              <p:cNvSpPr/>
              <p:nvPr/>
            </p:nvSpPr>
            <p:spPr>
              <a:xfrm>
                <a:off x="8645123" y="2155284"/>
                <a:ext cx="422373" cy="1219093"/>
              </a:xfrm>
              <a:custGeom>
                <a:avLst/>
                <a:gdLst>
                  <a:gd name="connsiteX0" fmla="*/ 68298 w 422373"/>
                  <a:gd name="connsiteY0" fmla="*/ 1197626 h 1219093"/>
                  <a:gd name="connsiteX1" fmla="*/ 420723 w 422373"/>
                  <a:gd name="connsiteY1" fmla="*/ 42720 h 1219093"/>
                  <a:gd name="connsiteX2" fmla="*/ 391194 w 422373"/>
                  <a:gd name="connsiteY2" fmla="*/ 96 h 1219093"/>
                  <a:gd name="connsiteX3" fmla="*/ 390909 w 422373"/>
                  <a:gd name="connsiteY3" fmla="*/ 48 h 1219093"/>
                  <a:gd name="connsiteX4" fmla="*/ 348904 w 422373"/>
                  <a:gd name="connsiteY4" fmla="*/ 31099 h 1219093"/>
                  <a:gd name="connsiteX5" fmla="*/ 2289 w 422373"/>
                  <a:gd name="connsiteY5" fmla="*/ 1167146 h 1219093"/>
                  <a:gd name="connsiteX6" fmla="*/ 20101 w 422373"/>
                  <a:gd name="connsiteY6" fmla="*/ 1215438 h 1219093"/>
                  <a:gd name="connsiteX7" fmla="*/ 68392 w 422373"/>
                  <a:gd name="connsiteY7" fmla="*/ 1197626 h 1219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2373" h="1219093">
                    <a:moveTo>
                      <a:pt x="68298" y="1197626"/>
                    </a:moveTo>
                    <a:cubicBezTo>
                      <a:pt x="237937" y="830533"/>
                      <a:pt x="356429" y="441960"/>
                      <a:pt x="420723" y="42720"/>
                    </a:cubicBezTo>
                    <a:cubicBezTo>
                      <a:pt x="424342" y="22794"/>
                      <a:pt x="411102" y="3706"/>
                      <a:pt x="391194" y="96"/>
                    </a:cubicBezTo>
                    <a:cubicBezTo>
                      <a:pt x="391099" y="76"/>
                      <a:pt x="391005" y="67"/>
                      <a:pt x="390909" y="48"/>
                    </a:cubicBezTo>
                    <a:cubicBezTo>
                      <a:pt x="370811" y="-2695"/>
                      <a:pt x="352142" y="11078"/>
                      <a:pt x="348904" y="31099"/>
                    </a:cubicBezTo>
                    <a:cubicBezTo>
                      <a:pt x="285753" y="423815"/>
                      <a:pt x="169072" y="806044"/>
                      <a:pt x="2289" y="1167146"/>
                    </a:cubicBezTo>
                    <a:cubicBezTo>
                      <a:pt x="-6093" y="1185396"/>
                      <a:pt x="1812" y="1207018"/>
                      <a:pt x="20101" y="1215438"/>
                    </a:cubicBezTo>
                    <a:cubicBezTo>
                      <a:pt x="38389" y="1223858"/>
                      <a:pt x="60011" y="1215886"/>
                      <a:pt x="68392" y="119762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8" name="Freeform: Shape 237">
                <a:extLst>
                  <a:ext uri="{FF2B5EF4-FFF2-40B4-BE49-F238E27FC236}">
                    <a16:creationId xmlns:a16="http://schemas.microsoft.com/office/drawing/2014/main" id="{E29020F1-0D8A-42EC-8F88-1BA3EFDA4255}"/>
                  </a:ext>
                </a:extLst>
              </p:cNvPr>
              <p:cNvSpPr/>
              <p:nvPr/>
            </p:nvSpPr>
            <p:spPr>
              <a:xfrm>
                <a:off x="9119154" y="1658191"/>
                <a:ext cx="153002" cy="743007"/>
              </a:xfrm>
              <a:custGeom>
                <a:avLst/>
                <a:gdLst>
                  <a:gd name="connsiteX0" fmla="*/ 71183 w 153002"/>
                  <a:gd name="connsiteY0" fmla="*/ 711263 h 743007"/>
                  <a:gd name="connsiteX1" fmla="*/ 151669 w 153002"/>
                  <a:gd name="connsiteY1" fmla="*/ 40608 h 743007"/>
                  <a:gd name="connsiteX2" fmla="*/ 119856 w 153002"/>
                  <a:gd name="connsiteY2" fmla="*/ -26 h 743007"/>
                  <a:gd name="connsiteX3" fmla="*/ 79279 w 153002"/>
                  <a:gd name="connsiteY3" fmla="*/ 31759 h 743007"/>
                  <a:gd name="connsiteX4" fmla="*/ 78993 w 153002"/>
                  <a:gd name="connsiteY4" fmla="*/ 37274 h 743007"/>
                  <a:gd name="connsiteX5" fmla="*/ -254 w 153002"/>
                  <a:gd name="connsiteY5" fmla="*/ 697356 h 743007"/>
                  <a:gd name="connsiteX6" fmla="*/ 28321 w 153002"/>
                  <a:gd name="connsiteY6" fmla="*/ 742219 h 743007"/>
                  <a:gd name="connsiteX7" fmla="*/ 71183 w 153002"/>
                  <a:gd name="connsiteY7" fmla="*/ 711358 h 743007"/>
                  <a:gd name="connsiteX8" fmla="*/ 71183 w 153002"/>
                  <a:gd name="connsiteY8" fmla="*/ 711263 h 743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3002" h="743007">
                    <a:moveTo>
                      <a:pt x="71183" y="711263"/>
                    </a:moveTo>
                    <a:cubicBezTo>
                      <a:pt x="114236" y="489959"/>
                      <a:pt x="141192" y="265817"/>
                      <a:pt x="151669" y="40608"/>
                    </a:cubicBezTo>
                    <a:cubicBezTo>
                      <a:pt x="154145" y="20605"/>
                      <a:pt x="139858" y="2412"/>
                      <a:pt x="119856" y="-26"/>
                    </a:cubicBezTo>
                    <a:cubicBezTo>
                      <a:pt x="99853" y="-2474"/>
                      <a:pt x="81660" y="11756"/>
                      <a:pt x="79279" y="31759"/>
                    </a:cubicBezTo>
                    <a:cubicBezTo>
                      <a:pt x="78993" y="33588"/>
                      <a:pt x="78899" y="35436"/>
                      <a:pt x="78993" y="37274"/>
                    </a:cubicBezTo>
                    <a:cubicBezTo>
                      <a:pt x="68611" y="258930"/>
                      <a:pt x="42131" y="479548"/>
                      <a:pt x="-254" y="697356"/>
                    </a:cubicBezTo>
                    <a:cubicBezTo>
                      <a:pt x="-4445" y="717588"/>
                      <a:pt x="8223" y="737485"/>
                      <a:pt x="28321" y="742219"/>
                    </a:cubicBezTo>
                    <a:cubicBezTo>
                      <a:pt x="48704" y="745524"/>
                      <a:pt x="67850" y="731713"/>
                      <a:pt x="71183" y="711358"/>
                    </a:cubicBezTo>
                    <a:cubicBezTo>
                      <a:pt x="71183" y="711329"/>
                      <a:pt x="71183" y="711291"/>
                      <a:pt x="71183" y="71126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9" name="Freeform: Shape 238">
                <a:extLst>
                  <a:ext uri="{FF2B5EF4-FFF2-40B4-BE49-F238E27FC236}">
                    <a16:creationId xmlns:a16="http://schemas.microsoft.com/office/drawing/2014/main" id="{272332C1-5033-4BC1-8A6F-D7EC9E5F20C6}"/>
                  </a:ext>
                </a:extLst>
              </p:cNvPr>
              <p:cNvSpPr/>
              <p:nvPr/>
            </p:nvSpPr>
            <p:spPr>
              <a:xfrm>
                <a:off x="8923711" y="2531898"/>
                <a:ext cx="223328" cy="568922"/>
              </a:xfrm>
              <a:custGeom>
                <a:avLst/>
                <a:gdLst>
                  <a:gd name="connsiteX0" fmla="*/ 70030 w 223328"/>
                  <a:gd name="connsiteY0" fmla="*/ 543358 h 568922"/>
                  <a:gd name="connsiteX1" fmla="*/ 220906 w 223328"/>
                  <a:gd name="connsiteY1" fmla="*/ 46534 h 568922"/>
                  <a:gd name="connsiteX2" fmla="*/ 194807 w 223328"/>
                  <a:gd name="connsiteY2" fmla="*/ 462 h 568922"/>
                  <a:gd name="connsiteX3" fmla="*/ 194712 w 223328"/>
                  <a:gd name="connsiteY3" fmla="*/ 433 h 568922"/>
                  <a:gd name="connsiteX4" fmla="*/ 150231 w 223328"/>
                  <a:gd name="connsiteY4" fmla="*/ 29008 h 568922"/>
                  <a:gd name="connsiteX5" fmla="*/ 1735 w 223328"/>
                  <a:gd name="connsiteY5" fmla="*/ 518022 h 568922"/>
                  <a:gd name="connsiteX6" fmla="*/ 22214 w 223328"/>
                  <a:gd name="connsiteY6" fmla="*/ 566694 h 568922"/>
                  <a:gd name="connsiteX7" fmla="*/ 22214 w 223328"/>
                  <a:gd name="connsiteY7" fmla="*/ 566694 h 568922"/>
                  <a:gd name="connsiteX8" fmla="*/ 70030 w 223328"/>
                  <a:gd name="connsiteY8" fmla="*/ 543358 h 568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3328" h="568922">
                    <a:moveTo>
                      <a:pt x="70030" y="543358"/>
                    </a:moveTo>
                    <a:cubicBezTo>
                      <a:pt x="129561" y="380700"/>
                      <a:pt x="179949" y="214831"/>
                      <a:pt x="220906" y="46534"/>
                    </a:cubicBezTo>
                    <a:cubicBezTo>
                      <a:pt x="226431" y="26608"/>
                      <a:pt x="214715" y="5986"/>
                      <a:pt x="194807" y="462"/>
                    </a:cubicBezTo>
                    <a:cubicBezTo>
                      <a:pt x="194807" y="452"/>
                      <a:pt x="194712" y="442"/>
                      <a:pt x="194712" y="433"/>
                    </a:cubicBezTo>
                    <a:cubicBezTo>
                      <a:pt x="174614" y="-3548"/>
                      <a:pt x="154993" y="9072"/>
                      <a:pt x="150231" y="29008"/>
                    </a:cubicBezTo>
                    <a:cubicBezTo>
                      <a:pt x="109940" y="194667"/>
                      <a:pt x="60314" y="357925"/>
                      <a:pt x="1735" y="518022"/>
                    </a:cubicBezTo>
                    <a:cubicBezTo>
                      <a:pt x="-6075" y="537119"/>
                      <a:pt x="3069" y="558903"/>
                      <a:pt x="22214" y="566694"/>
                    </a:cubicBezTo>
                    <a:cubicBezTo>
                      <a:pt x="22214" y="566694"/>
                      <a:pt x="22214" y="566694"/>
                      <a:pt x="22214" y="566694"/>
                    </a:cubicBezTo>
                    <a:cubicBezTo>
                      <a:pt x="41836" y="573171"/>
                      <a:pt x="63077" y="562818"/>
                      <a:pt x="70030" y="5433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0" name="Freeform: Shape 239">
                <a:extLst>
                  <a:ext uri="{FF2B5EF4-FFF2-40B4-BE49-F238E27FC236}">
                    <a16:creationId xmlns:a16="http://schemas.microsoft.com/office/drawing/2014/main" id="{2E9C48C9-8C05-4836-919A-2AB0A31FB1C4}"/>
                  </a:ext>
                </a:extLst>
              </p:cNvPr>
              <p:cNvSpPr/>
              <p:nvPr/>
            </p:nvSpPr>
            <p:spPr>
              <a:xfrm>
                <a:off x="7470289" y="4590345"/>
                <a:ext cx="558317" cy="519540"/>
              </a:xfrm>
              <a:custGeom>
                <a:avLst/>
                <a:gdLst>
                  <a:gd name="connsiteX0" fmla="*/ 59078 w 558317"/>
                  <a:gd name="connsiteY0" fmla="*/ 510403 h 519540"/>
                  <a:gd name="connsiteX1" fmla="*/ 545805 w 558317"/>
                  <a:gd name="connsiteY1" fmla="*/ 62728 h 519540"/>
                  <a:gd name="connsiteX2" fmla="*/ 547330 w 558317"/>
                  <a:gd name="connsiteY2" fmla="*/ 11159 h 519540"/>
                  <a:gd name="connsiteX3" fmla="*/ 495799 w 558317"/>
                  <a:gd name="connsiteY3" fmla="*/ 9626 h 519540"/>
                  <a:gd name="connsiteX4" fmla="*/ 492847 w 558317"/>
                  <a:gd name="connsiteY4" fmla="*/ 12722 h 519540"/>
                  <a:gd name="connsiteX5" fmla="*/ 13739 w 558317"/>
                  <a:gd name="connsiteY5" fmla="*/ 453062 h 519540"/>
                  <a:gd name="connsiteX6" fmla="*/ 6214 w 558317"/>
                  <a:gd name="connsiteY6" fmla="*/ 505545 h 519540"/>
                  <a:gd name="connsiteX7" fmla="*/ 58507 w 558317"/>
                  <a:gd name="connsiteY7" fmla="*/ 510907 h 519540"/>
                  <a:gd name="connsiteX8" fmla="*/ 59078 w 558317"/>
                  <a:gd name="connsiteY8" fmla="*/ 510403 h 519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58317" h="519540">
                    <a:moveTo>
                      <a:pt x="59078" y="510403"/>
                    </a:moveTo>
                    <a:cubicBezTo>
                      <a:pt x="231671" y="372890"/>
                      <a:pt x="394357" y="223281"/>
                      <a:pt x="545805" y="62728"/>
                    </a:cubicBezTo>
                    <a:cubicBezTo>
                      <a:pt x="560474" y="48907"/>
                      <a:pt x="561140" y="25818"/>
                      <a:pt x="547330" y="11159"/>
                    </a:cubicBezTo>
                    <a:cubicBezTo>
                      <a:pt x="533519" y="-3500"/>
                      <a:pt x="510468" y="-4186"/>
                      <a:pt x="495799" y="9626"/>
                    </a:cubicBezTo>
                    <a:cubicBezTo>
                      <a:pt x="494751" y="10597"/>
                      <a:pt x="493799" y="11636"/>
                      <a:pt x="492847" y="12722"/>
                    </a:cubicBezTo>
                    <a:cubicBezTo>
                      <a:pt x="343780" y="170703"/>
                      <a:pt x="183665" y="317855"/>
                      <a:pt x="13739" y="453062"/>
                    </a:cubicBezTo>
                    <a:cubicBezTo>
                      <a:pt x="-2549" y="465654"/>
                      <a:pt x="-5882" y="488886"/>
                      <a:pt x="6214" y="505545"/>
                    </a:cubicBezTo>
                    <a:cubicBezTo>
                      <a:pt x="19169" y="521452"/>
                      <a:pt x="42600" y="523852"/>
                      <a:pt x="58507" y="510907"/>
                    </a:cubicBezTo>
                    <a:cubicBezTo>
                      <a:pt x="58697" y="510736"/>
                      <a:pt x="58887" y="510574"/>
                      <a:pt x="59078" y="5104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1" name="Freeform: Shape 240">
                <a:extLst>
                  <a:ext uri="{FF2B5EF4-FFF2-40B4-BE49-F238E27FC236}">
                    <a16:creationId xmlns:a16="http://schemas.microsoft.com/office/drawing/2014/main" id="{D2638920-5FD2-41A1-9570-2ED880724131}"/>
                  </a:ext>
                </a:extLst>
              </p:cNvPr>
              <p:cNvSpPr/>
              <p:nvPr/>
            </p:nvSpPr>
            <p:spPr>
              <a:xfrm>
                <a:off x="6124119" y="5516715"/>
                <a:ext cx="679535" cy="334025"/>
              </a:xfrm>
              <a:custGeom>
                <a:avLst/>
                <a:gdLst>
                  <a:gd name="connsiteX0" fmla="*/ 49269 w 679535"/>
                  <a:gd name="connsiteY0" fmla="*/ 331078 h 334025"/>
                  <a:gd name="connsiteX1" fmla="*/ 656393 w 679535"/>
                  <a:gd name="connsiteY1" fmla="*/ 69712 h 334025"/>
                  <a:gd name="connsiteX2" fmla="*/ 675538 w 679535"/>
                  <a:gd name="connsiteY2" fmla="*/ 21802 h 334025"/>
                  <a:gd name="connsiteX3" fmla="*/ 627627 w 679535"/>
                  <a:gd name="connsiteY3" fmla="*/ 2666 h 334025"/>
                  <a:gd name="connsiteX4" fmla="*/ 622865 w 679535"/>
                  <a:gd name="connsiteY4" fmla="*/ 5133 h 334025"/>
                  <a:gd name="connsiteX5" fmla="*/ 24980 w 679535"/>
                  <a:gd name="connsiteY5" fmla="*/ 262308 h 334025"/>
                  <a:gd name="connsiteX6" fmla="*/ 597 w 679535"/>
                  <a:gd name="connsiteY6" fmla="*/ 309456 h 334025"/>
                  <a:gd name="connsiteX7" fmla="*/ 48508 w 679535"/>
                  <a:gd name="connsiteY7" fmla="*/ 331383 h 334025"/>
                  <a:gd name="connsiteX8" fmla="*/ 49269 w 679535"/>
                  <a:gd name="connsiteY8" fmla="*/ 331078 h 334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79535" h="334025">
                    <a:moveTo>
                      <a:pt x="49269" y="331078"/>
                    </a:moveTo>
                    <a:cubicBezTo>
                      <a:pt x="257676" y="258688"/>
                      <a:pt x="460558" y="171335"/>
                      <a:pt x="656393" y="69712"/>
                    </a:cubicBezTo>
                    <a:cubicBezTo>
                      <a:pt x="674871" y="61769"/>
                      <a:pt x="683443" y="40318"/>
                      <a:pt x="675538" y="21802"/>
                    </a:cubicBezTo>
                    <a:cubicBezTo>
                      <a:pt x="667633" y="3285"/>
                      <a:pt x="646106" y="-5278"/>
                      <a:pt x="627627" y="2666"/>
                    </a:cubicBezTo>
                    <a:cubicBezTo>
                      <a:pt x="626008" y="3370"/>
                      <a:pt x="624389" y="4190"/>
                      <a:pt x="622865" y="5133"/>
                    </a:cubicBezTo>
                    <a:cubicBezTo>
                      <a:pt x="429983" y="105146"/>
                      <a:pt x="230244" y="191089"/>
                      <a:pt x="24980" y="262308"/>
                    </a:cubicBezTo>
                    <a:cubicBezTo>
                      <a:pt x="5454" y="268842"/>
                      <a:pt x="-5404" y="289730"/>
                      <a:pt x="597" y="309456"/>
                    </a:cubicBezTo>
                    <a:cubicBezTo>
                      <a:pt x="7740" y="328735"/>
                      <a:pt x="29172" y="338546"/>
                      <a:pt x="48508" y="331383"/>
                    </a:cubicBezTo>
                    <a:cubicBezTo>
                      <a:pt x="48793" y="331278"/>
                      <a:pt x="48983" y="331183"/>
                      <a:pt x="49269" y="33107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2" name="Freeform: Shape 241">
                <a:extLst>
                  <a:ext uri="{FF2B5EF4-FFF2-40B4-BE49-F238E27FC236}">
                    <a16:creationId xmlns:a16="http://schemas.microsoft.com/office/drawing/2014/main" id="{8B709B65-1150-4F8D-A228-426CBBE0D2D5}"/>
                  </a:ext>
                </a:extLst>
              </p:cNvPr>
              <p:cNvSpPr/>
              <p:nvPr/>
            </p:nvSpPr>
            <p:spPr>
              <a:xfrm>
                <a:off x="8964728" y="2475086"/>
                <a:ext cx="352323" cy="932662"/>
              </a:xfrm>
              <a:custGeom>
                <a:avLst/>
                <a:gdLst>
                  <a:gd name="connsiteX0" fmla="*/ 70828 w 352323"/>
                  <a:gd name="connsiteY0" fmla="*/ 906208 h 932662"/>
                  <a:gd name="connsiteX1" fmla="*/ 349434 w 352323"/>
                  <a:gd name="connsiteY1" fmla="*/ 47720 h 932662"/>
                  <a:gd name="connsiteX2" fmla="*/ 326098 w 352323"/>
                  <a:gd name="connsiteY2" fmla="*/ 1543 h 932662"/>
                  <a:gd name="connsiteX3" fmla="*/ 279901 w 352323"/>
                  <a:gd name="connsiteY3" fmla="*/ 24860 h 932662"/>
                  <a:gd name="connsiteX4" fmla="*/ 278378 w 352323"/>
                  <a:gd name="connsiteY4" fmla="*/ 31909 h 932662"/>
                  <a:gd name="connsiteX5" fmla="*/ 4057 w 352323"/>
                  <a:gd name="connsiteY5" fmla="*/ 877157 h 932662"/>
                  <a:gd name="connsiteX6" fmla="*/ 16916 w 352323"/>
                  <a:gd name="connsiteY6" fmla="*/ 927259 h 932662"/>
                  <a:gd name="connsiteX7" fmla="*/ 67017 w 352323"/>
                  <a:gd name="connsiteY7" fmla="*/ 914409 h 932662"/>
                  <a:gd name="connsiteX8" fmla="*/ 70732 w 352323"/>
                  <a:gd name="connsiteY8" fmla="*/ 905732 h 932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2323" h="932662">
                    <a:moveTo>
                      <a:pt x="70828" y="906208"/>
                    </a:moveTo>
                    <a:cubicBezTo>
                      <a:pt x="190652" y="629516"/>
                      <a:pt x="283997" y="342062"/>
                      <a:pt x="349434" y="47720"/>
                    </a:cubicBezTo>
                    <a:cubicBezTo>
                      <a:pt x="355721" y="28527"/>
                      <a:pt x="345338" y="7858"/>
                      <a:pt x="326098" y="1543"/>
                    </a:cubicBezTo>
                    <a:cubicBezTo>
                      <a:pt x="306953" y="-4772"/>
                      <a:pt x="286283" y="5667"/>
                      <a:pt x="279901" y="24860"/>
                    </a:cubicBezTo>
                    <a:cubicBezTo>
                      <a:pt x="279235" y="27146"/>
                      <a:pt x="278663" y="29508"/>
                      <a:pt x="278378" y="31909"/>
                    </a:cubicBezTo>
                    <a:cubicBezTo>
                      <a:pt x="213989" y="321726"/>
                      <a:pt x="122072" y="604752"/>
                      <a:pt x="4057" y="877157"/>
                    </a:cubicBezTo>
                    <a:cubicBezTo>
                      <a:pt x="-6229" y="894540"/>
                      <a:pt x="-515" y="916972"/>
                      <a:pt x="16916" y="927259"/>
                    </a:cubicBezTo>
                    <a:cubicBezTo>
                      <a:pt x="34252" y="937546"/>
                      <a:pt x="56731" y="931793"/>
                      <a:pt x="67017" y="914409"/>
                    </a:cubicBezTo>
                    <a:cubicBezTo>
                      <a:pt x="68637" y="911695"/>
                      <a:pt x="69875" y="908770"/>
                      <a:pt x="70732" y="90573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3" name="Freeform: Shape 242">
                <a:extLst>
                  <a:ext uri="{FF2B5EF4-FFF2-40B4-BE49-F238E27FC236}">
                    <a16:creationId xmlns:a16="http://schemas.microsoft.com/office/drawing/2014/main" id="{522ED048-A985-452C-B554-5F59F76126E4}"/>
                  </a:ext>
                </a:extLst>
              </p:cNvPr>
              <p:cNvSpPr/>
              <p:nvPr/>
            </p:nvSpPr>
            <p:spPr>
              <a:xfrm>
                <a:off x="9283814" y="1937955"/>
                <a:ext cx="120799" cy="414884"/>
              </a:xfrm>
              <a:custGeom>
                <a:avLst/>
                <a:gdLst>
                  <a:gd name="connsiteX0" fmla="*/ 71686 w 120799"/>
                  <a:gd name="connsiteY0" fmla="*/ 381111 h 414884"/>
                  <a:gd name="connsiteX1" fmla="*/ 119311 w 120799"/>
                  <a:gd name="connsiteY1" fmla="*/ 43164 h 414884"/>
                  <a:gd name="connsiteX2" fmla="*/ 87403 w 120799"/>
                  <a:gd name="connsiteY2" fmla="*/ -222 h 414884"/>
                  <a:gd name="connsiteX3" fmla="*/ 87021 w 120799"/>
                  <a:gd name="connsiteY3" fmla="*/ -270 h 414884"/>
                  <a:gd name="connsiteX4" fmla="*/ 46921 w 120799"/>
                  <a:gd name="connsiteY4" fmla="*/ 35640 h 414884"/>
                  <a:gd name="connsiteX5" fmla="*/ 249 w 120799"/>
                  <a:gd name="connsiteY5" fmla="*/ 368348 h 414884"/>
                  <a:gd name="connsiteX6" fmla="*/ 25871 w 120799"/>
                  <a:gd name="connsiteY6" fmla="*/ 413277 h 414884"/>
                  <a:gd name="connsiteX7" fmla="*/ 70829 w 120799"/>
                  <a:gd name="connsiteY7" fmla="*/ 387646 h 414884"/>
                  <a:gd name="connsiteX8" fmla="*/ 71972 w 120799"/>
                  <a:gd name="connsiteY8" fmla="*/ 381111 h 414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0799" h="414884">
                    <a:moveTo>
                      <a:pt x="71686" y="381111"/>
                    </a:moveTo>
                    <a:cubicBezTo>
                      <a:pt x="90736" y="269002"/>
                      <a:pt x="107120" y="156321"/>
                      <a:pt x="119311" y="43164"/>
                    </a:cubicBezTo>
                    <a:cubicBezTo>
                      <a:pt x="122455" y="22362"/>
                      <a:pt x="108168" y="2940"/>
                      <a:pt x="87403" y="-222"/>
                    </a:cubicBezTo>
                    <a:cubicBezTo>
                      <a:pt x="87212" y="-241"/>
                      <a:pt x="87117" y="-250"/>
                      <a:pt x="87021" y="-270"/>
                    </a:cubicBezTo>
                    <a:cubicBezTo>
                      <a:pt x="66162" y="-1089"/>
                      <a:pt x="48446" y="14808"/>
                      <a:pt x="46921" y="35640"/>
                    </a:cubicBezTo>
                    <a:cubicBezTo>
                      <a:pt x="35301" y="147082"/>
                      <a:pt x="19394" y="257953"/>
                      <a:pt x="249" y="368348"/>
                    </a:cubicBezTo>
                    <a:cubicBezTo>
                      <a:pt x="-5085" y="387836"/>
                      <a:pt x="6440" y="407953"/>
                      <a:pt x="25871" y="413277"/>
                    </a:cubicBezTo>
                    <a:cubicBezTo>
                      <a:pt x="45397" y="418611"/>
                      <a:pt x="65495" y="407134"/>
                      <a:pt x="70829" y="387646"/>
                    </a:cubicBezTo>
                    <a:cubicBezTo>
                      <a:pt x="71401" y="385512"/>
                      <a:pt x="71781" y="383321"/>
                      <a:pt x="71972" y="38111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4" name="Freeform: Shape 243">
                <a:extLst>
                  <a:ext uri="{FF2B5EF4-FFF2-40B4-BE49-F238E27FC236}">
                    <a16:creationId xmlns:a16="http://schemas.microsoft.com/office/drawing/2014/main" id="{EFE43C6E-7F67-4C5F-B7EF-C75EFA5C09DC}"/>
                  </a:ext>
                </a:extLst>
              </p:cNvPr>
              <p:cNvSpPr/>
              <p:nvPr/>
            </p:nvSpPr>
            <p:spPr>
              <a:xfrm>
                <a:off x="8089278" y="3237796"/>
                <a:ext cx="150854" cy="217988"/>
              </a:xfrm>
              <a:custGeom>
                <a:avLst/>
                <a:gdLst>
                  <a:gd name="connsiteX0" fmla="*/ 65977 w 150854"/>
                  <a:gd name="connsiteY0" fmla="*/ 201410 h 217988"/>
                  <a:gd name="connsiteX1" fmla="*/ 107221 w 150854"/>
                  <a:gd name="connsiteY1" fmla="*/ 125972 h 217988"/>
                  <a:gd name="connsiteX2" fmla="*/ 146844 w 150854"/>
                  <a:gd name="connsiteY2" fmla="*/ 49772 h 217988"/>
                  <a:gd name="connsiteX3" fmla="*/ 129795 w 150854"/>
                  <a:gd name="connsiteY3" fmla="*/ 4814 h 217988"/>
                  <a:gd name="connsiteX4" fmla="*/ 127794 w 150854"/>
                  <a:gd name="connsiteY4" fmla="*/ 3862 h 217988"/>
                  <a:gd name="connsiteX5" fmla="*/ 81884 w 150854"/>
                  <a:gd name="connsiteY5" fmla="*/ 17006 h 217988"/>
                  <a:gd name="connsiteX6" fmla="*/ 42927 w 150854"/>
                  <a:gd name="connsiteY6" fmla="*/ 91968 h 217988"/>
                  <a:gd name="connsiteX7" fmla="*/ 2446 w 150854"/>
                  <a:gd name="connsiteY7" fmla="*/ 166072 h 217988"/>
                  <a:gd name="connsiteX8" fmla="*/ 17400 w 150854"/>
                  <a:gd name="connsiteY8" fmla="*/ 211602 h 217988"/>
                  <a:gd name="connsiteX9" fmla="*/ 19400 w 150854"/>
                  <a:gd name="connsiteY9" fmla="*/ 212650 h 217988"/>
                  <a:gd name="connsiteX10" fmla="*/ 65788 w 150854"/>
                  <a:gd name="connsiteY10" fmla="*/ 201686 h 217988"/>
                  <a:gd name="connsiteX11" fmla="*/ 65977 w 150854"/>
                  <a:gd name="connsiteY11" fmla="*/ 201410 h 217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0854" h="217988">
                    <a:moveTo>
                      <a:pt x="65977" y="201410"/>
                    </a:moveTo>
                    <a:cubicBezTo>
                      <a:pt x="79980" y="176360"/>
                      <a:pt x="94552" y="151404"/>
                      <a:pt x="107221" y="125972"/>
                    </a:cubicBezTo>
                    <a:cubicBezTo>
                      <a:pt x="119889" y="100540"/>
                      <a:pt x="134462" y="75490"/>
                      <a:pt x="146844" y="49772"/>
                    </a:cubicBezTo>
                    <a:cubicBezTo>
                      <a:pt x="154465" y="32646"/>
                      <a:pt x="146844" y="12596"/>
                      <a:pt x="129795" y="4814"/>
                    </a:cubicBezTo>
                    <a:lnTo>
                      <a:pt x="127794" y="3862"/>
                    </a:lnTo>
                    <a:cubicBezTo>
                      <a:pt x="111507" y="-5044"/>
                      <a:pt x="91028" y="804"/>
                      <a:pt x="81884" y="17006"/>
                    </a:cubicBezTo>
                    <a:cubicBezTo>
                      <a:pt x="69692" y="42438"/>
                      <a:pt x="55881" y="66917"/>
                      <a:pt x="42927" y="91968"/>
                    </a:cubicBezTo>
                    <a:cubicBezTo>
                      <a:pt x="29973" y="117019"/>
                      <a:pt x="16162" y="141498"/>
                      <a:pt x="2446" y="166072"/>
                    </a:cubicBezTo>
                    <a:cubicBezTo>
                      <a:pt x="-5745" y="182799"/>
                      <a:pt x="922" y="202972"/>
                      <a:pt x="17400" y="211602"/>
                    </a:cubicBezTo>
                    <a:lnTo>
                      <a:pt x="19400" y="212650"/>
                    </a:lnTo>
                    <a:cubicBezTo>
                      <a:pt x="35212" y="222442"/>
                      <a:pt x="55977" y="217527"/>
                      <a:pt x="65788" y="201686"/>
                    </a:cubicBezTo>
                    <a:cubicBezTo>
                      <a:pt x="65882" y="201591"/>
                      <a:pt x="65882" y="201506"/>
                      <a:pt x="65977" y="2014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5" name="Freeform: Shape 244">
                <a:extLst>
                  <a:ext uri="{FF2B5EF4-FFF2-40B4-BE49-F238E27FC236}">
                    <a16:creationId xmlns:a16="http://schemas.microsoft.com/office/drawing/2014/main" id="{BFFE65CB-0EE8-434E-A38C-E37730D946C3}"/>
                  </a:ext>
                </a:extLst>
              </p:cNvPr>
              <p:cNvSpPr/>
              <p:nvPr/>
            </p:nvSpPr>
            <p:spPr>
              <a:xfrm>
                <a:off x="7477046" y="3517349"/>
                <a:ext cx="606973" cy="761553"/>
              </a:xfrm>
              <a:custGeom>
                <a:avLst/>
                <a:gdLst>
                  <a:gd name="connsiteX0" fmla="*/ 60037 w 606973"/>
                  <a:gd name="connsiteY0" fmla="*/ 752533 h 761553"/>
                  <a:gd name="connsiteX1" fmla="*/ 79087 w 606973"/>
                  <a:gd name="connsiteY1" fmla="*/ 732721 h 761553"/>
                  <a:gd name="connsiteX2" fmla="*/ 98137 w 606973"/>
                  <a:gd name="connsiteY2" fmla="*/ 712432 h 761553"/>
                  <a:gd name="connsiteX3" fmla="*/ 136237 w 606973"/>
                  <a:gd name="connsiteY3" fmla="*/ 671856 h 761553"/>
                  <a:gd name="connsiteX4" fmla="*/ 210150 w 606973"/>
                  <a:gd name="connsiteY4" fmla="*/ 589179 h 761553"/>
                  <a:gd name="connsiteX5" fmla="*/ 281398 w 606973"/>
                  <a:gd name="connsiteY5" fmla="*/ 504216 h 761553"/>
                  <a:gd name="connsiteX6" fmla="*/ 316258 w 606973"/>
                  <a:gd name="connsiteY6" fmla="*/ 460972 h 761553"/>
                  <a:gd name="connsiteX7" fmla="*/ 333594 w 606973"/>
                  <a:gd name="connsiteY7" fmla="*/ 439445 h 761553"/>
                  <a:gd name="connsiteX8" fmla="*/ 350454 w 606973"/>
                  <a:gd name="connsiteY8" fmla="*/ 417348 h 761553"/>
                  <a:gd name="connsiteX9" fmla="*/ 602104 w 606973"/>
                  <a:gd name="connsiteY9" fmla="*/ 52540 h 761553"/>
                  <a:gd name="connsiteX10" fmla="*/ 585626 w 606973"/>
                  <a:gd name="connsiteY10" fmla="*/ 3515 h 761553"/>
                  <a:gd name="connsiteX11" fmla="*/ 540000 w 606973"/>
                  <a:gd name="connsiteY11" fmla="*/ 14440 h 761553"/>
                  <a:gd name="connsiteX12" fmla="*/ 292922 w 606973"/>
                  <a:gd name="connsiteY12" fmla="*/ 372770 h 761553"/>
                  <a:gd name="connsiteX13" fmla="*/ 276349 w 606973"/>
                  <a:gd name="connsiteY13" fmla="*/ 394392 h 761553"/>
                  <a:gd name="connsiteX14" fmla="*/ 259299 w 606973"/>
                  <a:gd name="connsiteY14" fmla="*/ 415633 h 761553"/>
                  <a:gd name="connsiteX15" fmla="*/ 225105 w 606973"/>
                  <a:gd name="connsiteY15" fmla="*/ 458019 h 761553"/>
                  <a:gd name="connsiteX16" fmla="*/ 155096 w 606973"/>
                  <a:gd name="connsiteY16" fmla="*/ 541458 h 761553"/>
                  <a:gd name="connsiteX17" fmla="*/ 82611 w 606973"/>
                  <a:gd name="connsiteY17" fmla="*/ 622612 h 761553"/>
                  <a:gd name="connsiteX18" fmla="*/ 45463 w 606973"/>
                  <a:gd name="connsiteY18" fmla="*/ 662521 h 761553"/>
                  <a:gd name="connsiteX19" fmla="*/ 26413 w 606973"/>
                  <a:gd name="connsiteY19" fmla="*/ 682428 h 761553"/>
                  <a:gd name="connsiteX20" fmla="*/ 7363 w 606973"/>
                  <a:gd name="connsiteY20" fmla="*/ 701478 h 761553"/>
                  <a:gd name="connsiteX21" fmla="*/ 12126 w 606973"/>
                  <a:gd name="connsiteY21" fmla="*/ 752847 h 761553"/>
                  <a:gd name="connsiteX22" fmla="*/ 59655 w 606973"/>
                  <a:gd name="connsiteY22" fmla="*/ 752056 h 761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6973" h="761553">
                    <a:moveTo>
                      <a:pt x="60037" y="752533"/>
                    </a:moveTo>
                    <a:lnTo>
                      <a:pt x="79087" y="732721"/>
                    </a:lnTo>
                    <a:lnTo>
                      <a:pt x="98137" y="712432"/>
                    </a:lnTo>
                    <a:lnTo>
                      <a:pt x="136237" y="671856"/>
                    </a:lnTo>
                    <a:cubicBezTo>
                      <a:pt x="161287" y="644710"/>
                      <a:pt x="185480" y="616706"/>
                      <a:pt x="210150" y="589179"/>
                    </a:cubicBezTo>
                    <a:cubicBezTo>
                      <a:pt x="234820" y="561651"/>
                      <a:pt x="257775" y="532886"/>
                      <a:pt x="281398" y="504216"/>
                    </a:cubicBezTo>
                    <a:lnTo>
                      <a:pt x="316258" y="460972"/>
                    </a:lnTo>
                    <a:lnTo>
                      <a:pt x="333594" y="439445"/>
                    </a:lnTo>
                    <a:lnTo>
                      <a:pt x="350454" y="417348"/>
                    </a:lnTo>
                    <a:cubicBezTo>
                      <a:pt x="440846" y="300390"/>
                      <a:pt x="524856" y="178604"/>
                      <a:pt x="602104" y="52540"/>
                    </a:cubicBezTo>
                    <a:cubicBezTo>
                      <a:pt x="611058" y="34443"/>
                      <a:pt x="603723" y="12497"/>
                      <a:pt x="585626" y="3515"/>
                    </a:cubicBezTo>
                    <a:cubicBezTo>
                      <a:pt x="569718" y="-4343"/>
                      <a:pt x="550574" y="248"/>
                      <a:pt x="540000" y="14440"/>
                    </a:cubicBezTo>
                    <a:cubicBezTo>
                      <a:pt x="464182" y="138284"/>
                      <a:pt x="381695" y="257909"/>
                      <a:pt x="292922" y="372770"/>
                    </a:cubicBezTo>
                    <a:lnTo>
                      <a:pt x="276349" y="394392"/>
                    </a:lnTo>
                    <a:lnTo>
                      <a:pt x="259299" y="415633"/>
                    </a:lnTo>
                    <a:lnTo>
                      <a:pt x="225105" y="458019"/>
                    </a:lnTo>
                    <a:cubicBezTo>
                      <a:pt x="202244" y="486594"/>
                      <a:pt x="178432" y="513550"/>
                      <a:pt x="155096" y="541458"/>
                    </a:cubicBezTo>
                    <a:cubicBezTo>
                      <a:pt x="131759" y="569367"/>
                      <a:pt x="107471" y="595942"/>
                      <a:pt x="82611" y="622612"/>
                    </a:cubicBezTo>
                    <a:lnTo>
                      <a:pt x="45463" y="662521"/>
                    </a:lnTo>
                    <a:lnTo>
                      <a:pt x="26413" y="682428"/>
                    </a:lnTo>
                    <a:lnTo>
                      <a:pt x="7363" y="701478"/>
                    </a:lnTo>
                    <a:cubicBezTo>
                      <a:pt x="-5495" y="716985"/>
                      <a:pt x="-3400" y="739978"/>
                      <a:pt x="12126" y="752847"/>
                    </a:cubicBezTo>
                    <a:cubicBezTo>
                      <a:pt x="26032" y="764353"/>
                      <a:pt x="46225" y="764010"/>
                      <a:pt x="59655" y="7520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6" name="Freeform: Shape 245">
                <a:extLst>
                  <a:ext uri="{FF2B5EF4-FFF2-40B4-BE49-F238E27FC236}">
                    <a16:creationId xmlns:a16="http://schemas.microsoft.com/office/drawing/2014/main" id="{0A4119EC-A38D-45F7-B137-1EEEC4D4BBDB}"/>
                  </a:ext>
                </a:extLst>
              </p:cNvPr>
              <p:cNvSpPr/>
              <p:nvPr/>
            </p:nvSpPr>
            <p:spPr>
              <a:xfrm>
                <a:off x="7914015" y="3548434"/>
                <a:ext cx="329845" cy="455433"/>
              </a:xfrm>
              <a:custGeom>
                <a:avLst/>
                <a:gdLst>
                  <a:gd name="connsiteX0" fmla="*/ 63600 w 329845"/>
                  <a:gd name="connsiteY0" fmla="*/ 441413 h 455433"/>
                  <a:gd name="connsiteX1" fmla="*/ 324394 w 329845"/>
                  <a:gd name="connsiteY1" fmla="*/ 52507 h 455433"/>
                  <a:gd name="connsiteX2" fmla="*/ 310868 w 329845"/>
                  <a:gd name="connsiteY2" fmla="*/ 4882 h 455433"/>
                  <a:gd name="connsiteX3" fmla="*/ 310296 w 329845"/>
                  <a:gd name="connsiteY3" fmla="*/ 4882 h 455433"/>
                  <a:gd name="connsiteX4" fmla="*/ 261814 w 329845"/>
                  <a:gd name="connsiteY4" fmla="*/ 16217 h 455433"/>
                  <a:gd name="connsiteX5" fmla="*/ 5592 w 329845"/>
                  <a:gd name="connsiteY5" fmla="*/ 398264 h 455433"/>
                  <a:gd name="connsiteX6" fmla="*/ 13403 w 329845"/>
                  <a:gd name="connsiteY6" fmla="*/ 447318 h 455433"/>
                  <a:gd name="connsiteX7" fmla="*/ 13403 w 329845"/>
                  <a:gd name="connsiteY7" fmla="*/ 447318 h 455433"/>
                  <a:gd name="connsiteX8" fmla="*/ 63218 w 329845"/>
                  <a:gd name="connsiteY8" fmla="*/ 441899 h 455433"/>
                  <a:gd name="connsiteX9" fmla="*/ 63600 w 329845"/>
                  <a:gd name="connsiteY9" fmla="*/ 441413 h 455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29845" h="455433">
                    <a:moveTo>
                      <a:pt x="63600" y="441413"/>
                    </a:moveTo>
                    <a:cubicBezTo>
                      <a:pt x="157896" y="316854"/>
                      <a:pt x="244955" y="187010"/>
                      <a:pt x="324394" y="52507"/>
                    </a:cubicBezTo>
                    <a:cubicBezTo>
                      <a:pt x="333729" y="35610"/>
                      <a:pt x="327728" y="14350"/>
                      <a:pt x="310868" y="4882"/>
                    </a:cubicBezTo>
                    <a:lnTo>
                      <a:pt x="310296" y="4882"/>
                    </a:lnTo>
                    <a:cubicBezTo>
                      <a:pt x="293723" y="-5186"/>
                      <a:pt x="272196" y="-147"/>
                      <a:pt x="261814" y="16217"/>
                    </a:cubicBezTo>
                    <a:cubicBezTo>
                      <a:pt x="183710" y="148319"/>
                      <a:pt x="98176" y="275878"/>
                      <a:pt x="5592" y="398264"/>
                    </a:cubicBezTo>
                    <a:cubicBezTo>
                      <a:pt x="-5743" y="413981"/>
                      <a:pt x="-2218" y="435888"/>
                      <a:pt x="13403" y="447318"/>
                    </a:cubicBezTo>
                    <a:lnTo>
                      <a:pt x="13403" y="447318"/>
                    </a:lnTo>
                    <a:cubicBezTo>
                      <a:pt x="28643" y="459577"/>
                      <a:pt x="50931" y="457148"/>
                      <a:pt x="63218" y="441899"/>
                    </a:cubicBezTo>
                    <a:cubicBezTo>
                      <a:pt x="63314" y="441737"/>
                      <a:pt x="63504" y="441575"/>
                      <a:pt x="63600" y="44141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7" name="Freeform: Shape 246">
                <a:extLst>
                  <a:ext uri="{FF2B5EF4-FFF2-40B4-BE49-F238E27FC236}">
                    <a16:creationId xmlns:a16="http://schemas.microsoft.com/office/drawing/2014/main" id="{A6611389-EF82-4F60-9A0A-CF702EEA7F32}"/>
                  </a:ext>
                </a:extLst>
              </p:cNvPr>
              <p:cNvSpPr/>
              <p:nvPr/>
            </p:nvSpPr>
            <p:spPr>
              <a:xfrm>
                <a:off x="7413520" y="4051455"/>
                <a:ext cx="478547" cy="504226"/>
              </a:xfrm>
              <a:custGeom>
                <a:avLst/>
                <a:gdLst>
                  <a:gd name="connsiteX0" fmla="*/ 58888 w 478547"/>
                  <a:gd name="connsiteY0" fmla="*/ 494938 h 504226"/>
                  <a:gd name="connsiteX1" fmla="*/ 470177 w 478547"/>
                  <a:gd name="connsiteY1" fmla="*/ 57931 h 504226"/>
                  <a:gd name="connsiteX2" fmla="*/ 462939 w 478547"/>
                  <a:gd name="connsiteY2" fmla="*/ 6991 h 504226"/>
                  <a:gd name="connsiteX3" fmla="*/ 413789 w 478547"/>
                  <a:gd name="connsiteY3" fmla="*/ 12020 h 504226"/>
                  <a:gd name="connsiteX4" fmla="*/ 9643 w 478547"/>
                  <a:gd name="connsiteY4" fmla="*/ 441407 h 504226"/>
                  <a:gd name="connsiteX5" fmla="*/ 8691 w 478547"/>
                  <a:gd name="connsiteY5" fmla="*/ 491699 h 504226"/>
                  <a:gd name="connsiteX6" fmla="*/ 58411 w 478547"/>
                  <a:gd name="connsiteY6" fmla="*/ 495366 h 504226"/>
                  <a:gd name="connsiteX7" fmla="*/ 58888 w 478547"/>
                  <a:gd name="connsiteY7" fmla="*/ 494938 h 504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8547" h="504226">
                    <a:moveTo>
                      <a:pt x="58888" y="494938"/>
                    </a:moveTo>
                    <a:cubicBezTo>
                      <a:pt x="206239" y="359321"/>
                      <a:pt x="343781" y="213274"/>
                      <a:pt x="470177" y="57931"/>
                    </a:cubicBezTo>
                    <a:cubicBezTo>
                      <a:pt x="482274" y="41862"/>
                      <a:pt x="479035" y="19050"/>
                      <a:pt x="462939" y="6991"/>
                    </a:cubicBezTo>
                    <a:cubicBezTo>
                      <a:pt x="447698" y="-4410"/>
                      <a:pt x="426362" y="-2220"/>
                      <a:pt x="413789" y="12020"/>
                    </a:cubicBezTo>
                    <a:cubicBezTo>
                      <a:pt x="289488" y="164639"/>
                      <a:pt x="154424" y="308143"/>
                      <a:pt x="9643" y="441407"/>
                    </a:cubicBezTo>
                    <a:cubicBezTo>
                      <a:pt x="-4263" y="455152"/>
                      <a:pt x="-4644" y="477440"/>
                      <a:pt x="8691" y="491699"/>
                    </a:cubicBezTo>
                    <a:cubicBezTo>
                      <a:pt x="21359" y="506444"/>
                      <a:pt x="43648" y="508082"/>
                      <a:pt x="58411" y="495366"/>
                    </a:cubicBezTo>
                    <a:cubicBezTo>
                      <a:pt x="58602" y="495233"/>
                      <a:pt x="58697" y="495081"/>
                      <a:pt x="58888" y="4949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8" name="Freeform: Shape 247">
                <a:extLst>
                  <a:ext uri="{FF2B5EF4-FFF2-40B4-BE49-F238E27FC236}">
                    <a16:creationId xmlns:a16="http://schemas.microsoft.com/office/drawing/2014/main" id="{C3C71C11-5CA6-49AD-AFDF-F43B84093A0C}"/>
                  </a:ext>
                </a:extLst>
              </p:cNvPr>
              <p:cNvSpPr/>
              <p:nvPr/>
            </p:nvSpPr>
            <p:spPr>
              <a:xfrm>
                <a:off x="8192977" y="3722267"/>
                <a:ext cx="123222" cy="151339"/>
              </a:xfrm>
              <a:custGeom>
                <a:avLst/>
                <a:gdLst>
                  <a:gd name="connsiteX0" fmla="*/ 65434 w 123222"/>
                  <a:gd name="connsiteY0" fmla="*/ 134801 h 151339"/>
                  <a:gd name="connsiteX1" fmla="*/ 117536 w 123222"/>
                  <a:gd name="connsiteY1" fmla="*/ 53839 h 151339"/>
                  <a:gd name="connsiteX2" fmla="*/ 103534 w 123222"/>
                  <a:gd name="connsiteY2" fmla="*/ 4328 h 151339"/>
                  <a:gd name="connsiteX3" fmla="*/ 56005 w 123222"/>
                  <a:gd name="connsiteY3" fmla="*/ 15167 h 151339"/>
                  <a:gd name="connsiteX4" fmla="*/ 4665 w 123222"/>
                  <a:gd name="connsiteY4" fmla="*/ 94701 h 151339"/>
                  <a:gd name="connsiteX5" fmla="*/ 15237 w 123222"/>
                  <a:gd name="connsiteY5" fmla="*/ 144898 h 151339"/>
                  <a:gd name="connsiteX6" fmla="*/ 65243 w 123222"/>
                  <a:gd name="connsiteY6" fmla="*/ 135134 h 151339"/>
                  <a:gd name="connsiteX7" fmla="*/ 65434 w 123222"/>
                  <a:gd name="connsiteY7" fmla="*/ 134801 h 151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3222" h="151339">
                    <a:moveTo>
                      <a:pt x="65434" y="134801"/>
                    </a:moveTo>
                    <a:cubicBezTo>
                      <a:pt x="83055" y="108036"/>
                      <a:pt x="100867" y="81271"/>
                      <a:pt x="117536" y="53839"/>
                    </a:cubicBezTo>
                    <a:cubicBezTo>
                      <a:pt x="127347" y="36294"/>
                      <a:pt x="121060" y="14129"/>
                      <a:pt x="103534" y="4328"/>
                    </a:cubicBezTo>
                    <a:cubicBezTo>
                      <a:pt x="87246" y="-4769"/>
                      <a:pt x="66768" y="-92"/>
                      <a:pt x="56005" y="15167"/>
                    </a:cubicBezTo>
                    <a:cubicBezTo>
                      <a:pt x="39525" y="42123"/>
                      <a:pt x="22095" y="68412"/>
                      <a:pt x="4665" y="94701"/>
                    </a:cubicBezTo>
                    <a:cubicBezTo>
                      <a:pt x="-6003" y="111532"/>
                      <a:pt x="-1336" y="133791"/>
                      <a:pt x="15237" y="144898"/>
                    </a:cubicBezTo>
                    <a:cubicBezTo>
                      <a:pt x="31715" y="156004"/>
                      <a:pt x="54099" y="151632"/>
                      <a:pt x="65243" y="135134"/>
                    </a:cubicBezTo>
                    <a:cubicBezTo>
                      <a:pt x="65243" y="135020"/>
                      <a:pt x="65339" y="134916"/>
                      <a:pt x="65434" y="13480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9" name="Freeform: Shape 248">
                <a:extLst>
                  <a:ext uri="{FF2B5EF4-FFF2-40B4-BE49-F238E27FC236}">
                    <a16:creationId xmlns:a16="http://schemas.microsoft.com/office/drawing/2014/main" id="{2896DF24-8124-421F-A20E-896F91FAEEE9}"/>
                  </a:ext>
                </a:extLst>
              </p:cNvPr>
              <p:cNvSpPr/>
              <p:nvPr/>
            </p:nvSpPr>
            <p:spPr>
              <a:xfrm>
                <a:off x="7767881" y="3608699"/>
                <a:ext cx="793446" cy="1029876"/>
              </a:xfrm>
              <a:custGeom>
                <a:avLst/>
                <a:gdLst>
                  <a:gd name="connsiteX0" fmla="*/ 60858 w 793446"/>
                  <a:gd name="connsiteY0" fmla="*/ 1018656 h 1029876"/>
                  <a:gd name="connsiteX1" fmla="*/ 787424 w 793446"/>
                  <a:gd name="connsiteY1" fmla="*/ 54345 h 1029876"/>
                  <a:gd name="connsiteX2" fmla="*/ 774090 w 793446"/>
                  <a:gd name="connsiteY2" fmla="*/ 4224 h 1029876"/>
                  <a:gd name="connsiteX3" fmla="*/ 773804 w 793446"/>
                  <a:gd name="connsiteY3" fmla="*/ 4053 h 1029876"/>
                  <a:gd name="connsiteX4" fmla="*/ 723893 w 793446"/>
                  <a:gd name="connsiteY4" fmla="*/ 18817 h 1029876"/>
                  <a:gd name="connsiteX5" fmla="*/ 9518 w 793446"/>
                  <a:gd name="connsiteY5" fmla="*/ 967507 h 1029876"/>
                  <a:gd name="connsiteX6" fmla="*/ 9518 w 793446"/>
                  <a:gd name="connsiteY6" fmla="*/ 1019513 h 1029876"/>
                  <a:gd name="connsiteX7" fmla="*/ 9518 w 793446"/>
                  <a:gd name="connsiteY7" fmla="*/ 1019513 h 1029876"/>
                  <a:gd name="connsiteX8" fmla="*/ 60858 w 793446"/>
                  <a:gd name="connsiteY8" fmla="*/ 1018656 h 1029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93446" h="1029876">
                    <a:moveTo>
                      <a:pt x="60858" y="1018656"/>
                    </a:moveTo>
                    <a:cubicBezTo>
                      <a:pt x="345559" y="731563"/>
                      <a:pt x="589971" y="407161"/>
                      <a:pt x="787424" y="54345"/>
                    </a:cubicBezTo>
                    <a:cubicBezTo>
                      <a:pt x="797616" y="36829"/>
                      <a:pt x="791616" y="14388"/>
                      <a:pt x="774090" y="4224"/>
                    </a:cubicBezTo>
                    <a:cubicBezTo>
                      <a:pt x="773995" y="4167"/>
                      <a:pt x="773899" y="4110"/>
                      <a:pt x="773804" y="4053"/>
                    </a:cubicBezTo>
                    <a:cubicBezTo>
                      <a:pt x="755897" y="-5453"/>
                      <a:pt x="733703" y="1119"/>
                      <a:pt x="723893" y="18817"/>
                    </a:cubicBezTo>
                    <a:cubicBezTo>
                      <a:pt x="529773" y="365879"/>
                      <a:pt x="289458" y="685024"/>
                      <a:pt x="9518" y="967507"/>
                    </a:cubicBezTo>
                    <a:cubicBezTo>
                      <a:pt x="-4579" y="981975"/>
                      <a:pt x="-4579" y="1005045"/>
                      <a:pt x="9518" y="1019513"/>
                    </a:cubicBezTo>
                    <a:lnTo>
                      <a:pt x="9518" y="1019513"/>
                    </a:lnTo>
                    <a:cubicBezTo>
                      <a:pt x="23996" y="1033258"/>
                      <a:pt x="46855" y="1032877"/>
                      <a:pt x="60858" y="10186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0" name="Freeform: Shape 249">
                <a:extLst>
                  <a:ext uri="{FF2B5EF4-FFF2-40B4-BE49-F238E27FC236}">
                    <a16:creationId xmlns:a16="http://schemas.microsoft.com/office/drawing/2014/main" id="{7A007415-D3B0-42A5-9108-F9100C753692}"/>
                  </a:ext>
                </a:extLst>
              </p:cNvPr>
              <p:cNvSpPr/>
              <p:nvPr/>
            </p:nvSpPr>
            <p:spPr>
              <a:xfrm>
                <a:off x="8546983" y="3211077"/>
                <a:ext cx="377986" cy="675483"/>
              </a:xfrm>
              <a:custGeom>
                <a:avLst/>
                <a:gdLst>
                  <a:gd name="connsiteX0" fmla="*/ 66615 w 377986"/>
                  <a:gd name="connsiteY0" fmla="*/ 655992 h 675483"/>
                  <a:gd name="connsiteX1" fmla="*/ 230541 w 377986"/>
                  <a:gd name="connsiteY1" fmla="*/ 360717 h 675483"/>
                  <a:gd name="connsiteX2" fmla="*/ 372368 w 377986"/>
                  <a:gd name="connsiteY2" fmla="*/ 53726 h 675483"/>
                  <a:gd name="connsiteX3" fmla="*/ 358176 w 377986"/>
                  <a:gd name="connsiteY3" fmla="*/ 4263 h 675483"/>
                  <a:gd name="connsiteX4" fmla="*/ 308741 w 377986"/>
                  <a:gd name="connsiteY4" fmla="*/ 18455 h 675483"/>
                  <a:gd name="connsiteX5" fmla="*/ 305693 w 377986"/>
                  <a:gd name="connsiteY5" fmla="*/ 25627 h 675483"/>
                  <a:gd name="connsiteX6" fmla="*/ 166056 w 377986"/>
                  <a:gd name="connsiteY6" fmla="*/ 327761 h 675483"/>
                  <a:gd name="connsiteX7" fmla="*/ 4702 w 377986"/>
                  <a:gd name="connsiteY7" fmla="*/ 618749 h 675483"/>
                  <a:gd name="connsiteX8" fmla="*/ 15752 w 377986"/>
                  <a:gd name="connsiteY8" fmla="*/ 670470 h 675483"/>
                  <a:gd name="connsiteX9" fmla="*/ 66615 w 377986"/>
                  <a:gd name="connsiteY9" fmla="*/ 655992 h 67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7986" h="675483">
                    <a:moveTo>
                      <a:pt x="66615" y="655992"/>
                    </a:moveTo>
                    <a:cubicBezTo>
                      <a:pt x="124908" y="559504"/>
                      <a:pt x="179201" y="460634"/>
                      <a:pt x="230541" y="360717"/>
                    </a:cubicBezTo>
                    <a:cubicBezTo>
                      <a:pt x="281881" y="260800"/>
                      <a:pt x="328457" y="157548"/>
                      <a:pt x="372368" y="53726"/>
                    </a:cubicBezTo>
                    <a:cubicBezTo>
                      <a:pt x="382083" y="36152"/>
                      <a:pt x="375797" y="14007"/>
                      <a:pt x="358176" y="4263"/>
                    </a:cubicBezTo>
                    <a:cubicBezTo>
                      <a:pt x="340554" y="-5472"/>
                      <a:pt x="318456" y="881"/>
                      <a:pt x="308741" y="18455"/>
                    </a:cubicBezTo>
                    <a:cubicBezTo>
                      <a:pt x="307407" y="20732"/>
                      <a:pt x="306455" y="23132"/>
                      <a:pt x="305693" y="25627"/>
                    </a:cubicBezTo>
                    <a:cubicBezTo>
                      <a:pt x="262449" y="127830"/>
                      <a:pt x="216444" y="228891"/>
                      <a:pt x="166056" y="327761"/>
                    </a:cubicBezTo>
                    <a:cubicBezTo>
                      <a:pt x="115669" y="426630"/>
                      <a:pt x="62138" y="523785"/>
                      <a:pt x="4702" y="618749"/>
                    </a:cubicBezTo>
                    <a:cubicBezTo>
                      <a:pt x="-6155" y="636151"/>
                      <a:pt x="-1203" y="659011"/>
                      <a:pt x="15752" y="670470"/>
                    </a:cubicBezTo>
                    <a:cubicBezTo>
                      <a:pt x="33754" y="680490"/>
                      <a:pt x="56519" y="674013"/>
                      <a:pt x="66615" y="6559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1" name="Freeform: Shape 250">
                <a:extLst>
                  <a:ext uri="{FF2B5EF4-FFF2-40B4-BE49-F238E27FC236}">
                    <a16:creationId xmlns:a16="http://schemas.microsoft.com/office/drawing/2014/main" id="{33E5D287-A73C-4568-A9AE-F0624C76A868}"/>
                  </a:ext>
                </a:extLst>
              </p:cNvPr>
              <p:cNvSpPr/>
              <p:nvPr/>
            </p:nvSpPr>
            <p:spPr>
              <a:xfrm>
                <a:off x="8122852" y="3989012"/>
                <a:ext cx="384687" cy="487592"/>
              </a:xfrm>
              <a:custGeom>
                <a:avLst/>
                <a:gdLst>
                  <a:gd name="connsiteX0" fmla="*/ 63835 w 384687"/>
                  <a:gd name="connsiteY0" fmla="*/ 473084 h 487592"/>
                  <a:gd name="connsiteX1" fmla="*/ 375970 w 384687"/>
                  <a:gd name="connsiteY1" fmla="*/ 58556 h 487592"/>
                  <a:gd name="connsiteX2" fmla="*/ 369492 w 384687"/>
                  <a:gd name="connsiteY2" fmla="*/ 7368 h 487592"/>
                  <a:gd name="connsiteX3" fmla="*/ 318343 w 384687"/>
                  <a:gd name="connsiteY3" fmla="*/ 13808 h 487592"/>
                  <a:gd name="connsiteX4" fmla="*/ 315486 w 384687"/>
                  <a:gd name="connsiteY4" fmla="*/ 18075 h 487592"/>
                  <a:gd name="connsiteX5" fmla="*/ 8209 w 384687"/>
                  <a:gd name="connsiteY5" fmla="*/ 426221 h 487592"/>
                  <a:gd name="connsiteX6" fmla="*/ 11162 w 384687"/>
                  <a:gd name="connsiteY6" fmla="*/ 479085 h 487592"/>
                  <a:gd name="connsiteX7" fmla="*/ 63644 w 384687"/>
                  <a:gd name="connsiteY7" fmla="*/ 473313 h 487592"/>
                  <a:gd name="connsiteX8" fmla="*/ 63835 w 384687"/>
                  <a:gd name="connsiteY8" fmla="*/ 473084 h 487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4687" h="487592">
                    <a:moveTo>
                      <a:pt x="63835" y="473084"/>
                    </a:moveTo>
                    <a:cubicBezTo>
                      <a:pt x="175659" y="340953"/>
                      <a:pt x="279863" y="202545"/>
                      <a:pt x="375970" y="58556"/>
                    </a:cubicBezTo>
                    <a:cubicBezTo>
                      <a:pt x="388351" y="42640"/>
                      <a:pt x="385399" y="19722"/>
                      <a:pt x="369492" y="7368"/>
                    </a:cubicBezTo>
                    <a:cubicBezTo>
                      <a:pt x="353586" y="-4985"/>
                      <a:pt x="330726" y="-2109"/>
                      <a:pt x="318343" y="13808"/>
                    </a:cubicBezTo>
                    <a:cubicBezTo>
                      <a:pt x="317295" y="15160"/>
                      <a:pt x="316343" y="16589"/>
                      <a:pt x="315486" y="18075"/>
                    </a:cubicBezTo>
                    <a:cubicBezTo>
                      <a:pt x="220902" y="159864"/>
                      <a:pt x="118318" y="296129"/>
                      <a:pt x="8209" y="426221"/>
                    </a:cubicBezTo>
                    <a:cubicBezTo>
                      <a:pt x="-5221" y="441756"/>
                      <a:pt x="-3887" y="465140"/>
                      <a:pt x="11162" y="479085"/>
                    </a:cubicBezTo>
                    <a:cubicBezTo>
                      <a:pt x="27259" y="491982"/>
                      <a:pt x="50786" y="489400"/>
                      <a:pt x="63644" y="473313"/>
                    </a:cubicBezTo>
                    <a:cubicBezTo>
                      <a:pt x="63740" y="473237"/>
                      <a:pt x="63740" y="473160"/>
                      <a:pt x="63835" y="47308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2" name="Freeform: Shape 251">
                <a:extLst>
                  <a:ext uri="{FF2B5EF4-FFF2-40B4-BE49-F238E27FC236}">
                    <a16:creationId xmlns:a16="http://schemas.microsoft.com/office/drawing/2014/main" id="{19682F97-0182-4BB2-8C91-59C379F87D1F}"/>
                  </a:ext>
                </a:extLst>
              </p:cNvPr>
              <p:cNvSpPr/>
              <p:nvPr/>
            </p:nvSpPr>
            <p:spPr>
              <a:xfrm>
                <a:off x="8058502" y="3995643"/>
                <a:ext cx="626968" cy="782162"/>
              </a:xfrm>
              <a:custGeom>
                <a:avLst/>
                <a:gdLst>
                  <a:gd name="connsiteX0" fmla="*/ 63319 w 626968"/>
                  <a:gd name="connsiteY0" fmla="*/ 768490 h 782162"/>
                  <a:gd name="connsiteX1" fmla="*/ 619104 w 626968"/>
                  <a:gd name="connsiteY1" fmla="*/ 58116 h 782162"/>
                  <a:gd name="connsiteX2" fmla="*/ 609579 w 626968"/>
                  <a:gd name="connsiteY2" fmla="*/ 4586 h 782162"/>
                  <a:gd name="connsiteX3" fmla="*/ 557858 w 626968"/>
                  <a:gd name="connsiteY3" fmla="*/ 18873 h 782162"/>
                  <a:gd name="connsiteX4" fmla="*/ 10456 w 626968"/>
                  <a:gd name="connsiteY4" fmla="*/ 718675 h 782162"/>
                  <a:gd name="connsiteX5" fmla="*/ 9313 w 626968"/>
                  <a:gd name="connsiteY5" fmla="*/ 772491 h 782162"/>
                  <a:gd name="connsiteX6" fmla="*/ 63035 w 626968"/>
                  <a:gd name="connsiteY6" fmla="*/ 768786 h 782162"/>
                  <a:gd name="connsiteX7" fmla="*/ 63319 w 626968"/>
                  <a:gd name="connsiteY7" fmla="*/ 768490 h 782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6968" h="782162">
                    <a:moveTo>
                      <a:pt x="63319" y="768490"/>
                    </a:moveTo>
                    <a:cubicBezTo>
                      <a:pt x="270488" y="549701"/>
                      <a:pt x="456607" y="311852"/>
                      <a:pt x="619104" y="58116"/>
                    </a:cubicBezTo>
                    <a:cubicBezTo>
                      <a:pt x="631106" y="40666"/>
                      <a:pt x="626819" y="16834"/>
                      <a:pt x="609579" y="4586"/>
                    </a:cubicBezTo>
                    <a:cubicBezTo>
                      <a:pt x="591386" y="-5654"/>
                      <a:pt x="568240" y="718"/>
                      <a:pt x="557858" y="18873"/>
                    </a:cubicBezTo>
                    <a:cubicBezTo>
                      <a:pt x="397743" y="268809"/>
                      <a:pt x="214481" y="503105"/>
                      <a:pt x="10456" y="718675"/>
                    </a:cubicBezTo>
                    <a:cubicBezTo>
                      <a:pt x="-4403" y="733343"/>
                      <a:pt x="-4974" y="757203"/>
                      <a:pt x="9313" y="772491"/>
                    </a:cubicBezTo>
                    <a:cubicBezTo>
                      <a:pt x="25219" y="786312"/>
                      <a:pt x="49223" y="784654"/>
                      <a:pt x="63035" y="768786"/>
                    </a:cubicBezTo>
                    <a:cubicBezTo>
                      <a:pt x="63130" y="768690"/>
                      <a:pt x="63225" y="768586"/>
                      <a:pt x="63319" y="76849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3" name="Freeform: Shape 252">
                <a:extLst>
                  <a:ext uri="{FF2B5EF4-FFF2-40B4-BE49-F238E27FC236}">
                    <a16:creationId xmlns:a16="http://schemas.microsoft.com/office/drawing/2014/main" id="{CA3864DD-156E-40C3-87C2-E336D846F312}"/>
                  </a:ext>
                </a:extLst>
              </p:cNvPr>
              <p:cNvSpPr/>
              <p:nvPr/>
            </p:nvSpPr>
            <p:spPr>
              <a:xfrm>
                <a:off x="8716920" y="3520712"/>
                <a:ext cx="235287" cy="377479"/>
              </a:xfrm>
              <a:custGeom>
                <a:avLst/>
                <a:gdLst>
                  <a:gd name="connsiteX0" fmla="*/ 68795 w 235287"/>
                  <a:gd name="connsiteY0" fmla="*/ 355406 h 377479"/>
                  <a:gd name="connsiteX1" fmla="*/ 110801 w 235287"/>
                  <a:gd name="connsiteY1" fmla="*/ 281206 h 377479"/>
                  <a:gd name="connsiteX2" fmla="*/ 151757 w 235287"/>
                  <a:gd name="connsiteY2" fmla="*/ 206244 h 377479"/>
                  <a:gd name="connsiteX3" fmla="*/ 191382 w 235287"/>
                  <a:gd name="connsiteY3" fmla="*/ 130711 h 377479"/>
                  <a:gd name="connsiteX4" fmla="*/ 229482 w 235287"/>
                  <a:gd name="connsiteY4" fmla="*/ 54511 h 377479"/>
                  <a:gd name="connsiteX5" fmla="*/ 214527 w 235287"/>
                  <a:gd name="connsiteY5" fmla="*/ 2752 h 377479"/>
                  <a:gd name="connsiteX6" fmla="*/ 214242 w 235287"/>
                  <a:gd name="connsiteY6" fmla="*/ 2600 h 377479"/>
                  <a:gd name="connsiteX7" fmla="*/ 164140 w 235287"/>
                  <a:gd name="connsiteY7" fmla="*/ 22507 h 377479"/>
                  <a:gd name="connsiteX8" fmla="*/ 126707 w 235287"/>
                  <a:gd name="connsiteY8" fmla="*/ 97850 h 377479"/>
                  <a:gd name="connsiteX9" fmla="*/ 87654 w 235287"/>
                  <a:gd name="connsiteY9" fmla="*/ 172240 h 377479"/>
                  <a:gd name="connsiteX10" fmla="*/ 47364 w 235287"/>
                  <a:gd name="connsiteY10" fmla="*/ 245964 h 377479"/>
                  <a:gd name="connsiteX11" fmla="*/ 5930 w 235287"/>
                  <a:gd name="connsiteY11" fmla="*/ 319115 h 377479"/>
                  <a:gd name="connsiteX12" fmla="*/ 14026 w 235287"/>
                  <a:gd name="connsiteY12" fmla="*/ 370198 h 377479"/>
                  <a:gd name="connsiteX13" fmla="*/ 65080 w 235287"/>
                  <a:gd name="connsiteY13" fmla="*/ 362092 h 377479"/>
                  <a:gd name="connsiteX14" fmla="*/ 68890 w 235287"/>
                  <a:gd name="connsiteY14" fmla="*/ 355596 h 377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35287" h="377479">
                    <a:moveTo>
                      <a:pt x="68795" y="355406"/>
                    </a:moveTo>
                    <a:cubicBezTo>
                      <a:pt x="83464" y="331117"/>
                      <a:pt x="96798" y="305876"/>
                      <a:pt x="110801" y="281206"/>
                    </a:cubicBezTo>
                    <a:cubicBezTo>
                      <a:pt x="124802" y="256536"/>
                      <a:pt x="138613" y="231581"/>
                      <a:pt x="151757" y="206244"/>
                    </a:cubicBezTo>
                    <a:lnTo>
                      <a:pt x="191382" y="130711"/>
                    </a:lnTo>
                    <a:lnTo>
                      <a:pt x="229482" y="54511"/>
                    </a:lnTo>
                    <a:cubicBezTo>
                      <a:pt x="239673" y="36080"/>
                      <a:pt x="232911" y="12906"/>
                      <a:pt x="214527" y="2752"/>
                    </a:cubicBezTo>
                    <a:cubicBezTo>
                      <a:pt x="214433" y="2695"/>
                      <a:pt x="214337" y="2648"/>
                      <a:pt x="214242" y="2600"/>
                    </a:cubicBezTo>
                    <a:cubicBezTo>
                      <a:pt x="194906" y="-5306"/>
                      <a:pt x="172807" y="3485"/>
                      <a:pt x="164140" y="22507"/>
                    </a:cubicBezTo>
                    <a:lnTo>
                      <a:pt x="126707" y="97850"/>
                    </a:lnTo>
                    <a:lnTo>
                      <a:pt x="87654" y="172240"/>
                    </a:lnTo>
                    <a:cubicBezTo>
                      <a:pt x="74796" y="197100"/>
                      <a:pt x="61079" y="221580"/>
                      <a:pt x="47364" y="245964"/>
                    </a:cubicBezTo>
                    <a:cubicBezTo>
                      <a:pt x="33647" y="270348"/>
                      <a:pt x="20407" y="295112"/>
                      <a:pt x="5930" y="319115"/>
                    </a:cubicBezTo>
                    <a:cubicBezTo>
                      <a:pt x="-5976" y="335460"/>
                      <a:pt x="-2261" y="358330"/>
                      <a:pt x="14026" y="370198"/>
                    </a:cubicBezTo>
                    <a:cubicBezTo>
                      <a:pt x="30409" y="382066"/>
                      <a:pt x="53269" y="378437"/>
                      <a:pt x="65080" y="362092"/>
                    </a:cubicBezTo>
                    <a:cubicBezTo>
                      <a:pt x="66605" y="360064"/>
                      <a:pt x="67843" y="357882"/>
                      <a:pt x="68890" y="35559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4" name="Freeform: Shape 253">
                <a:extLst>
                  <a:ext uri="{FF2B5EF4-FFF2-40B4-BE49-F238E27FC236}">
                    <a16:creationId xmlns:a16="http://schemas.microsoft.com/office/drawing/2014/main" id="{D361C41B-4F9B-4463-A9EC-86BBD536279E}"/>
                  </a:ext>
                </a:extLst>
              </p:cNvPr>
              <p:cNvSpPr/>
              <p:nvPr/>
            </p:nvSpPr>
            <p:spPr>
              <a:xfrm>
                <a:off x="7626999" y="4878732"/>
                <a:ext cx="330690" cy="300731"/>
              </a:xfrm>
              <a:custGeom>
                <a:avLst/>
                <a:gdLst>
                  <a:gd name="connsiteX0" fmla="*/ 60578 w 330690"/>
                  <a:gd name="connsiteY0" fmla="*/ 290786 h 300731"/>
                  <a:gd name="connsiteX1" fmla="*/ 315944 w 330690"/>
                  <a:gd name="connsiteY1" fmla="*/ 64662 h 300731"/>
                  <a:gd name="connsiteX2" fmla="*/ 321659 w 330690"/>
                  <a:gd name="connsiteY2" fmla="*/ 13389 h 300731"/>
                  <a:gd name="connsiteX3" fmla="*/ 270319 w 330690"/>
                  <a:gd name="connsiteY3" fmla="*/ 7703 h 300731"/>
                  <a:gd name="connsiteX4" fmla="*/ 265842 w 330690"/>
                  <a:gd name="connsiteY4" fmla="*/ 11989 h 300731"/>
                  <a:gd name="connsiteX5" fmla="*/ 14287 w 330690"/>
                  <a:gd name="connsiteY5" fmla="*/ 234589 h 300731"/>
                  <a:gd name="connsiteX6" fmla="*/ 6382 w 330690"/>
                  <a:gd name="connsiteY6" fmla="*/ 287738 h 300731"/>
                  <a:gd name="connsiteX7" fmla="*/ 6382 w 330690"/>
                  <a:gd name="connsiteY7" fmla="*/ 287738 h 300731"/>
                  <a:gd name="connsiteX8" fmla="*/ 60578 w 330690"/>
                  <a:gd name="connsiteY8" fmla="*/ 290786 h 300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0690" h="300731">
                    <a:moveTo>
                      <a:pt x="60578" y="290786"/>
                    </a:moveTo>
                    <a:cubicBezTo>
                      <a:pt x="148018" y="218110"/>
                      <a:pt x="233457" y="142958"/>
                      <a:pt x="315944" y="64662"/>
                    </a:cubicBezTo>
                    <a:cubicBezTo>
                      <a:pt x="331659" y="52071"/>
                      <a:pt x="334231" y="29115"/>
                      <a:pt x="321659" y="13389"/>
                    </a:cubicBezTo>
                    <a:cubicBezTo>
                      <a:pt x="309085" y="-2346"/>
                      <a:pt x="286035" y="-4889"/>
                      <a:pt x="270319" y="7703"/>
                    </a:cubicBezTo>
                    <a:cubicBezTo>
                      <a:pt x="268699" y="8998"/>
                      <a:pt x="267176" y="10437"/>
                      <a:pt x="265842" y="11989"/>
                    </a:cubicBezTo>
                    <a:cubicBezTo>
                      <a:pt x="184499" y="89018"/>
                      <a:pt x="100678" y="163217"/>
                      <a:pt x="14287" y="234589"/>
                    </a:cubicBezTo>
                    <a:cubicBezTo>
                      <a:pt x="-2477" y="247114"/>
                      <a:pt x="-6097" y="270860"/>
                      <a:pt x="6382" y="287738"/>
                    </a:cubicBezTo>
                    <a:lnTo>
                      <a:pt x="6382" y="287738"/>
                    </a:lnTo>
                    <a:cubicBezTo>
                      <a:pt x="20574" y="303397"/>
                      <a:pt x="44672" y="304750"/>
                      <a:pt x="60578" y="29078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5" name="Freeform: Shape 254">
                <a:extLst>
                  <a:ext uri="{FF2B5EF4-FFF2-40B4-BE49-F238E27FC236}">
                    <a16:creationId xmlns:a16="http://schemas.microsoft.com/office/drawing/2014/main" id="{14A3B7C1-B3C9-4E98-B040-BE641E5338C8}"/>
                  </a:ext>
                </a:extLst>
              </p:cNvPr>
              <p:cNvSpPr/>
              <p:nvPr/>
            </p:nvSpPr>
            <p:spPr>
              <a:xfrm>
                <a:off x="6275525" y="5753582"/>
                <a:ext cx="391748" cy="205246"/>
              </a:xfrm>
              <a:custGeom>
                <a:avLst/>
                <a:gdLst>
                  <a:gd name="connsiteX0" fmla="*/ 50741 w 391748"/>
                  <a:gd name="connsiteY0" fmla="*/ 201843 h 205246"/>
                  <a:gd name="connsiteX1" fmla="*/ 366018 w 391748"/>
                  <a:gd name="connsiteY1" fmla="*/ 70874 h 205246"/>
                  <a:gd name="connsiteX2" fmla="*/ 388687 w 391748"/>
                  <a:gd name="connsiteY2" fmla="*/ 24402 h 205246"/>
                  <a:gd name="connsiteX3" fmla="*/ 342301 w 391748"/>
                  <a:gd name="connsiteY3" fmla="*/ 1694 h 205246"/>
                  <a:gd name="connsiteX4" fmla="*/ 335728 w 391748"/>
                  <a:gd name="connsiteY4" fmla="*/ 4676 h 205246"/>
                  <a:gd name="connsiteX5" fmla="*/ 25213 w 391748"/>
                  <a:gd name="connsiteY5" fmla="*/ 133644 h 205246"/>
                  <a:gd name="connsiteX6" fmla="*/ 639 w 391748"/>
                  <a:gd name="connsiteY6" fmla="*/ 181746 h 205246"/>
                  <a:gd name="connsiteX7" fmla="*/ 50645 w 391748"/>
                  <a:gd name="connsiteY7" fmla="*/ 201901 h 205246"/>
                  <a:gd name="connsiteX8" fmla="*/ 50741 w 391748"/>
                  <a:gd name="connsiteY8" fmla="*/ 201843 h 205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1748" h="205246">
                    <a:moveTo>
                      <a:pt x="50741" y="201843"/>
                    </a:moveTo>
                    <a:cubicBezTo>
                      <a:pt x="157611" y="162505"/>
                      <a:pt x="262386" y="117833"/>
                      <a:pt x="366018" y="70874"/>
                    </a:cubicBezTo>
                    <a:cubicBezTo>
                      <a:pt x="385163" y="64312"/>
                      <a:pt x="395259" y="43509"/>
                      <a:pt x="388687" y="24402"/>
                    </a:cubicBezTo>
                    <a:cubicBezTo>
                      <a:pt x="382210" y="5295"/>
                      <a:pt x="361351" y="-4868"/>
                      <a:pt x="342301" y="1694"/>
                    </a:cubicBezTo>
                    <a:cubicBezTo>
                      <a:pt x="340015" y="2466"/>
                      <a:pt x="337823" y="3466"/>
                      <a:pt x="335728" y="4676"/>
                    </a:cubicBezTo>
                    <a:cubicBezTo>
                      <a:pt x="233620" y="50968"/>
                      <a:pt x="130465" y="94973"/>
                      <a:pt x="25213" y="133644"/>
                    </a:cubicBezTo>
                    <a:cubicBezTo>
                      <a:pt x="5401" y="140436"/>
                      <a:pt x="-5457" y="161705"/>
                      <a:pt x="639" y="181746"/>
                    </a:cubicBezTo>
                    <a:cubicBezTo>
                      <a:pt x="8830" y="201110"/>
                      <a:pt x="31214" y="210130"/>
                      <a:pt x="50645" y="201901"/>
                    </a:cubicBezTo>
                    <a:cubicBezTo>
                      <a:pt x="50645" y="201882"/>
                      <a:pt x="50741" y="201862"/>
                      <a:pt x="50741" y="20184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6" name="Freeform: Shape 255">
                <a:extLst>
                  <a:ext uri="{FF2B5EF4-FFF2-40B4-BE49-F238E27FC236}">
                    <a16:creationId xmlns:a16="http://schemas.microsoft.com/office/drawing/2014/main" id="{2DD37017-331C-46D1-85F4-263F40D08198}"/>
                  </a:ext>
                </a:extLst>
              </p:cNvPr>
              <p:cNvSpPr/>
              <p:nvPr/>
            </p:nvSpPr>
            <p:spPr>
              <a:xfrm>
                <a:off x="6326765" y="4565184"/>
                <a:ext cx="827634" cy="542926"/>
              </a:xfrm>
              <a:custGeom>
                <a:avLst/>
                <a:gdLst>
                  <a:gd name="connsiteX0" fmla="*/ 49029 w 827634"/>
                  <a:gd name="connsiteY0" fmla="*/ 540136 h 542926"/>
                  <a:gd name="connsiteX1" fmla="*/ 444983 w 827634"/>
                  <a:gd name="connsiteY1" fmla="*/ 323252 h 542926"/>
                  <a:gd name="connsiteX2" fmla="*/ 814363 w 827634"/>
                  <a:gd name="connsiteY2" fmla="*/ 63410 h 542926"/>
                  <a:gd name="connsiteX3" fmla="*/ 817316 w 827634"/>
                  <a:gd name="connsiteY3" fmla="*/ 11898 h 542926"/>
                  <a:gd name="connsiteX4" fmla="*/ 769214 w 827634"/>
                  <a:gd name="connsiteY4" fmla="*/ 6259 h 542926"/>
                  <a:gd name="connsiteX5" fmla="*/ 406121 w 827634"/>
                  <a:gd name="connsiteY5" fmla="*/ 261529 h 542926"/>
                  <a:gd name="connsiteX6" fmla="*/ 17406 w 827634"/>
                  <a:gd name="connsiteY6" fmla="*/ 474413 h 542926"/>
                  <a:gd name="connsiteX7" fmla="*/ 3690 w 827634"/>
                  <a:gd name="connsiteY7" fmla="*/ 524143 h 542926"/>
                  <a:gd name="connsiteX8" fmla="*/ 48648 w 827634"/>
                  <a:gd name="connsiteY8" fmla="*/ 540136 h 542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27634" h="542926">
                    <a:moveTo>
                      <a:pt x="49029" y="540136"/>
                    </a:moveTo>
                    <a:cubicBezTo>
                      <a:pt x="185047" y="475509"/>
                      <a:pt x="317254" y="403090"/>
                      <a:pt x="444983" y="323252"/>
                    </a:cubicBezTo>
                    <a:cubicBezTo>
                      <a:pt x="572904" y="243699"/>
                      <a:pt x="696253" y="156945"/>
                      <a:pt x="814363" y="63410"/>
                    </a:cubicBezTo>
                    <a:cubicBezTo>
                      <a:pt x="829412" y="49998"/>
                      <a:pt x="830746" y="26938"/>
                      <a:pt x="817316" y="11898"/>
                    </a:cubicBezTo>
                    <a:cubicBezTo>
                      <a:pt x="805029" y="-1884"/>
                      <a:pt x="784359" y="-4304"/>
                      <a:pt x="769214" y="6259"/>
                    </a:cubicBezTo>
                    <a:cubicBezTo>
                      <a:pt x="653105" y="98147"/>
                      <a:pt x="531851" y="183367"/>
                      <a:pt x="406121" y="261529"/>
                    </a:cubicBezTo>
                    <a:cubicBezTo>
                      <a:pt x="280677" y="339854"/>
                      <a:pt x="150946" y="410929"/>
                      <a:pt x="17406" y="474413"/>
                    </a:cubicBezTo>
                    <a:cubicBezTo>
                      <a:pt x="-120" y="484357"/>
                      <a:pt x="-6216" y="506627"/>
                      <a:pt x="3690" y="524143"/>
                    </a:cubicBezTo>
                    <a:cubicBezTo>
                      <a:pt x="12643" y="539898"/>
                      <a:pt x="31788" y="546708"/>
                      <a:pt x="48648" y="54013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7" name="Freeform: Shape 256">
                <a:extLst>
                  <a:ext uri="{FF2B5EF4-FFF2-40B4-BE49-F238E27FC236}">
                    <a16:creationId xmlns:a16="http://schemas.microsoft.com/office/drawing/2014/main" id="{48F8FCB4-048C-44C9-A59E-40B7C016AEB9}"/>
                  </a:ext>
                </a:extLst>
              </p:cNvPr>
              <p:cNvSpPr/>
              <p:nvPr/>
            </p:nvSpPr>
            <p:spPr>
              <a:xfrm>
                <a:off x="6835137" y="4652391"/>
                <a:ext cx="454969" cy="348348"/>
              </a:xfrm>
              <a:custGeom>
                <a:avLst/>
                <a:gdLst>
                  <a:gd name="connsiteX0" fmla="*/ 53960 w 454969"/>
                  <a:gd name="connsiteY0" fmla="*/ 343010 h 348348"/>
                  <a:gd name="connsiteX1" fmla="*/ 441247 w 454969"/>
                  <a:gd name="connsiteY1" fmla="*/ 63450 h 348348"/>
                  <a:gd name="connsiteX2" fmla="*/ 445723 w 454969"/>
                  <a:gd name="connsiteY2" fmla="*/ 13816 h 348348"/>
                  <a:gd name="connsiteX3" fmla="*/ 445342 w 454969"/>
                  <a:gd name="connsiteY3" fmla="*/ 13349 h 348348"/>
                  <a:gd name="connsiteX4" fmla="*/ 395431 w 454969"/>
                  <a:gd name="connsiteY4" fmla="*/ 6967 h 348348"/>
                  <a:gd name="connsiteX5" fmla="*/ 14431 w 454969"/>
                  <a:gd name="connsiteY5" fmla="*/ 281669 h 348348"/>
                  <a:gd name="connsiteX6" fmla="*/ 4906 w 454969"/>
                  <a:gd name="connsiteY6" fmla="*/ 330722 h 348348"/>
                  <a:gd name="connsiteX7" fmla="*/ 53960 w 454969"/>
                  <a:gd name="connsiteY7" fmla="*/ 343010 h 348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4969" h="348348">
                    <a:moveTo>
                      <a:pt x="53960" y="343010"/>
                    </a:moveTo>
                    <a:cubicBezTo>
                      <a:pt x="188262" y="257228"/>
                      <a:pt x="317516" y="163892"/>
                      <a:pt x="441247" y="63450"/>
                    </a:cubicBezTo>
                    <a:cubicBezTo>
                      <a:pt x="456200" y="50983"/>
                      <a:pt x="458200" y="28761"/>
                      <a:pt x="445723" y="13816"/>
                    </a:cubicBezTo>
                    <a:cubicBezTo>
                      <a:pt x="445628" y="13654"/>
                      <a:pt x="445437" y="13502"/>
                      <a:pt x="445342" y="13349"/>
                    </a:cubicBezTo>
                    <a:cubicBezTo>
                      <a:pt x="433245" y="-1976"/>
                      <a:pt x="411052" y="-4815"/>
                      <a:pt x="395431" y="6967"/>
                    </a:cubicBezTo>
                    <a:cubicBezTo>
                      <a:pt x="273701" y="105647"/>
                      <a:pt x="146542" y="197353"/>
                      <a:pt x="14431" y="281669"/>
                    </a:cubicBezTo>
                    <a:cubicBezTo>
                      <a:pt x="-1666" y="292651"/>
                      <a:pt x="-5858" y="314520"/>
                      <a:pt x="4906" y="330722"/>
                    </a:cubicBezTo>
                    <a:cubicBezTo>
                      <a:pt x="15097" y="347591"/>
                      <a:pt x="37005" y="353078"/>
                      <a:pt x="53960" y="3430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8" name="Freeform: Shape 257">
                <a:extLst>
                  <a:ext uri="{FF2B5EF4-FFF2-40B4-BE49-F238E27FC236}">
                    <a16:creationId xmlns:a16="http://schemas.microsoft.com/office/drawing/2014/main" id="{F509C319-E75A-461A-9EF4-5F979E012783}"/>
                  </a:ext>
                </a:extLst>
              </p:cNvPr>
              <p:cNvSpPr/>
              <p:nvPr/>
            </p:nvSpPr>
            <p:spPr>
              <a:xfrm>
                <a:off x="6182780" y="4995279"/>
                <a:ext cx="615206" cy="343822"/>
              </a:xfrm>
              <a:custGeom>
                <a:avLst/>
                <a:gdLst>
                  <a:gd name="connsiteX0" fmla="*/ 47758 w 615206"/>
                  <a:gd name="connsiteY0" fmla="*/ 341212 h 343822"/>
                  <a:gd name="connsiteX1" fmla="*/ 188918 w 615206"/>
                  <a:gd name="connsiteY1" fmla="*/ 280538 h 343822"/>
                  <a:gd name="connsiteX2" fmla="*/ 327603 w 615206"/>
                  <a:gd name="connsiteY2" fmla="*/ 213863 h 343822"/>
                  <a:gd name="connsiteX3" fmla="*/ 597350 w 615206"/>
                  <a:gd name="connsiteY3" fmla="*/ 66606 h 343822"/>
                  <a:gd name="connsiteX4" fmla="*/ 608876 w 615206"/>
                  <a:gd name="connsiteY4" fmla="*/ 17981 h 343822"/>
                  <a:gd name="connsiteX5" fmla="*/ 608686 w 615206"/>
                  <a:gd name="connsiteY5" fmla="*/ 17647 h 343822"/>
                  <a:gd name="connsiteX6" fmla="*/ 560108 w 615206"/>
                  <a:gd name="connsiteY6" fmla="*/ 4122 h 343822"/>
                  <a:gd name="connsiteX7" fmla="*/ 295122 w 615206"/>
                  <a:gd name="connsiteY7" fmla="*/ 148807 h 343822"/>
                  <a:gd name="connsiteX8" fmla="*/ 158915 w 615206"/>
                  <a:gd name="connsiteY8" fmla="*/ 213958 h 343822"/>
                  <a:gd name="connsiteX9" fmla="*/ 20135 w 615206"/>
                  <a:gd name="connsiteY9" fmla="*/ 273489 h 343822"/>
                  <a:gd name="connsiteX10" fmla="*/ 1753 w 615206"/>
                  <a:gd name="connsiteY10" fmla="*/ 320257 h 343822"/>
                  <a:gd name="connsiteX11" fmla="*/ 1753 w 615206"/>
                  <a:gd name="connsiteY11" fmla="*/ 320257 h 343822"/>
                  <a:gd name="connsiteX12" fmla="*/ 47567 w 615206"/>
                  <a:gd name="connsiteY12" fmla="*/ 341297 h 343822"/>
                  <a:gd name="connsiteX13" fmla="*/ 47758 w 615206"/>
                  <a:gd name="connsiteY13" fmla="*/ 341212 h 343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15206" h="343822">
                    <a:moveTo>
                      <a:pt x="47758" y="341212"/>
                    </a:moveTo>
                    <a:cubicBezTo>
                      <a:pt x="95383" y="322162"/>
                      <a:pt x="142056" y="301111"/>
                      <a:pt x="188918" y="280538"/>
                    </a:cubicBezTo>
                    <a:cubicBezTo>
                      <a:pt x="235782" y="259963"/>
                      <a:pt x="281978" y="237580"/>
                      <a:pt x="327603" y="213863"/>
                    </a:cubicBezTo>
                    <a:cubicBezTo>
                      <a:pt x="419233" y="168143"/>
                      <a:pt x="509530" y="119375"/>
                      <a:pt x="597350" y="66606"/>
                    </a:cubicBezTo>
                    <a:cubicBezTo>
                      <a:pt x="613924" y="56366"/>
                      <a:pt x="619163" y="34593"/>
                      <a:pt x="608876" y="17981"/>
                    </a:cubicBezTo>
                    <a:cubicBezTo>
                      <a:pt x="608781" y="17866"/>
                      <a:pt x="608781" y="17762"/>
                      <a:pt x="608686" y="17647"/>
                    </a:cubicBezTo>
                    <a:cubicBezTo>
                      <a:pt x="598779" y="750"/>
                      <a:pt x="577253" y="-5251"/>
                      <a:pt x="560108" y="4122"/>
                    </a:cubicBezTo>
                    <a:cubicBezTo>
                      <a:pt x="473811" y="55938"/>
                      <a:pt x="385134" y="103849"/>
                      <a:pt x="295122" y="148807"/>
                    </a:cubicBezTo>
                    <a:cubicBezTo>
                      <a:pt x="250260" y="171667"/>
                      <a:pt x="204539" y="192621"/>
                      <a:pt x="158915" y="213958"/>
                    </a:cubicBezTo>
                    <a:cubicBezTo>
                      <a:pt x="113290" y="235294"/>
                      <a:pt x="66999" y="254915"/>
                      <a:pt x="20135" y="273489"/>
                    </a:cubicBezTo>
                    <a:cubicBezTo>
                      <a:pt x="2324" y="281518"/>
                      <a:pt x="-5772" y="302264"/>
                      <a:pt x="1753" y="320257"/>
                    </a:cubicBezTo>
                    <a:lnTo>
                      <a:pt x="1753" y="320257"/>
                    </a:lnTo>
                    <a:cubicBezTo>
                      <a:pt x="8611" y="338707"/>
                      <a:pt x="29090" y="348127"/>
                      <a:pt x="47567" y="341297"/>
                    </a:cubicBezTo>
                    <a:cubicBezTo>
                      <a:pt x="47567" y="341269"/>
                      <a:pt x="47663" y="341240"/>
                      <a:pt x="47758" y="3412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9" name="Freeform: Shape 258">
                <a:extLst>
                  <a:ext uri="{FF2B5EF4-FFF2-40B4-BE49-F238E27FC236}">
                    <a16:creationId xmlns:a16="http://schemas.microsoft.com/office/drawing/2014/main" id="{51055179-F65F-40E3-BD37-9289D95417CF}"/>
                  </a:ext>
                </a:extLst>
              </p:cNvPr>
              <p:cNvSpPr/>
              <p:nvPr/>
            </p:nvSpPr>
            <p:spPr>
              <a:xfrm>
                <a:off x="7149019" y="4840724"/>
                <a:ext cx="148528" cy="129108"/>
              </a:xfrm>
              <a:custGeom>
                <a:avLst/>
                <a:gdLst>
                  <a:gd name="connsiteX0" fmla="*/ 56403 w 148528"/>
                  <a:gd name="connsiteY0" fmla="*/ 122863 h 129108"/>
                  <a:gd name="connsiteX1" fmla="*/ 133364 w 148528"/>
                  <a:gd name="connsiteY1" fmla="*/ 65046 h 129108"/>
                  <a:gd name="connsiteX2" fmla="*/ 140032 w 148528"/>
                  <a:gd name="connsiteY2" fmla="*/ 14573 h 129108"/>
                  <a:gd name="connsiteX3" fmla="*/ 139842 w 148528"/>
                  <a:gd name="connsiteY3" fmla="*/ 14278 h 129108"/>
                  <a:gd name="connsiteX4" fmla="*/ 139842 w 148528"/>
                  <a:gd name="connsiteY4" fmla="*/ 14278 h 129108"/>
                  <a:gd name="connsiteX5" fmla="*/ 88693 w 148528"/>
                  <a:gd name="connsiteY5" fmla="*/ 6944 h 129108"/>
                  <a:gd name="connsiteX6" fmla="*/ 12493 w 148528"/>
                  <a:gd name="connsiteY6" fmla="*/ 64094 h 129108"/>
                  <a:gd name="connsiteX7" fmla="*/ 6968 w 148528"/>
                  <a:gd name="connsiteY7" fmla="*/ 115252 h 129108"/>
                  <a:gd name="connsiteX8" fmla="*/ 55546 w 148528"/>
                  <a:gd name="connsiteY8" fmla="*/ 122673 h 129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8528" h="129108">
                    <a:moveTo>
                      <a:pt x="56403" y="122863"/>
                    </a:moveTo>
                    <a:cubicBezTo>
                      <a:pt x="82596" y="103813"/>
                      <a:pt x="107933" y="84763"/>
                      <a:pt x="133364" y="65046"/>
                    </a:cubicBezTo>
                    <a:cubicBezTo>
                      <a:pt x="149176" y="52959"/>
                      <a:pt x="152129" y="30356"/>
                      <a:pt x="140032" y="14573"/>
                    </a:cubicBezTo>
                    <a:cubicBezTo>
                      <a:pt x="140032" y="14468"/>
                      <a:pt x="139937" y="14373"/>
                      <a:pt x="139842" y="14278"/>
                    </a:cubicBezTo>
                    <a:lnTo>
                      <a:pt x="139842" y="14278"/>
                    </a:lnTo>
                    <a:cubicBezTo>
                      <a:pt x="127745" y="-1801"/>
                      <a:pt x="104885" y="-5077"/>
                      <a:pt x="88693" y="6944"/>
                    </a:cubicBezTo>
                    <a:cubicBezTo>
                      <a:pt x="63642" y="25994"/>
                      <a:pt x="38686" y="45520"/>
                      <a:pt x="12493" y="64094"/>
                    </a:cubicBezTo>
                    <a:cubicBezTo>
                      <a:pt x="-3129" y="76705"/>
                      <a:pt x="-5605" y="99612"/>
                      <a:pt x="6968" y="115252"/>
                    </a:cubicBezTo>
                    <a:cubicBezTo>
                      <a:pt x="18875" y="129921"/>
                      <a:pt x="39925" y="133141"/>
                      <a:pt x="55546" y="12267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0" name="Freeform: Shape 259">
                <a:extLst>
                  <a:ext uri="{FF2B5EF4-FFF2-40B4-BE49-F238E27FC236}">
                    <a16:creationId xmlns:a16="http://schemas.microsoft.com/office/drawing/2014/main" id="{5C045383-5B06-4F97-9270-B774DF73F7D7}"/>
                  </a:ext>
                </a:extLst>
              </p:cNvPr>
              <p:cNvSpPr/>
              <p:nvPr/>
            </p:nvSpPr>
            <p:spPr>
              <a:xfrm>
                <a:off x="6492125" y="4815354"/>
                <a:ext cx="1080555" cy="721975"/>
              </a:xfrm>
              <a:custGeom>
                <a:avLst/>
                <a:gdLst>
                  <a:gd name="connsiteX0" fmla="*/ 51309 w 1080555"/>
                  <a:gd name="connsiteY0" fmla="*/ 718115 h 721975"/>
                  <a:gd name="connsiteX1" fmla="*/ 1066103 w 1080555"/>
                  <a:gd name="connsiteY1" fmla="*/ 63938 h 721975"/>
                  <a:gd name="connsiteX2" fmla="*/ 1071246 w 1080555"/>
                  <a:gd name="connsiteY2" fmla="*/ 12608 h 721975"/>
                  <a:gd name="connsiteX3" fmla="*/ 1070770 w 1080555"/>
                  <a:gd name="connsiteY3" fmla="*/ 12026 h 721975"/>
                  <a:gd name="connsiteX4" fmla="*/ 1018858 w 1080555"/>
                  <a:gd name="connsiteY4" fmla="*/ 8597 h 721975"/>
                  <a:gd name="connsiteX5" fmla="*/ 20543 w 1080555"/>
                  <a:gd name="connsiteY5" fmla="*/ 651440 h 721975"/>
                  <a:gd name="connsiteX6" fmla="*/ 2064 w 1080555"/>
                  <a:gd name="connsiteY6" fmla="*/ 700112 h 721975"/>
                  <a:gd name="connsiteX7" fmla="*/ 50738 w 1080555"/>
                  <a:gd name="connsiteY7" fmla="*/ 718371 h 721975"/>
                  <a:gd name="connsiteX8" fmla="*/ 51309 w 1080555"/>
                  <a:gd name="connsiteY8" fmla="*/ 718115 h 721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80555" h="721975">
                    <a:moveTo>
                      <a:pt x="51309" y="718115"/>
                    </a:moveTo>
                    <a:cubicBezTo>
                      <a:pt x="417640" y="547064"/>
                      <a:pt x="759017" y="326990"/>
                      <a:pt x="1066103" y="63938"/>
                    </a:cubicBezTo>
                    <a:cubicBezTo>
                      <a:pt x="1081724" y="51184"/>
                      <a:pt x="1084010" y="28200"/>
                      <a:pt x="1071246" y="12608"/>
                    </a:cubicBezTo>
                    <a:cubicBezTo>
                      <a:pt x="1071056" y="12407"/>
                      <a:pt x="1070961" y="12217"/>
                      <a:pt x="1070770" y="12026"/>
                    </a:cubicBezTo>
                    <a:cubicBezTo>
                      <a:pt x="1057244" y="-2966"/>
                      <a:pt x="1034290" y="-4490"/>
                      <a:pt x="1018858" y="8597"/>
                    </a:cubicBezTo>
                    <a:cubicBezTo>
                      <a:pt x="716725" y="267106"/>
                      <a:pt x="380874" y="483361"/>
                      <a:pt x="20543" y="651440"/>
                    </a:cubicBezTo>
                    <a:cubicBezTo>
                      <a:pt x="2160" y="659907"/>
                      <a:pt x="-6032" y="681567"/>
                      <a:pt x="2064" y="700112"/>
                    </a:cubicBezTo>
                    <a:cubicBezTo>
                      <a:pt x="10446" y="718601"/>
                      <a:pt x="32259" y="726773"/>
                      <a:pt x="50738" y="718371"/>
                    </a:cubicBezTo>
                    <a:cubicBezTo>
                      <a:pt x="50928" y="718286"/>
                      <a:pt x="51118" y="718200"/>
                      <a:pt x="51309" y="71811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1" name="Freeform: Shape 260">
                <a:extLst>
                  <a:ext uri="{FF2B5EF4-FFF2-40B4-BE49-F238E27FC236}">
                    <a16:creationId xmlns:a16="http://schemas.microsoft.com/office/drawing/2014/main" id="{0457C8CC-6694-424C-90D7-4C1A039D2748}"/>
                  </a:ext>
                </a:extLst>
              </p:cNvPr>
              <p:cNvSpPr/>
              <p:nvPr/>
            </p:nvSpPr>
            <p:spPr>
              <a:xfrm>
                <a:off x="6873463" y="5149172"/>
                <a:ext cx="522873" cy="362836"/>
              </a:xfrm>
              <a:custGeom>
                <a:avLst/>
                <a:gdLst>
                  <a:gd name="connsiteX0" fmla="*/ 54782 w 522873"/>
                  <a:gd name="connsiteY0" fmla="*/ 357245 h 362836"/>
                  <a:gd name="connsiteX1" fmla="*/ 505599 w 522873"/>
                  <a:gd name="connsiteY1" fmla="*/ 66066 h 362836"/>
                  <a:gd name="connsiteX2" fmla="*/ 515315 w 522873"/>
                  <a:gd name="connsiteY2" fmla="*/ 14307 h 362836"/>
                  <a:gd name="connsiteX3" fmla="*/ 515124 w 522873"/>
                  <a:gd name="connsiteY3" fmla="*/ 13964 h 362836"/>
                  <a:gd name="connsiteX4" fmla="*/ 462452 w 522873"/>
                  <a:gd name="connsiteY4" fmla="*/ 7392 h 362836"/>
                  <a:gd name="connsiteX5" fmla="*/ 18777 w 522873"/>
                  <a:gd name="connsiteY5" fmla="*/ 293904 h 362836"/>
                  <a:gd name="connsiteX6" fmla="*/ 2965 w 522873"/>
                  <a:gd name="connsiteY6" fmla="*/ 344386 h 362836"/>
                  <a:gd name="connsiteX7" fmla="*/ 2965 w 522873"/>
                  <a:gd name="connsiteY7" fmla="*/ 344386 h 362836"/>
                  <a:gd name="connsiteX8" fmla="*/ 54782 w 522873"/>
                  <a:gd name="connsiteY8" fmla="*/ 357245 h 362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2873" h="362836">
                    <a:moveTo>
                      <a:pt x="54782" y="357245"/>
                    </a:moveTo>
                    <a:cubicBezTo>
                      <a:pt x="210610" y="269148"/>
                      <a:pt x="361201" y="171917"/>
                      <a:pt x="505599" y="66066"/>
                    </a:cubicBezTo>
                    <a:cubicBezTo>
                      <a:pt x="522554" y="54474"/>
                      <a:pt x="526935" y="31299"/>
                      <a:pt x="515315" y="14307"/>
                    </a:cubicBezTo>
                    <a:cubicBezTo>
                      <a:pt x="515315" y="14192"/>
                      <a:pt x="515220" y="14078"/>
                      <a:pt x="515124" y="13964"/>
                    </a:cubicBezTo>
                    <a:cubicBezTo>
                      <a:pt x="502266" y="-2114"/>
                      <a:pt x="478930" y="-5019"/>
                      <a:pt x="462452" y="7392"/>
                    </a:cubicBezTo>
                    <a:cubicBezTo>
                      <a:pt x="320339" y="111547"/>
                      <a:pt x="172224" y="207217"/>
                      <a:pt x="18777" y="293904"/>
                    </a:cubicBezTo>
                    <a:cubicBezTo>
                      <a:pt x="774" y="303733"/>
                      <a:pt x="-6179" y="326051"/>
                      <a:pt x="2965" y="344386"/>
                    </a:cubicBezTo>
                    <a:lnTo>
                      <a:pt x="2965" y="344386"/>
                    </a:lnTo>
                    <a:cubicBezTo>
                      <a:pt x="13824" y="362084"/>
                      <a:pt x="36874" y="367799"/>
                      <a:pt x="54782" y="35724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2" name="Freeform: Shape 261">
                <a:extLst>
                  <a:ext uri="{FF2B5EF4-FFF2-40B4-BE49-F238E27FC236}">
                    <a16:creationId xmlns:a16="http://schemas.microsoft.com/office/drawing/2014/main" id="{0455B1E2-4E70-4821-BAB1-9DA42720C46C}"/>
                  </a:ext>
                </a:extLst>
              </p:cNvPr>
              <p:cNvSpPr/>
              <p:nvPr/>
            </p:nvSpPr>
            <p:spPr>
              <a:xfrm>
                <a:off x="6726789" y="5213910"/>
                <a:ext cx="838207" cy="549111"/>
              </a:xfrm>
              <a:custGeom>
                <a:avLst/>
                <a:gdLst>
                  <a:gd name="connsiteX0" fmla="*/ 53723 w 838207"/>
                  <a:gd name="connsiteY0" fmla="*/ 544158 h 549111"/>
                  <a:gd name="connsiteX1" fmla="*/ 819724 w 838207"/>
                  <a:gd name="connsiteY1" fmla="*/ 67431 h 549111"/>
                  <a:gd name="connsiteX2" fmla="*/ 831725 w 838207"/>
                  <a:gd name="connsiteY2" fmla="*/ 17111 h 549111"/>
                  <a:gd name="connsiteX3" fmla="*/ 781433 w 838207"/>
                  <a:gd name="connsiteY3" fmla="*/ 5128 h 549111"/>
                  <a:gd name="connsiteX4" fmla="*/ 775623 w 838207"/>
                  <a:gd name="connsiteY4" fmla="*/ 9519 h 549111"/>
                  <a:gd name="connsiteX5" fmla="*/ 21337 w 838207"/>
                  <a:gd name="connsiteY5" fmla="*/ 479102 h 549111"/>
                  <a:gd name="connsiteX6" fmla="*/ 2287 w 838207"/>
                  <a:gd name="connsiteY6" fmla="*/ 529394 h 549111"/>
                  <a:gd name="connsiteX7" fmla="*/ 53723 w 838207"/>
                  <a:gd name="connsiteY7" fmla="*/ 544158 h 549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8207" h="549111">
                    <a:moveTo>
                      <a:pt x="53723" y="544158"/>
                    </a:moveTo>
                    <a:cubicBezTo>
                      <a:pt x="323565" y="409769"/>
                      <a:pt x="579979" y="250149"/>
                      <a:pt x="819724" y="67431"/>
                    </a:cubicBezTo>
                    <a:cubicBezTo>
                      <a:pt x="836963" y="56849"/>
                      <a:pt x="842298" y="34312"/>
                      <a:pt x="831725" y="17111"/>
                    </a:cubicBezTo>
                    <a:cubicBezTo>
                      <a:pt x="821151" y="-92"/>
                      <a:pt x="798577" y="-5454"/>
                      <a:pt x="781433" y="5128"/>
                    </a:cubicBezTo>
                    <a:cubicBezTo>
                      <a:pt x="779338" y="6395"/>
                      <a:pt x="777432" y="7871"/>
                      <a:pt x="775623" y="9519"/>
                    </a:cubicBezTo>
                    <a:cubicBezTo>
                      <a:pt x="539593" y="189484"/>
                      <a:pt x="286990" y="346714"/>
                      <a:pt x="21337" y="479102"/>
                    </a:cubicBezTo>
                    <a:cubicBezTo>
                      <a:pt x="2192" y="487760"/>
                      <a:pt x="-6285" y="510249"/>
                      <a:pt x="2287" y="529394"/>
                    </a:cubicBezTo>
                    <a:cubicBezTo>
                      <a:pt x="12480" y="547558"/>
                      <a:pt x="35434" y="554130"/>
                      <a:pt x="53723" y="5441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3" name="Freeform: Shape 262">
                <a:extLst>
                  <a:ext uri="{FF2B5EF4-FFF2-40B4-BE49-F238E27FC236}">
                    <a16:creationId xmlns:a16="http://schemas.microsoft.com/office/drawing/2014/main" id="{B3535FCF-EF4D-4003-A082-23C1F1CF90D4}"/>
                  </a:ext>
                </a:extLst>
              </p:cNvPr>
              <p:cNvSpPr/>
              <p:nvPr/>
            </p:nvSpPr>
            <p:spPr>
              <a:xfrm>
                <a:off x="5099751" y="5186890"/>
                <a:ext cx="936268" cy="277545"/>
              </a:xfrm>
              <a:custGeom>
                <a:avLst/>
                <a:gdLst>
                  <a:gd name="connsiteX0" fmla="*/ 36364 w 936268"/>
                  <a:gd name="connsiteY0" fmla="*/ 277236 h 277545"/>
                  <a:gd name="connsiteX1" fmla="*/ 913426 w 936268"/>
                  <a:gd name="connsiteY1" fmla="*/ 69591 h 277545"/>
                  <a:gd name="connsiteX2" fmla="*/ 932762 w 936268"/>
                  <a:gd name="connsiteY2" fmla="*/ 24681 h 277545"/>
                  <a:gd name="connsiteX3" fmla="*/ 932476 w 936268"/>
                  <a:gd name="connsiteY3" fmla="*/ 23966 h 277545"/>
                  <a:gd name="connsiteX4" fmla="*/ 932476 w 936268"/>
                  <a:gd name="connsiteY4" fmla="*/ 23966 h 277545"/>
                  <a:gd name="connsiteX5" fmla="*/ 888756 w 936268"/>
                  <a:gd name="connsiteY5" fmla="*/ 1201 h 277545"/>
                  <a:gd name="connsiteX6" fmla="*/ 27696 w 936268"/>
                  <a:gd name="connsiteY6" fmla="*/ 204941 h 277545"/>
                  <a:gd name="connsiteX7" fmla="*/ -211 w 936268"/>
                  <a:gd name="connsiteY7" fmla="*/ 248499 h 277545"/>
                  <a:gd name="connsiteX8" fmla="*/ 36364 w 936268"/>
                  <a:gd name="connsiteY8" fmla="*/ 277236 h 277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36268" h="277545">
                    <a:moveTo>
                      <a:pt x="36364" y="277236"/>
                    </a:moveTo>
                    <a:cubicBezTo>
                      <a:pt x="335640" y="241365"/>
                      <a:pt x="629868" y="171708"/>
                      <a:pt x="913426" y="69591"/>
                    </a:cubicBezTo>
                    <a:cubicBezTo>
                      <a:pt x="931143" y="62533"/>
                      <a:pt x="939810" y="42426"/>
                      <a:pt x="932762" y="24681"/>
                    </a:cubicBezTo>
                    <a:cubicBezTo>
                      <a:pt x="932666" y="24442"/>
                      <a:pt x="932571" y="24205"/>
                      <a:pt x="932476" y="23966"/>
                    </a:cubicBezTo>
                    <a:lnTo>
                      <a:pt x="932476" y="23966"/>
                    </a:lnTo>
                    <a:cubicBezTo>
                      <a:pt x="926476" y="5792"/>
                      <a:pt x="907045" y="-4304"/>
                      <a:pt x="888756" y="1201"/>
                    </a:cubicBezTo>
                    <a:cubicBezTo>
                      <a:pt x="610341" y="101461"/>
                      <a:pt x="321543" y="169813"/>
                      <a:pt x="27696" y="204941"/>
                    </a:cubicBezTo>
                    <a:cubicBezTo>
                      <a:pt x="7980" y="209265"/>
                      <a:pt x="-4498" y="228763"/>
                      <a:pt x="-211" y="248499"/>
                    </a:cubicBezTo>
                    <a:cubicBezTo>
                      <a:pt x="3503" y="265587"/>
                      <a:pt x="18839" y="277636"/>
                      <a:pt x="36364" y="27723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4" name="Freeform: Shape 263">
                <a:extLst>
                  <a:ext uri="{FF2B5EF4-FFF2-40B4-BE49-F238E27FC236}">
                    <a16:creationId xmlns:a16="http://schemas.microsoft.com/office/drawing/2014/main" id="{E09D336B-C3BF-43B7-A303-69D79B3B8983}"/>
                  </a:ext>
                </a:extLst>
              </p:cNvPr>
              <p:cNvSpPr/>
              <p:nvPr/>
            </p:nvSpPr>
            <p:spPr>
              <a:xfrm>
                <a:off x="4805313" y="5404775"/>
                <a:ext cx="235361" cy="84321"/>
              </a:xfrm>
              <a:custGeom>
                <a:avLst/>
                <a:gdLst>
                  <a:gd name="connsiteX0" fmla="*/ 33337 w 235361"/>
                  <a:gd name="connsiteY0" fmla="*/ 84021 h 84321"/>
                  <a:gd name="connsiteX1" fmla="*/ 119062 w 235361"/>
                  <a:gd name="connsiteY1" fmla="*/ 79068 h 84321"/>
                  <a:gd name="connsiteX2" fmla="*/ 204787 w 235361"/>
                  <a:gd name="connsiteY2" fmla="*/ 72306 h 84321"/>
                  <a:gd name="connsiteX3" fmla="*/ 234029 w 235361"/>
                  <a:gd name="connsiteY3" fmla="*/ 34501 h 84321"/>
                  <a:gd name="connsiteX4" fmla="*/ 234029 w 235361"/>
                  <a:gd name="connsiteY4" fmla="*/ 34206 h 84321"/>
                  <a:gd name="connsiteX5" fmla="*/ 234029 w 235361"/>
                  <a:gd name="connsiteY5" fmla="*/ 31920 h 84321"/>
                  <a:gd name="connsiteX6" fmla="*/ 198596 w 235361"/>
                  <a:gd name="connsiteY6" fmla="*/ -275 h 84321"/>
                  <a:gd name="connsiteX7" fmla="*/ 114300 w 235361"/>
                  <a:gd name="connsiteY7" fmla="*/ 6297 h 84321"/>
                  <a:gd name="connsiteX8" fmla="*/ 29908 w 235361"/>
                  <a:gd name="connsiteY8" fmla="*/ 11155 h 84321"/>
                  <a:gd name="connsiteX9" fmla="*/ -952 w 235361"/>
                  <a:gd name="connsiteY9" fmla="*/ 47635 h 84321"/>
                  <a:gd name="connsiteX10" fmla="*/ -952 w 235361"/>
                  <a:gd name="connsiteY10" fmla="*/ 49826 h 84321"/>
                  <a:gd name="connsiteX11" fmla="*/ 33051 w 235361"/>
                  <a:gd name="connsiteY11" fmla="*/ 84021 h 84321"/>
                  <a:gd name="connsiteX12" fmla="*/ 33337 w 235361"/>
                  <a:gd name="connsiteY12" fmla="*/ 84021 h 84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5361" h="84321">
                    <a:moveTo>
                      <a:pt x="33337" y="84021"/>
                    </a:moveTo>
                    <a:cubicBezTo>
                      <a:pt x="61912" y="83164"/>
                      <a:pt x="90487" y="80592"/>
                      <a:pt x="119062" y="79068"/>
                    </a:cubicBezTo>
                    <a:cubicBezTo>
                      <a:pt x="147637" y="77544"/>
                      <a:pt x="176212" y="74972"/>
                      <a:pt x="204787" y="72306"/>
                    </a:cubicBezTo>
                    <a:cubicBezTo>
                      <a:pt x="223265" y="69953"/>
                      <a:pt x="236410" y="53027"/>
                      <a:pt x="234029" y="34501"/>
                    </a:cubicBezTo>
                    <a:cubicBezTo>
                      <a:pt x="234029" y="34396"/>
                      <a:pt x="234029" y="34301"/>
                      <a:pt x="234029" y="34206"/>
                    </a:cubicBezTo>
                    <a:lnTo>
                      <a:pt x="234029" y="31920"/>
                    </a:lnTo>
                    <a:cubicBezTo>
                      <a:pt x="232981" y="13327"/>
                      <a:pt x="217170" y="-980"/>
                      <a:pt x="198596" y="-275"/>
                    </a:cubicBezTo>
                    <a:cubicBezTo>
                      <a:pt x="170593" y="2201"/>
                      <a:pt x="142493" y="4773"/>
                      <a:pt x="114300" y="6297"/>
                    </a:cubicBezTo>
                    <a:cubicBezTo>
                      <a:pt x="86106" y="7821"/>
                      <a:pt x="58102" y="10393"/>
                      <a:pt x="29908" y="11155"/>
                    </a:cubicBezTo>
                    <a:cubicBezTo>
                      <a:pt x="11334" y="12822"/>
                      <a:pt x="-2381" y="29081"/>
                      <a:pt x="-952" y="47635"/>
                    </a:cubicBezTo>
                    <a:lnTo>
                      <a:pt x="-952" y="49826"/>
                    </a:lnTo>
                    <a:cubicBezTo>
                      <a:pt x="-1048" y="68657"/>
                      <a:pt x="14192" y="83964"/>
                      <a:pt x="33051" y="84021"/>
                    </a:cubicBezTo>
                    <a:cubicBezTo>
                      <a:pt x="33147" y="84021"/>
                      <a:pt x="33242" y="84021"/>
                      <a:pt x="33337" y="8402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5" name="Freeform: Shape 264">
                <a:extLst>
                  <a:ext uri="{FF2B5EF4-FFF2-40B4-BE49-F238E27FC236}">
                    <a16:creationId xmlns:a16="http://schemas.microsoft.com/office/drawing/2014/main" id="{BB4AB861-2FFF-4D46-83D1-5DF57C41510B}"/>
                  </a:ext>
                </a:extLst>
              </p:cNvPr>
              <p:cNvSpPr/>
              <p:nvPr/>
            </p:nvSpPr>
            <p:spPr>
              <a:xfrm>
                <a:off x="5615741" y="5313347"/>
                <a:ext cx="521578" cy="211297"/>
              </a:xfrm>
              <a:custGeom>
                <a:avLst/>
                <a:gdLst>
                  <a:gd name="connsiteX0" fmla="*/ 41868 w 521578"/>
                  <a:gd name="connsiteY0" fmla="*/ 210596 h 211297"/>
                  <a:gd name="connsiteX1" fmla="*/ 157406 w 521578"/>
                  <a:gd name="connsiteY1" fmla="*/ 180306 h 211297"/>
                  <a:gd name="connsiteX2" fmla="*/ 271706 w 521578"/>
                  <a:gd name="connsiteY2" fmla="*/ 146778 h 211297"/>
                  <a:gd name="connsiteX3" fmla="*/ 385245 w 521578"/>
                  <a:gd name="connsiteY3" fmla="*/ 109631 h 211297"/>
                  <a:gd name="connsiteX4" fmla="*/ 441537 w 521578"/>
                  <a:gd name="connsiteY4" fmla="*/ 89819 h 211297"/>
                  <a:gd name="connsiteX5" fmla="*/ 470112 w 521578"/>
                  <a:gd name="connsiteY5" fmla="*/ 80294 h 211297"/>
                  <a:gd name="connsiteX6" fmla="*/ 498020 w 521578"/>
                  <a:gd name="connsiteY6" fmla="*/ 69721 h 211297"/>
                  <a:gd name="connsiteX7" fmla="*/ 517737 w 521578"/>
                  <a:gd name="connsiteY7" fmla="*/ 22201 h 211297"/>
                  <a:gd name="connsiteX8" fmla="*/ 472493 w 521578"/>
                  <a:gd name="connsiteY8" fmla="*/ 1617 h 211297"/>
                  <a:gd name="connsiteX9" fmla="*/ 445061 w 521578"/>
                  <a:gd name="connsiteY9" fmla="*/ 12000 h 211297"/>
                  <a:gd name="connsiteX10" fmla="*/ 417439 w 521578"/>
                  <a:gd name="connsiteY10" fmla="*/ 21525 h 211297"/>
                  <a:gd name="connsiteX11" fmla="*/ 362098 w 521578"/>
                  <a:gd name="connsiteY11" fmla="*/ 40575 h 211297"/>
                  <a:gd name="connsiteX12" fmla="*/ 250561 w 521578"/>
                  <a:gd name="connsiteY12" fmla="*/ 77055 h 211297"/>
                  <a:gd name="connsiteX13" fmla="*/ 137975 w 521578"/>
                  <a:gd name="connsiteY13" fmla="*/ 110012 h 211297"/>
                  <a:gd name="connsiteX14" fmla="*/ 24438 w 521578"/>
                  <a:gd name="connsiteY14" fmla="*/ 139730 h 211297"/>
                  <a:gd name="connsiteX15" fmla="*/ 625 w 521578"/>
                  <a:gd name="connsiteY15" fmla="*/ 185507 h 211297"/>
                  <a:gd name="connsiteX16" fmla="*/ 41963 w 521578"/>
                  <a:gd name="connsiteY16" fmla="*/ 210405 h 211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21578" h="211297">
                    <a:moveTo>
                      <a:pt x="41868" y="210596"/>
                    </a:moveTo>
                    <a:cubicBezTo>
                      <a:pt x="80635" y="201642"/>
                      <a:pt x="118925" y="190498"/>
                      <a:pt x="157406" y="180306"/>
                    </a:cubicBezTo>
                    <a:cubicBezTo>
                      <a:pt x="195888" y="170114"/>
                      <a:pt x="233606" y="157827"/>
                      <a:pt x="271706" y="146778"/>
                    </a:cubicBezTo>
                    <a:cubicBezTo>
                      <a:pt x="309806" y="135729"/>
                      <a:pt x="347906" y="122585"/>
                      <a:pt x="385245" y="109631"/>
                    </a:cubicBezTo>
                    <a:lnTo>
                      <a:pt x="441537" y="89819"/>
                    </a:lnTo>
                    <a:lnTo>
                      <a:pt x="470112" y="80294"/>
                    </a:lnTo>
                    <a:lnTo>
                      <a:pt x="498020" y="69721"/>
                    </a:lnTo>
                    <a:cubicBezTo>
                      <a:pt x="516594" y="62044"/>
                      <a:pt x="525452" y="40765"/>
                      <a:pt x="517737" y="22201"/>
                    </a:cubicBezTo>
                    <a:cubicBezTo>
                      <a:pt x="510403" y="4494"/>
                      <a:pt x="490686" y="-4508"/>
                      <a:pt x="472493" y="1617"/>
                    </a:cubicBezTo>
                    <a:lnTo>
                      <a:pt x="445061" y="12000"/>
                    </a:lnTo>
                    <a:lnTo>
                      <a:pt x="417439" y="21525"/>
                    </a:lnTo>
                    <a:lnTo>
                      <a:pt x="362098" y="40575"/>
                    </a:lnTo>
                    <a:cubicBezTo>
                      <a:pt x="325046" y="53242"/>
                      <a:pt x="287709" y="64959"/>
                      <a:pt x="250561" y="77055"/>
                    </a:cubicBezTo>
                    <a:cubicBezTo>
                      <a:pt x="213413" y="89152"/>
                      <a:pt x="175695" y="99820"/>
                      <a:pt x="137975" y="110012"/>
                    </a:cubicBezTo>
                    <a:cubicBezTo>
                      <a:pt x="100256" y="120203"/>
                      <a:pt x="62538" y="130967"/>
                      <a:pt x="24438" y="139730"/>
                    </a:cubicBezTo>
                    <a:cubicBezTo>
                      <a:pt x="5197" y="145807"/>
                      <a:pt x="-5376" y="166304"/>
                      <a:pt x="625" y="185507"/>
                    </a:cubicBezTo>
                    <a:cubicBezTo>
                      <a:pt x="6149" y="203023"/>
                      <a:pt x="23866" y="213691"/>
                      <a:pt x="41963" y="21040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6" name="Freeform: Shape 265">
                <a:extLst>
                  <a:ext uri="{FF2B5EF4-FFF2-40B4-BE49-F238E27FC236}">
                    <a16:creationId xmlns:a16="http://schemas.microsoft.com/office/drawing/2014/main" id="{8C4D6CEF-988B-4E26-BB03-07DF7B7E7AE1}"/>
                  </a:ext>
                </a:extLst>
              </p:cNvPr>
              <p:cNvSpPr/>
              <p:nvPr/>
            </p:nvSpPr>
            <p:spPr>
              <a:xfrm>
                <a:off x="4246736" y="5557326"/>
                <a:ext cx="533186" cy="88866"/>
              </a:xfrm>
              <a:custGeom>
                <a:avLst/>
                <a:gdLst>
                  <a:gd name="connsiteX0" fmla="*/ 30130 w 533186"/>
                  <a:gd name="connsiteY0" fmla="*/ 72250 h 88866"/>
                  <a:gd name="connsiteX1" fmla="*/ 498379 w 533186"/>
                  <a:gd name="connsiteY1" fmla="*/ 87585 h 88866"/>
                  <a:gd name="connsiteX2" fmla="*/ 532097 w 533186"/>
                  <a:gd name="connsiteY2" fmla="*/ 50895 h 88866"/>
                  <a:gd name="connsiteX3" fmla="*/ 532097 w 533186"/>
                  <a:gd name="connsiteY3" fmla="*/ 50628 h 88866"/>
                  <a:gd name="connsiteX4" fmla="*/ 532097 w 533186"/>
                  <a:gd name="connsiteY4" fmla="*/ 49961 h 88866"/>
                  <a:gd name="connsiteX5" fmla="*/ 496855 w 533186"/>
                  <a:gd name="connsiteY5" fmla="*/ 14909 h 88866"/>
                  <a:gd name="connsiteX6" fmla="*/ 36606 w 533186"/>
                  <a:gd name="connsiteY6" fmla="*/ -236 h 88866"/>
                  <a:gd name="connsiteX7" fmla="*/ -826 w 533186"/>
                  <a:gd name="connsiteY7" fmla="*/ 32435 h 88866"/>
                  <a:gd name="connsiteX8" fmla="*/ -826 w 533186"/>
                  <a:gd name="connsiteY8" fmla="*/ 33292 h 88866"/>
                  <a:gd name="connsiteX9" fmla="*/ 30130 w 533186"/>
                  <a:gd name="connsiteY9" fmla="*/ 72250 h 88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33186" h="88866">
                    <a:moveTo>
                      <a:pt x="30130" y="72250"/>
                    </a:moveTo>
                    <a:cubicBezTo>
                      <a:pt x="185863" y="85784"/>
                      <a:pt x="342169" y="90909"/>
                      <a:pt x="498379" y="87585"/>
                    </a:cubicBezTo>
                    <a:cubicBezTo>
                      <a:pt x="517809" y="86766"/>
                      <a:pt x="532954" y="70335"/>
                      <a:pt x="532097" y="50895"/>
                    </a:cubicBezTo>
                    <a:cubicBezTo>
                      <a:pt x="532097" y="50809"/>
                      <a:pt x="532097" y="50713"/>
                      <a:pt x="532097" y="50628"/>
                    </a:cubicBezTo>
                    <a:lnTo>
                      <a:pt x="532097" y="49961"/>
                    </a:lnTo>
                    <a:cubicBezTo>
                      <a:pt x="531811" y="30635"/>
                      <a:pt x="516191" y="15061"/>
                      <a:pt x="496855" y="14909"/>
                    </a:cubicBezTo>
                    <a:cubicBezTo>
                      <a:pt x="343312" y="18157"/>
                      <a:pt x="189674" y="13099"/>
                      <a:pt x="36606" y="-236"/>
                    </a:cubicBezTo>
                    <a:cubicBezTo>
                      <a:pt x="17271" y="-1388"/>
                      <a:pt x="603" y="13156"/>
                      <a:pt x="-826" y="32435"/>
                    </a:cubicBezTo>
                    <a:lnTo>
                      <a:pt x="-826" y="33292"/>
                    </a:lnTo>
                    <a:cubicBezTo>
                      <a:pt x="-3017" y="52590"/>
                      <a:pt x="10794" y="70011"/>
                      <a:pt x="30130" y="72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7" name="Freeform: Shape 266">
                <a:extLst>
                  <a:ext uri="{FF2B5EF4-FFF2-40B4-BE49-F238E27FC236}">
                    <a16:creationId xmlns:a16="http://schemas.microsoft.com/office/drawing/2014/main" id="{935D0410-2EFA-4208-B50B-E747501D4933}"/>
                  </a:ext>
                </a:extLst>
              </p:cNvPr>
              <p:cNvSpPr/>
              <p:nvPr/>
            </p:nvSpPr>
            <p:spPr>
              <a:xfrm>
                <a:off x="4888207" y="5480942"/>
                <a:ext cx="673936" cy="156405"/>
              </a:xfrm>
              <a:custGeom>
                <a:avLst/>
                <a:gdLst>
                  <a:gd name="connsiteX0" fmla="*/ 36263 w 673936"/>
                  <a:gd name="connsiteY0" fmla="*/ 156063 h 156405"/>
                  <a:gd name="connsiteX1" fmla="*/ 189615 w 673936"/>
                  <a:gd name="connsiteY1" fmla="*/ 143585 h 156405"/>
                  <a:gd name="connsiteX2" fmla="*/ 342015 w 673936"/>
                  <a:gd name="connsiteY2" fmla="*/ 124535 h 156405"/>
                  <a:gd name="connsiteX3" fmla="*/ 493845 w 673936"/>
                  <a:gd name="connsiteY3" fmla="*/ 100913 h 156405"/>
                  <a:gd name="connsiteX4" fmla="*/ 569377 w 673936"/>
                  <a:gd name="connsiteY4" fmla="*/ 86626 h 156405"/>
                  <a:gd name="connsiteX5" fmla="*/ 607477 w 673936"/>
                  <a:gd name="connsiteY5" fmla="*/ 79292 h 156405"/>
                  <a:gd name="connsiteX6" fmla="*/ 644530 w 673936"/>
                  <a:gd name="connsiteY6" fmla="*/ 71576 h 156405"/>
                  <a:gd name="connsiteX7" fmla="*/ 671962 w 673936"/>
                  <a:gd name="connsiteY7" fmla="*/ 28038 h 156405"/>
                  <a:gd name="connsiteX8" fmla="*/ 629290 w 673936"/>
                  <a:gd name="connsiteY8" fmla="*/ 425 h 156405"/>
                  <a:gd name="connsiteX9" fmla="*/ 592428 w 673936"/>
                  <a:gd name="connsiteY9" fmla="*/ 8426 h 156405"/>
                  <a:gd name="connsiteX10" fmla="*/ 555280 w 673936"/>
                  <a:gd name="connsiteY10" fmla="*/ 15665 h 156405"/>
                  <a:gd name="connsiteX11" fmla="*/ 481176 w 673936"/>
                  <a:gd name="connsiteY11" fmla="*/ 29666 h 156405"/>
                  <a:gd name="connsiteX12" fmla="*/ 331920 w 673936"/>
                  <a:gd name="connsiteY12" fmla="*/ 53002 h 156405"/>
                  <a:gd name="connsiteX13" fmla="*/ 181995 w 673936"/>
                  <a:gd name="connsiteY13" fmla="*/ 71290 h 156405"/>
                  <a:gd name="connsiteX14" fmla="*/ 31310 w 673936"/>
                  <a:gd name="connsiteY14" fmla="*/ 83483 h 156405"/>
                  <a:gd name="connsiteX15" fmla="*/ -980 w 673936"/>
                  <a:gd name="connsiteY15" fmla="*/ 121583 h 156405"/>
                  <a:gd name="connsiteX16" fmla="*/ -980 w 673936"/>
                  <a:gd name="connsiteY16" fmla="*/ 121583 h 156405"/>
                  <a:gd name="connsiteX17" fmla="*/ 35502 w 673936"/>
                  <a:gd name="connsiteY17" fmla="*/ 156092 h 156405"/>
                  <a:gd name="connsiteX18" fmla="*/ 36263 w 673936"/>
                  <a:gd name="connsiteY18" fmla="*/ 156063 h 156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73936" h="156405">
                    <a:moveTo>
                      <a:pt x="36263" y="156063"/>
                    </a:moveTo>
                    <a:cubicBezTo>
                      <a:pt x="87508" y="153396"/>
                      <a:pt x="138466" y="147872"/>
                      <a:pt x="189615" y="143585"/>
                    </a:cubicBezTo>
                    <a:cubicBezTo>
                      <a:pt x="240479" y="137585"/>
                      <a:pt x="291532" y="132631"/>
                      <a:pt x="342015" y="124535"/>
                    </a:cubicBezTo>
                    <a:cubicBezTo>
                      <a:pt x="392498" y="116439"/>
                      <a:pt x="443362" y="109200"/>
                      <a:pt x="493845" y="100913"/>
                    </a:cubicBezTo>
                    <a:cubicBezTo>
                      <a:pt x="519085" y="96341"/>
                      <a:pt x="544231" y="91388"/>
                      <a:pt x="569377" y="86626"/>
                    </a:cubicBezTo>
                    <a:cubicBezTo>
                      <a:pt x="581951" y="84149"/>
                      <a:pt x="594619" y="81863"/>
                      <a:pt x="607477" y="79292"/>
                    </a:cubicBezTo>
                    <a:lnTo>
                      <a:pt x="644530" y="71576"/>
                    </a:lnTo>
                    <a:cubicBezTo>
                      <a:pt x="664152" y="67128"/>
                      <a:pt x="676438" y="47640"/>
                      <a:pt x="671962" y="28038"/>
                    </a:cubicBezTo>
                    <a:cubicBezTo>
                      <a:pt x="667580" y="8778"/>
                      <a:pt x="648626" y="-3481"/>
                      <a:pt x="629290" y="425"/>
                    </a:cubicBezTo>
                    <a:lnTo>
                      <a:pt x="592428" y="8426"/>
                    </a:lnTo>
                    <a:cubicBezTo>
                      <a:pt x="580045" y="11093"/>
                      <a:pt x="567663" y="13283"/>
                      <a:pt x="555280" y="15665"/>
                    </a:cubicBezTo>
                    <a:cubicBezTo>
                      <a:pt x="530611" y="20332"/>
                      <a:pt x="505940" y="25190"/>
                      <a:pt x="481176" y="29666"/>
                    </a:cubicBezTo>
                    <a:cubicBezTo>
                      <a:pt x="431455" y="37858"/>
                      <a:pt x="381830" y="46526"/>
                      <a:pt x="331920" y="53002"/>
                    </a:cubicBezTo>
                    <a:cubicBezTo>
                      <a:pt x="282007" y="59479"/>
                      <a:pt x="232001" y="65385"/>
                      <a:pt x="181995" y="71290"/>
                    </a:cubicBezTo>
                    <a:cubicBezTo>
                      <a:pt x="131799" y="75481"/>
                      <a:pt x="81698" y="80815"/>
                      <a:pt x="31310" y="83483"/>
                    </a:cubicBezTo>
                    <a:cubicBezTo>
                      <a:pt x="12069" y="85397"/>
                      <a:pt x="-2218" y="102256"/>
                      <a:pt x="-980" y="121583"/>
                    </a:cubicBezTo>
                    <a:lnTo>
                      <a:pt x="-980" y="121583"/>
                    </a:lnTo>
                    <a:cubicBezTo>
                      <a:pt x="-408" y="141195"/>
                      <a:pt x="15879" y="156644"/>
                      <a:pt x="35502" y="156092"/>
                    </a:cubicBezTo>
                    <a:cubicBezTo>
                      <a:pt x="35786" y="156082"/>
                      <a:pt x="35977" y="156072"/>
                      <a:pt x="36263" y="15606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8" name="Freeform: Shape 267">
                <a:extLst>
                  <a:ext uri="{FF2B5EF4-FFF2-40B4-BE49-F238E27FC236}">
                    <a16:creationId xmlns:a16="http://schemas.microsoft.com/office/drawing/2014/main" id="{34EE6A96-B624-4B2B-91BB-9E11E85E21AC}"/>
                  </a:ext>
                </a:extLst>
              </p:cNvPr>
              <p:cNvSpPr/>
              <p:nvPr/>
            </p:nvSpPr>
            <p:spPr>
              <a:xfrm>
                <a:off x="5921604" y="5494165"/>
                <a:ext cx="162102" cy="102517"/>
              </a:xfrm>
              <a:custGeom>
                <a:avLst/>
                <a:gdLst>
                  <a:gd name="connsiteX0" fmla="*/ 45949 w 162102"/>
                  <a:gd name="connsiteY0" fmla="*/ 100454 h 102517"/>
                  <a:gd name="connsiteX1" fmla="*/ 91764 w 162102"/>
                  <a:gd name="connsiteY1" fmla="*/ 85595 h 102517"/>
                  <a:gd name="connsiteX2" fmla="*/ 137389 w 162102"/>
                  <a:gd name="connsiteY2" fmla="*/ 70164 h 102517"/>
                  <a:gd name="connsiteX3" fmla="*/ 158725 w 162102"/>
                  <a:gd name="connsiteY3" fmla="*/ 23321 h 102517"/>
                  <a:gd name="connsiteX4" fmla="*/ 113672 w 162102"/>
                  <a:gd name="connsiteY4" fmla="*/ 1394 h 102517"/>
                  <a:gd name="connsiteX5" fmla="*/ 68905 w 162102"/>
                  <a:gd name="connsiteY5" fmla="*/ 16539 h 102517"/>
                  <a:gd name="connsiteX6" fmla="*/ 23851 w 162102"/>
                  <a:gd name="connsiteY6" fmla="*/ 31112 h 102517"/>
                  <a:gd name="connsiteX7" fmla="*/ 610 w 162102"/>
                  <a:gd name="connsiteY7" fmla="*/ 76832 h 102517"/>
                  <a:gd name="connsiteX8" fmla="*/ 45282 w 162102"/>
                  <a:gd name="connsiteY8" fmla="*/ 100654 h 102517"/>
                  <a:gd name="connsiteX9" fmla="*/ 45949 w 162102"/>
                  <a:gd name="connsiteY9" fmla="*/ 100454 h 102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2102" h="102517">
                    <a:moveTo>
                      <a:pt x="45949" y="100454"/>
                    </a:moveTo>
                    <a:lnTo>
                      <a:pt x="91764" y="85595"/>
                    </a:lnTo>
                    <a:cubicBezTo>
                      <a:pt x="107099" y="80737"/>
                      <a:pt x="122245" y="76070"/>
                      <a:pt x="137389" y="70164"/>
                    </a:cubicBezTo>
                    <a:cubicBezTo>
                      <a:pt x="156248" y="63107"/>
                      <a:pt x="165773" y="42142"/>
                      <a:pt x="158725" y="23321"/>
                    </a:cubicBezTo>
                    <a:cubicBezTo>
                      <a:pt x="151867" y="5204"/>
                      <a:pt x="132150" y="-4426"/>
                      <a:pt x="113672" y="1394"/>
                    </a:cubicBezTo>
                    <a:cubicBezTo>
                      <a:pt x="98908" y="6728"/>
                      <a:pt x="83954" y="11776"/>
                      <a:pt x="68905" y="16539"/>
                    </a:cubicBezTo>
                    <a:lnTo>
                      <a:pt x="23851" y="31112"/>
                    </a:lnTo>
                    <a:cubicBezTo>
                      <a:pt x="4991" y="37579"/>
                      <a:pt x="-5295" y="57820"/>
                      <a:pt x="610" y="76832"/>
                    </a:cubicBezTo>
                    <a:cubicBezTo>
                      <a:pt x="6420" y="95758"/>
                      <a:pt x="26422" y="106417"/>
                      <a:pt x="45282" y="100654"/>
                    </a:cubicBezTo>
                    <a:cubicBezTo>
                      <a:pt x="45472" y="100588"/>
                      <a:pt x="45758" y="100521"/>
                      <a:pt x="45949" y="10045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9" name="Freeform: Shape 268">
                <a:extLst>
                  <a:ext uri="{FF2B5EF4-FFF2-40B4-BE49-F238E27FC236}">
                    <a16:creationId xmlns:a16="http://schemas.microsoft.com/office/drawing/2014/main" id="{104ABD57-EEC0-4E44-B0EE-43D8F3F3D4E8}"/>
                  </a:ext>
                </a:extLst>
              </p:cNvPr>
              <p:cNvSpPr/>
              <p:nvPr/>
            </p:nvSpPr>
            <p:spPr>
              <a:xfrm>
                <a:off x="4503366" y="5724924"/>
                <a:ext cx="168508" cy="74115"/>
              </a:xfrm>
              <a:custGeom>
                <a:avLst/>
                <a:gdLst>
                  <a:gd name="connsiteX0" fmla="*/ 34960 w 168508"/>
                  <a:gd name="connsiteY0" fmla="*/ 72482 h 74115"/>
                  <a:gd name="connsiteX1" fmla="*/ 131258 w 168508"/>
                  <a:gd name="connsiteY1" fmla="*/ 73816 h 74115"/>
                  <a:gd name="connsiteX2" fmla="*/ 167454 w 168508"/>
                  <a:gd name="connsiteY2" fmla="*/ 37811 h 74115"/>
                  <a:gd name="connsiteX3" fmla="*/ 167454 w 168508"/>
                  <a:gd name="connsiteY3" fmla="*/ 37431 h 74115"/>
                  <a:gd name="connsiteX4" fmla="*/ 131544 w 168508"/>
                  <a:gd name="connsiteY4" fmla="*/ 1140 h 74115"/>
                  <a:gd name="connsiteX5" fmla="*/ 36294 w 168508"/>
                  <a:gd name="connsiteY5" fmla="*/ -289 h 74115"/>
                  <a:gd name="connsiteX6" fmla="*/ -1044 w 168508"/>
                  <a:gd name="connsiteY6" fmla="*/ 35192 h 74115"/>
                  <a:gd name="connsiteX7" fmla="*/ 34485 w 168508"/>
                  <a:gd name="connsiteY7" fmla="*/ 72482 h 74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8508" h="74115">
                    <a:moveTo>
                      <a:pt x="34960" y="72482"/>
                    </a:moveTo>
                    <a:cubicBezTo>
                      <a:pt x="67060" y="73339"/>
                      <a:pt x="99159" y="73339"/>
                      <a:pt x="131258" y="73816"/>
                    </a:cubicBezTo>
                    <a:cubicBezTo>
                      <a:pt x="151166" y="73873"/>
                      <a:pt x="167358" y="57747"/>
                      <a:pt x="167454" y="37811"/>
                    </a:cubicBezTo>
                    <a:cubicBezTo>
                      <a:pt x="167454" y="37688"/>
                      <a:pt x="167454" y="37554"/>
                      <a:pt x="167454" y="37431"/>
                    </a:cubicBezTo>
                    <a:cubicBezTo>
                      <a:pt x="167358" y="17580"/>
                      <a:pt x="151356" y="1454"/>
                      <a:pt x="131544" y="1140"/>
                    </a:cubicBezTo>
                    <a:cubicBezTo>
                      <a:pt x="99922" y="568"/>
                      <a:pt x="68393" y="664"/>
                      <a:pt x="36294" y="-289"/>
                    </a:cubicBezTo>
                    <a:cubicBezTo>
                      <a:pt x="16196" y="-784"/>
                      <a:pt x="-472" y="15094"/>
                      <a:pt x="-1044" y="35192"/>
                    </a:cubicBezTo>
                    <a:cubicBezTo>
                      <a:pt x="-1520" y="55290"/>
                      <a:pt x="14386" y="71987"/>
                      <a:pt x="34485" y="7248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0" name="Freeform: Shape 269">
                <a:extLst>
                  <a:ext uri="{FF2B5EF4-FFF2-40B4-BE49-F238E27FC236}">
                    <a16:creationId xmlns:a16="http://schemas.microsoft.com/office/drawing/2014/main" id="{709EFF1D-7426-468F-9458-DAB864D65361}"/>
                  </a:ext>
                </a:extLst>
              </p:cNvPr>
              <p:cNvSpPr/>
              <p:nvPr/>
            </p:nvSpPr>
            <p:spPr>
              <a:xfrm>
                <a:off x="4744540" y="5563859"/>
                <a:ext cx="1117432" cy="233286"/>
              </a:xfrm>
              <a:custGeom>
                <a:avLst/>
                <a:gdLst>
                  <a:gd name="connsiteX0" fmla="*/ 35722 w 1117432"/>
                  <a:gd name="connsiteY0" fmla="*/ 232975 h 233286"/>
                  <a:gd name="connsiteX1" fmla="*/ 1090330 w 1117432"/>
                  <a:gd name="connsiteY1" fmla="*/ 71050 h 233286"/>
                  <a:gd name="connsiteX2" fmla="*/ 1114905 w 1117432"/>
                  <a:gd name="connsiteY2" fmla="*/ 25806 h 233286"/>
                  <a:gd name="connsiteX3" fmla="*/ 1070423 w 1117432"/>
                  <a:gd name="connsiteY3" fmla="*/ 1041 h 233286"/>
                  <a:gd name="connsiteX4" fmla="*/ 33913 w 1117432"/>
                  <a:gd name="connsiteY4" fmla="*/ 160109 h 233286"/>
                  <a:gd name="connsiteX5" fmla="*/ -1044 w 1117432"/>
                  <a:gd name="connsiteY5" fmla="*/ 197351 h 233286"/>
                  <a:gd name="connsiteX6" fmla="*/ 35341 w 1117432"/>
                  <a:gd name="connsiteY6" fmla="*/ 232985 h 233286"/>
                  <a:gd name="connsiteX7" fmla="*/ 35722 w 1117432"/>
                  <a:gd name="connsiteY7" fmla="*/ 232975 h 23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7432" h="233286">
                    <a:moveTo>
                      <a:pt x="35722" y="232975"/>
                    </a:moveTo>
                    <a:cubicBezTo>
                      <a:pt x="392624" y="222840"/>
                      <a:pt x="746859" y="168452"/>
                      <a:pt x="1090330" y="71050"/>
                    </a:cubicBezTo>
                    <a:cubicBezTo>
                      <a:pt x="1109571" y="65269"/>
                      <a:pt x="1120525" y="45075"/>
                      <a:pt x="1114905" y="25806"/>
                    </a:cubicBezTo>
                    <a:cubicBezTo>
                      <a:pt x="1109380" y="6756"/>
                      <a:pt x="1089568" y="-4293"/>
                      <a:pt x="1070423" y="1041"/>
                    </a:cubicBezTo>
                    <a:cubicBezTo>
                      <a:pt x="732856" y="96710"/>
                      <a:pt x="384623" y="150136"/>
                      <a:pt x="33913" y="160109"/>
                    </a:cubicBezTo>
                    <a:cubicBezTo>
                      <a:pt x="14100" y="160937"/>
                      <a:pt x="-1521" y="177492"/>
                      <a:pt x="-1044" y="197351"/>
                    </a:cubicBezTo>
                    <a:cubicBezTo>
                      <a:pt x="-853" y="217240"/>
                      <a:pt x="15434" y="233185"/>
                      <a:pt x="35341" y="232985"/>
                    </a:cubicBezTo>
                    <a:cubicBezTo>
                      <a:pt x="35436" y="232985"/>
                      <a:pt x="35627" y="232975"/>
                      <a:pt x="35722" y="23297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1" name="Freeform: Shape 270">
                <a:extLst>
                  <a:ext uri="{FF2B5EF4-FFF2-40B4-BE49-F238E27FC236}">
                    <a16:creationId xmlns:a16="http://schemas.microsoft.com/office/drawing/2014/main" id="{6648EA61-02A1-4166-8D51-A2A3310E8103}"/>
                  </a:ext>
                </a:extLst>
              </p:cNvPr>
              <p:cNvSpPr/>
              <p:nvPr/>
            </p:nvSpPr>
            <p:spPr>
              <a:xfrm>
                <a:off x="5118255" y="5556570"/>
                <a:ext cx="1235188" cy="366992"/>
              </a:xfrm>
              <a:custGeom>
                <a:avLst/>
                <a:gdLst>
                  <a:gd name="connsiteX0" fmla="*/ 40244 w 1235188"/>
                  <a:gd name="connsiteY0" fmla="*/ 366375 h 366992"/>
                  <a:gd name="connsiteX1" fmla="*/ 1210771 w 1235188"/>
                  <a:gd name="connsiteY1" fmla="*/ 69767 h 366992"/>
                  <a:gd name="connsiteX2" fmla="*/ 1231632 w 1235188"/>
                  <a:gd name="connsiteY2" fmla="*/ 22142 h 366992"/>
                  <a:gd name="connsiteX3" fmla="*/ 1231632 w 1235188"/>
                  <a:gd name="connsiteY3" fmla="*/ 22142 h 366992"/>
                  <a:gd name="connsiteX4" fmla="*/ 1183435 w 1235188"/>
                  <a:gd name="connsiteY4" fmla="*/ 2520 h 366992"/>
                  <a:gd name="connsiteX5" fmla="*/ 32148 w 1235188"/>
                  <a:gd name="connsiteY5" fmla="*/ 294271 h 366992"/>
                  <a:gd name="connsiteX6" fmla="*/ -904 w 1235188"/>
                  <a:gd name="connsiteY6" fmla="*/ 334657 h 366992"/>
                  <a:gd name="connsiteX7" fmla="*/ 40148 w 1235188"/>
                  <a:gd name="connsiteY7" fmla="*/ 366394 h 366992"/>
                  <a:gd name="connsiteX8" fmla="*/ 40244 w 1235188"/>
                  <a:gd name="connsiteY8" fmla="*/ 366375 h 366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5188" h="366992">
                    <a:moveTo>
                      <a:pt x="40244" y="366375"/>
                    </a:moveTo>
                    <a:cubicBezTo>
                      <a:pt x="442104" y="321341"/>
                      <a:pt x="835963" y="221547"/>
                      <a:pt x="1210771" y="69767"/>
                    </a:cubicBezTo>
                    <a:cubicBezTo>
                      <a:pt x="1229631" y="62337"/>
                      <a:pt x="1238966" y="41049"/>
                      <a:pt x="1231632" y="22142"/>
                    </a:cubicBezTo>
                    <a:lnTo>
                      <a:pt x="1231632" y="22142"/>
                    </a:lnTo>
                    <a:cubicBezTo>
                      <a:pt x="1223630" y="3520"/>
                      <a:pt x="1202199" y="-5224"/>
                      <a:pt x="1183435" y="2520"/>
                    </a:cubicBezTo>
                    <a:cubicBezTo>
                      <a:pt x="814817" y="151844"/>
                      <a:pt x="427435" y="249999"/>
                      <a:pt x="32148" y="294271"/>
                    </a:cubicBezTo>
                    <a:cubicBezTo>
                      <a:pt x="11955" y="296519"/>
                      <a:pt x="-2714" y="314455"/>
                      <a:pt x="-904" y="334657"/>
                    </a:cubicBezTo>
                    <a:cubicBezTo>
                      <a:pt x="1668" y="354745"/>
                      <a:pt x="20051" y="368956"/>
                      <a:pt x="40148" y="366394"/>
                    </a:cubicBezTo>
                    <a:cubicBezTo>
                      <a:pt x="40148" y="366385"/>
                      <a:pt x="40244" y="366385"/>
                      <a:pt x="40244" y="36637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2" name="Freeform: Shape 271">
                <a:extLst>
                  <a:ext uri="{FF2B5EF4-FFF2-40B4-BE49-F238E27FC236}">
                    <a16:creationId xmlns:a16="http://schemas.microsoft.com/office/drawing/2014/main" id="{D413DA67-A49E-4C20-A46A-2774EFADC077}"/>
                  </a:ext>
                </a:extLst>
              </p:cNvPr>
              <p:cNvSpPr/>
              <p:nvPr/>
            </p:nvSpPr>
            <p:spPr>
              <a:xfrm>
                <a:off x="5487576" y="5817434"/>
                <a:ext cx="592584" cy="204252"/>
              </a:xfrm>
              <a:custGeom>
                <a:avLst/>
                <a:gdLst>
                  <a:gd name="connsiteX0" fmla="*/ 44113 w 592584"/>
                  <a:gd name="connsiteY0" fmla="*/ 203048 h 204252"/>
                  <a:gd name="connsiteX1" fmla="*/ 564368 w 592584"/>
                  <a:gd name="connsiteY1" fmla="*/ 71127 h 204252"/>
                  <a:gd name="connsiteX2" fmla="*/ 590181 w 592584"/>
                  <a:gd name="connsiteY2" fmla="*/ 24549 h 204252"/>
                  <a:gd name="connsiteX3" fmla="*/ 590181 w 592584"/>
                  <a:gd name="connsiteY3" fmla="*/ 24549 h 204252"/>
                  <a:gd name="connsiteX4" fmla="*/ 542556 w 592584"/>
                  <a:gd name="connsiteY4" fmla="*/ 1784 h 204252"/>
                  <a:gd name="connsiteX5" fmla="*/ 30396 w 592584"/>
                  <a:gd name="connsiteY5" fmla="*/ 131610 h 204252"/>
                  <a:gd name="connsiteX6" fmla="*/ -655 w 592584"/>
                  <a:gd name="connsiteY6" fmla="*/ 174663 h 204252"/>
                  <a:gd name="connsiteX7" fmla="*/ 44113 w 592584"/>
                  <a:gd name="connsiteY7" fmla="*/ 203048 h 204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2584" h="204252">
                    <a:moveTo>
                      <a:pt x="44113" y="203048"/>
                    </a:moveTo>
                    <a:cubicBezTo>
                      <a:pt x="220039" y="169443"/>
                      <a:pt x="393680" y="125400"/>
                      <a:pt x="564368" y="71127"/>
                    </a:cubicBezTo>
                    <a:cubicBezTo>
                      <a:pt x="584180" y="65192"/>
                      <a:pt x="595611" y="44514"/>
                      <a:pt x="590181" y="24549"/>
                    </a:cubicBezTo>
                    <a:lnTo>
                      <a:pt x="590181" y="24549"/>
                    </a:lnTo>
                    <a:cubicBezTo>
                      <a:pt x="583228" y="5194"/>
                      <a:pt x="561987" y="-4959"/>
                      <a:pt x="542556" y="1784"/>
                    </a:cubicBezTo>
                    <a:cubicBezTo>
                      <a:pt x="374535" y="55153"/>
                      <a:pt x="203561" y="98501"/>
                      <a:pt x="30396" y="131610"/>
                    </a:cubicBezTo>
                    <a:cubicBezTo>
                      <a:pt x="10108" y="135201"/>
                      <a:pt x="-3607" y="154280"/>
                      <a:pt x="-655" y="174663"/>
                    </a:cubicBezTo>
                    <a:cubicBezTo>
                      <a:pt x="3918" y="194846"/>
                      <a:pt x="23920" y="207543"/>
                      <a:pt x="44113" y="20304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3" name="Freeform: Shape 272">
                <a:extLst>
                  <a:ext uri="{FF2B5EF4-FFF2-40B4-BE49-F238E27FC236}">
                    <a16:creationId xmlns:a16="http://schemas.microsoft.com/office/drawing/2014/main" id="{97E564E8-271B-4A16-B68B-FF93005A3301}"/>
                  </a:ext>
                </a:extLst>
              </p:cNvPr>
              <p:cNvSpPr/>
              <p:nvPr/>
            </p:nvSpPr>
            <p:spPr>
              <a:xfrm>
                <a:off x="4679053" y="5973003"/>
                <a:ext cx="745811" cy="131156"/>
              </a:xfrm>
              <a:custGeom>
                <a:avLst/>
                <a:gdLst>
                  <a:gd name="connsiteX0" fmla="*/ 38534 w 745811"/>
                  <a:gd name="connsiteY0" fmla="*/ 130727 h 131156"/>
                  <a:gd name="connsiteX1" fmla="*/ 207412 w 745811"/>
                  <a:gd name="connsiteY1" fmla="*/ 125679 h 131156"/>
                  <a:gd name="connsiteX2" fmla="*/ 291708 w 745811"/>
                  <a:gd name="connsiteY2" fmla="*/ 120345 h 131156"/>
                  <a:gd name="connsiteX3" fmla="*/ 375909 w 745811"/>
                  <a:gd name="connsiteY3" fmla="*/ 113773 h 131156"/>
                  <a:gd name="connsiteX4" fmla="*/ 711380 w 745811"/>
                  <a:gd name="connsiteY4" fmla="*/ 72529 h 131156"/>
                  <a:gd name="connsiteX5" fmla="*/ 744623 w 745811"/>
                  <a:gd name="connsiteY5" fmla="*/ 33096 h 131156"/>
                  <a:gd name="connsiteX6" fmla="*/ 705189 w 745811"/>
                  <a:gd name="connsiteY6" fmla="*/ -166 h 131156"/>
                  <a:gd name="connsiteX7" fmla="*/ 699759 w 745811"/>
                  <a:gd name="connsiteY7" fmla="*/ 710 h 131156"/>
                  <a:gd name="connsiteX8" fmla="*/ 369623 w 745811"/>
                  <a:gd name="connsiteY8" fmla="*/ 41287 h 131156"/>
                  <a:gd name="connsiteX9" fmla="*/ 286755 w 745811"/>
                  <a:gd name="connsiteY9" fmla="*/ 47764 h 131156"/>
                  <a:gd name="connsiteX10" fmla="*/ 203697 w 745811"/>
                  <a:gd name="connsiteY10" fmla="*/ 53003 h 131156"/>
                  <a:gd name="connsiteX11" fmla="*/ 37581 w 745811"/>
                  <a:gd name="connsiteY11" fmla="*/ 57956 h 131156"/>
                  <a:gd name="connsiteX12" fmla="*/ -995 w 745811"/>
                  <a:gd name="connsiteY12" fmla="*/ 92265 h 131156"/>
                  <a:gd name="connsiteX13" fmla="*/ 33390 w 745811"/>
                  <a:gd name="connsiteY13" fmla="*/ 130794 h 131156"/>
                  <a:gd name="connsiteX14" fmla="*/ 38534 w 745811"/>
                  <a:gd name="connsiteY14" fmla="*/ 130727 h 131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45811" h="131156">
                    <a:moveTo>
                      <a:pt x="38534" y="130727"/>
                    </a:moveTo>
                    <a:cubicBezTo>
                      <a:pt x="94826" y="130727"/>
                      <a:pt x="151119" y="127584"/>
                      <a:pt x="207412" y="125679"/>
                    </a:cubicBezTo>
                    <a:lnTo>
                      <a:pt x="291708" y="120345"/>
                    </a:lnTo>
                    <a:cubicBezTo>
                      <a:pt x="320283" y="118821"/>
                      <a:pt x="347811" y="116344"/>
                      <a:pt x="375909" y="113773"/>
                    </a:cubicBezTo>
                    <a:cubicBezTo>
                      <a:pt x="488209" y="104248"/>
                      <a:pt x="600033" y="90150"/>
                      <a:pt x="711380" y="72529"/>
                    </a:cubicBezTo>
                    <a:cubicBezTo>
                      <a:pt x="731478" y="70824"/>
                      <a:pt x="746336" y="53165"/>
                      <a:pt x="744623" y="33096"/>
                    </a:cubicBezTo>
                    <a:cubicBezTo>
                      <a:pt x="742908" y="13017"/>
                      <a:pt x="725287" y="-1880"/>
                      <a:pt x="705189" y="-166"/>
                    </a:cubicBezTo>
                    <a:cubicBezTo>
                      <a:pt x="703379" y="-13"/>
                      <a:pt x="701569" y="282"/>
                      <a:pt x="699759" y="710"/>
                    </a:cubicBezTo>
                    <a:cubicBezTo>
                      <a:pt x="590222" y="18046"/>
                      <a:pt x="480684" y="32334"/>
                      <a:pt x="369623" y="41287"/>
                    </a:cubicBezTo>
                    <a:cubicBezTo>
                      <a:pt x="342001" y="43859"/>
                      <a:pt x="314378" y="46336"/>
                      <a:pt x="286755" y="47764"/>
                    </a:cubicBezTo>
                    <a:lnTo>
                      <a:pt x="203697" y="53003"/>
                    </a:lnTo>
                    <a:cubicBezTo>
                      <a:pt x="148357" y="54908"/>
                      <a:pt x="92922" y="57956"/>
                      <a:pt x="37581" y="57956"/>
                    </a:cubicBezTo>
                    <a:cubicBezTo>
                      <a:pt x="17483" y="56784"/>
                      <a:pt x="244" y="72148"/>
                      <a:pt x="-995" y="92265"/>
                    </a:cubicBezTo>
                    <a:cubicBezTo>
                      <a:pt x="-2138" y="112372"/>
                      <a:pt x="13197" y="129632"/>
                      <a:pt x="33390" y="130794"/>
                    </a:cubicBezTo>
                    <a:cubicBezTo>
                      <a:pt x="35105" y="130898"/>
                      <a:pt x="36819" y="130870"/>
                      <a:pt x="38534" y="13072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4" name="Freeform: Shape 273">
                <a:extLst>
                  <a:ext uri="{FF2B5EF4-FFF2-40B4-BE49-F238E27FC236}">
                    <a16:creationId xmlns:a16="http://schemas.microsoft.com/office/drawing/2014/main" id="{BD7971DC-DC79-4FCE-84C1-EBAEA8D17ED5}"/>
                  </a:ext>
                </a:extLst>
              </p:cNvPr>
              <p:cNvSpPr/>
              <p:nvPr/>
            </p:nvSpPr>
            <p:spPr>
              <a:xfrm>
                <a:off x="5266988" y="5933246"/>
                <a:ext cx="950869" cy="279618"/>
              </a:xfrm>
              <a:custGeom>
                <a:avLst/>
                <a:gdLst>
                  <a:gd name="connsiteX0" fmla="*/ 43911 w 950869"/>
                  <a:gd name="connsiteY0" fmla="*/ 278592 h 279618"/>
                  <a:gd name="connsiteX1" fmla="*/ 922402 w 950869"/>
                  <a:gd name="connsiteY1" fmla="*/ 71234 h 279618"/>
                  <a:gd name="connsiteX2" fmla="*/ 948310 w 950869"/>
                  <a:gd name="connsiteY2" fmla="*/ 23609 h 279618"/>
                  <a:gd name="connsiteX3" fmla="*/ 898970 w 950869"/>
                  <a:gd name="connsiteY3" fmla="*/ 2367 h 279618"/>
                  <a:gd name="connsiteX4" fmla="*/ 34006 w 950869"/>
                  <a:gd name="connsiteY4" fmla="*/ 206583 h 279618"/>
                  <a:gd name="connsiteX5" fmla="*/ -951 w 950869"/>
                  <a:gd name="connsiteY5" fmla="*/ 247922 h 279618"/>
                  <a:gd name="connsiteX6" fmla="*/ 43245 w 950869"/>
                  <a:gd name="connsiteY6" fmla="*/ 278716 h 279618"/>
                  <a:gd name="connsiteX7" fmla="*/ 43911 w 950869"/>
                  <a:gd name="connsiteY7" fmla="*/ 278592 h 279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50869" h="279618">
                    <a:moveTo>
                      <a:pt x="43911" y="278592"/>
                    </a:moveTo>
                    <a:cubicBezTo>
                      <a:pt x="342615" y="237407"/>
                      <a:pt x="636747" y="167979"/>
                      <a:pt x="922402" y="71234"/>
                    </a:cubicBezTo>
                    <a:cubicBezTo>
                      <a:pt x="942596" y="65080"/>
                      <a:pt x="954121" y="43897"/>
                      <a:pt x="948310" y="23609"/>
                    </a:cubicBezTo>
                    <a:cubicBezTo>
                      <a:pt x="940499" y="4168"/>
                      <a:pt x="918497" y="-5319"/>
                      <a:pt x="898970" y="2367"/>
                    </a:cubicBezTo>
                    <a:cubicBezTo>
                      <a:pt x="617792" y="97694"/>
                      <a:pt x="328138" y="166074"/>
                      <a:pt x="34006" y="206583"/>
                    </a:cubicBezTo>
                    <a:cubicBezTo>
                      <a:pt x="13050" y="208593"/>
                      <a:pt x="-2476" y="226939"/>
                      <a:pt x="-951" y="247922"/>
                    </a:cubicBezTo>
                    <a:cubicBezTo>
                      <a:pt x="2763" y="268639"/>
                      <a:pt x="22575" y="282422"/>
                      <a:pt x="43245" y="278716"/>
                    </a:cubicBezTo>
                    <a:cubicBezTo>
                      <a:pt x="43435" y="278678"/>
                      <a:pt x="43720" y="278631"/>
                      <a:pt x="43911" y="2785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5" name="Freeform: Shape 274">
                <a:extLst>
                  <a:ext uri="{FF2B5EF4-FFF2-40B4-BE49-F238E27FC236}">
                    <a16:creationId xmlns:a16="http://schemas.microsoft.com/office/drawing/2014/main" id="{56C127F8-ECE5-42F1-912F-7291B5FBA385}"/>
                  </a:ext>
                </a:extLst>
              </p:cNvPr>
              <p:cNvSpPr/>
              <p:nvPr/>
            </p:nvSpPr>
            <p:spPr>
              <a:xfrm>
                <a:off x="4760838" y="6159983"/>
                <a:ext cx="417062" cy="95220"/>
              </a:xfrm>
              <a:custGeom>
                <a:avLst/>
                <a:gdLst>
                  <a:gd name="connsiteX0" fmla="*/ 39808 w 417062"/>
                  <a:gd name="connsiteY0" fmla="*/ 94813 h 95220"/>
                  <a:gd name="connsiteX1" fmla="*/ 124961 w 417062"/>
                  <a:gd name="connsiteY1" fmla="*/ 91575 h 95220"/>
                  <a:gd name="connsiteX2" fmla="*/ 210020 w 417062"/>
                  <a:gd name="connsiteY2" fmla="*/ 86526 h 95220"/>
                  <a:gd name="connsiteX3" fmla="*/ 252596 w 417062"/>
                  <a:gd name="connsiteY3" fmla="*/ 83764 h 95220"/>
                  <a:gd name="connsiteX4" fmla="*/ 295077 w 417062"/>
                  <a:gd name="connsiteY4" fmla="*/ 80144 h 95220"/>
                  <a:gd name="connsiteX5" fmla="*/ 379945 w 417062"/>
                  <a:gd name="connsiteY5" fmla="*/ 72525 h 95220"/>
                  <a:gd name="connsiteX6" fmla="*/ 415950 w 417062"/>
                  <a:gd name="connsiteY6" fmla="*/ 31853 h 95220"/>
                  <a:gd name="connsiteX7" fmla="*/ 372611 w 417062"/>
                  <a:gd name="connsiteY7" fmla="*/ 134 h 95220"/>
                  <a:gd name="connsiteX8" fmla="*/ 288982 w 417062"/>
                  <a:gd name="connsiteY8" fmla="*/ 7659 h 95220"/>
                  <a:gd name="connsiteX9" fmla="*/ 247167 w 417062"/>
                  <a:gd name="connsiteY9" fmla="*/ 11279 h 95220"/>
                  <a:gd name="connsiteX10" fmla="*/ 205257 w 417062"/>
                  <a:gd name="connsiteY10" fmla="*/ 13946 h 95220"/>
                  <a:gd name="connsiteX11" fmla="*/ 121437 w 417062"/>
                  <a:gd name="connsiteY11" fmla="*/ 18899 h 95220"/>
                  <a:gd name="connsiteX12" fmla="*/ 37617 w 417062"/>
                  <a:gd name="connsiteY12" fmla="*/ 22137 h 95220"/>
                  <a:gd name="connsiteX13" fmla="*/ -1055 w 417062"/>
                  <a:gd name="connsiteY13" fmla="*/ 59665 h 95220"/>
                  <a:gd name="connsiteX14" fmla="*/ 39808 w 417062"/>
                  <a:gd name="connsiteY14" fmla="*/ 94813 h 95220"/>
                  <a:gd name="connsiteX15" fmla="*/ 39808 w 417062"/>
                  <a:gd name="connsiteY15" fmla="*/ 94813 h 95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17062" h="95220">
                    <a:moveTo>
                      <a:pt x="39808" y="94813"/>
                    </a:moveTo>
                    <a:lnTo>
                      <a:pt x="124961" y="91575"/>
                    </a:lnTo>
                    <a:cubicBezTo>
                      <a:pt x="153536" y="90336"/>
                      <a:pt x="182111" y="88240"/>
                      <a:pt x="210020" y="86526"/>
                    </a:cubicBezTo>
                    <a:lnTo>
                      <a:pt x="252596" y="83764"/>
                    </a:lnTo>
                    <a:lnTo>
                      <a:pt x="295077" y="80144"/>
                    </a:lnTo>
                    <a:lnTo>
                      <a:pt x="379945" y="72525"/>
                    </a:lnTo>
                    <a:cubicBezTo>
                      <a:pt x="401091" y="71096"/>
                      <a:pt x="417093" y="52979"/>
                      <a:pt x="415950" y="31853"/>
                    </a:cubicBezTo>
                    <a:cubicBezTo>
                      <a:pt x="412712" y="11164"/>
                      <a:pt x="393281" y="-2999"/>
                      <a:pt x="372611" y="134"/>
                    </a:cubicBezTo>
                    <a:lnTo>
                      <a:pt x="288982" y="7659"/>
                    </a:lnTo>
                    <a:lnTo>
                      <a:pt x="247167" y="11279"/>
                    </a:lnTo>
                    <a:lnTo>
                      <a:pt x="205257" y="13946"/>
                    </a:lnTo>
                    <a:cubicBezTo>
                      <a:pt x="177348" y="15565"/>
                      <a:pt x="149441" y="17660"/>
                      <a:pt x="121437" y="18899"/>
                    </a:cubicBezTo>
                    <a:lnTo>
                      <a:pt x="37617" y="22137"/>
                    </a:lnTo>
                    <a:cubicBezTo>
                      <a:pt x="16757" y="22175"/>
                      <a:pt x="-387" y="38777"/>
                      <a:pt x="-1055" y="59665"/>
                    </a:cubicBezTo>
                    <a:cubicBezTo>
                      <a:pt x="470" y="80649"/>
                      <a:pt x="18758" y="96385"/>
                      <a:pt x="39808" y="94813"/>
                    </a:cubicBezTo>
                    <a:cubicBezTo>
                      <a:pt x="39808" y="94813"/>
                      <a:pt x="39808" y="94813"/>
                      <a:pt x="39808" y="9481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6" name="Freeform: Shape 275">
                <a:extLst>
                  <a:ext uri="{FF2B5EF4-FFF2-40B4-BE49-F238E27FC236}">
                    <a16:creationId xmlns:a16="http://schemas.microsoft.com/office/drawing/2014/main" id="{A784438E-9CF4-4E2D-AE2B-4FAFA347AF68}"/>
                  </a:ext>
                </a:extLst>
              </p:cNvPr>
              <p:cNvSpPr/>
              <p:nvPr/>
            </p:nvSpPr>
            <p:spPr>
              <a:xfrm>
                <a:off x="3954168" y="5984767"/>
                <a:ext cx="590547" cy="118204"/>
              </a:xfrm>
              <a:custGeom>
                <a:avLst/>
                <a:gdLst>
                  <a:gd name="connsiteX0" fmla="*/ 32947 w 590547"/>
                  <a:gd name="connsiteY0" fmla="*/ 72576 h 118204"/>
                  <a:gd name="connsiteX1" fmla="*/ -962 w 590547"/>
                  <a:gd name="connsiteY1" fmla="*/ 33714 h 118204"/>
                  <a:gd name="connsiteX2" fmla="*/ 37900 w 590547"/>
                  <a:gd name="connsiteY2" fmla="*/ -214 h 118204"/>
                  <a:gd name="connsiteX3" fmla="*/ 43328 w 590547"/>
                  <a:gd name="connsiteY3" fmla="*/ 567 h 118204"/>
                  <a:gd name="connsiteX4" fmla="*/ 552154 w 590547"/>
                  <a:gd name="connsiteY4" fmla="*/ 44668 h 118204"/>
                  <a:gd name="connsiteX5" fmla="*/ 589493 w 590547"/>
                  <a:gd name="connsiteY5" fmla="*/ 82768 h 118204"/>
                  <a:gd name="connsiteX6" fmla="*/ 550345 w 590547"/>
                  <a:gd name="connsiteY6" fmla="*/ 117849 h 118204"/>
                  <a:gd name="connsiteX7" fmla="*/ 549868 w 590547"/>
                  <a:gd name="connsiteY7" fmla="*/ 117820 h 118204"/>
                  <a:gd name="connsiteX8" fmla="*/ 32947 w 590547"/>
                  <a:gd name="connsiteY8" fmla="*/ 72576 h 118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0547" h="118204">
                    <a:moveTo>
                      <a:pt x="32947" y="72576"/>
                    </a:moveTo>
                    <a:cubicBezTo>
                      <a:pt x="12849" y="71214"/>
                      <a:pt x="-2391" y="53812"/>
                      <a:pt x="-962" y="33714"/>
                    </a:cubicBezTo>
                    <a:cubicBezTo>
                      <a:pt x="372" y="13607"/>
                      <a:pt x="17802" y="-1585"/>
                      <a:pt x="37900" y="-214"/>
                    </a:cubicBezTo>
                    <a:cubicBezTo>
                      <a:pt x="39709" y="-90"/>
                      <a:pt x="41519" y="167"/>
                      <a:pt x="43328" y="567"/>
                    </a:cubicBezTo>
                    <a:cubicBezTo>
                      <a:pt x="212017" y="24828"/>
                      <a:pt x="381847" y="39553"/>
                      <a:pt x="552154" y="44668"/>
                    </a:cubicBezTo>
                    <a:cubicBezTo>
                      <a:pt x="572919" y="45087"/>
                      <a:pt x="589493" y="62023"/>
                      <a:pt x="589493" y="82768"/>
                    </a:cubicBezTo>
                    <a:cubicBezTo>
                      <a:pt x="588350" y="103256"/>
                      <a:pt x="570918" y="118963"/>
                      <a:pt x="550345" y="117849"/>
                    </a:cubicBezTo>
                    <a:cubicBezTo>
                      <a:pt x="550250" y="117839"/>
                      <a:pt x="550059" y="117829"/>
                      <a:pt x="549868" y="117820"/>
                    </a:cubicBezTo>
                    <a:cubicBezTo>
                      <a:pt x="376894" y="112458"/>
                      <a:pt x="204301" y="97351"/>
                      <a:pt x="32947" y="7257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7" name="Freeform: Shape 276">
                <a:extLst>
                  <a:ext uri="{FF2B5EF4-FFF2-40B4-BE49-F238E27FC236}">
                    <a16:creationId xmlns:a16="http://schemas.microsoft.com/office/drawing/2014/main" id="{998A01BF-B276-4E4E-8242-6FA40217DA7A}"/>
                  </a:ext>
                </a:extLst>
              </p:cNvPr>
              <p:cNvSpPr/>
              <p:nvPr/>
            </p:nvSpPr>
            <p:spPr>
              <a:xfrm>
                <a:off x="3084118" y="5270810"/>
                <a:ext cx="1813134" cy="986517"/>
              </a:xfrm>
              <a:custGeom>
                <a:avLst/>
                <a:gdLst>
                  <a:gd name="connsiteX0" fmla="*/ 793364 w 1813134"/>
                  <a:gd name="connsiteY0" fmla="*/ 73016 h 986517"/>
                  <a:gd name="connsiteX1" fmla="*/ 793364 w 1813134"/>
                  <a:gd name="connsiteY1" fmla="*/ 73968 h 986517"/>
                  <a:gd name="connsiteX2" fmla="*/ 1600894 w 1813134"/>
                  <a:gd name="connsiteY2" fmla="*/ 149311 h 986517"/>
                  <a:gd name="connsiteX3" fmla="*/ 1636136 w 1813134"/>
                  <a:gd name="connsiteY3" fmla="*/ 181505 h 986517"/>
                  <a:gd name="connsiteX4" fmla="*/ 1606418 w 1813134"/>
                  <a:gd name="connsiteY4" fmla="*/ 221653 h 986517"/>
                  <a:gd name="connsiteX5" fmla="*/ 1603180 w 1813134"/>
                  <a:gd name="connsiteY5" fmla="*/ 221987 h 986517"/>
                  <a:gd name="connsiteX6" fmla="*/ 657919 w 1813134"/>
                  <a:gd name="connsiteY6" fmla="*/ 119783 h 986517"/>
                  <a:gd name="connsiteX7" fmla="*/ 612485 w 1813134"/>
                  <a:gd name="connsiteY7" fmla="*/ 149882 h 986517"/>
                  <a:gd name="connsiteX8" fmla="*/ 639917 w 1813134"/>
                  <a:gd name="connsiteY8" fmla="*/ 197507 h 986517"/>
                  <a:gd name="connsiteX9" fmla="*/ 1049492 w 1813134"/>
                  <a:gd name="connsiteY9" fmla="*/ 269898 h 986517"/>
                  <a:gd name="connsiteX10" fmla="*/ 1081305 w 1813134"/>
                  <a:gd name="connsiteY10" fmla="*/ 306855 h 986517"/>
                  <a:gd name="connsiteX11" fmla="*/ 1046063 w 1813134"/>
                  <a:gd name="connsiteY11" fmla="*/ 342487 h 986517"/>
                  <a:gd name="connsiteX12" fmla="*/ 1042062 w 1813134"/>
                  <a:gd name="connsiteY12" fmla="*/ 342287 h 986517"/>
                  <a:gd name="connsiteX13" fmla="*/ 787649 w 1813134"/>
                  <a:gd name="connsiteY13" fmla="*/ 302568 h 986517"/>
                  <a:gd name="connsiteX14" fmla="*/ 740881 w 1813134"/>
                  <a:gd name="connsiteY14" fmla="*/ 334477 h 986517"/>
                  <a:gd name="connsiteX15" fmla="*/ 772791 w 1813134"/>
                  <a:gd name="connsiteY15" fmla="*/ 381245 h 986517"/>
                  <a:gd name="connsiteX16" fmla="*/ 1037490 w 1813134"/>
                  <a:gd name="connsiteY16" fmla="*/ 422393 h 986517"/>
                  <a:gd name="connsiteX17" fmla="*/ 1170840 w 1813134"/>
                  <a:gd name="connsiteY17" fmla="*/ 437061 h 986517"/>
                  <a:gd name="connsiteX18" fmla="*/ 1237515 w 1813134"/>
                  <a:gd name="connsiteY18" fmla="*/ 442491 h 986517"/>
                  <a:gd name="connsiteX19" fmla="*/ 1270853 w 1813134"/>
                  <a:gd name="connsiteY19" fmla="*/ 445157 h 986517"/>
                  <a:gd name="connsiteX20" fmla="*/ 1304285 w 1813134"/>
                  <a:gd name="connsiteY20" fmla="*/ 447062 h 986517"/>
                  <a:gd name="connsiteX21" fmla="*/ 1339813 w 1813134"/>
                  <a:gd name="connsiteY21" fmla="*/ 481829 h 986517"/>
                  <a:gd name="connsiteX22" fmla="*/ 1305428 w 1813134"/>
                  <a:gd name="connsiteY22" fmla="*/ 519929 h 986517"/>
                  <a:gd name="connsiteX23" fmla="*/ 1301713 w 1813134"/>
                  <a:gd name="connsiteY23" fmla="*/ 519929 h 986517"/>
                  <a:gd name="connsiteX24" fmla="*/ 988151 w 1813134"/>
                  <a:gd name="connsiteY24" fmla="*/ 489639 h 986517"/>
                  <a:gd name="connsiteX25" fmla="*/ 677635 w 1813134"/>
                  <a:gd name="connsiteY25" fmla="*/ 436680 h 986517"/>
                  <a:gd name="connsiteX26" fmla="*/ 629630 w 1813134"/>
                  <a:gd name="connsiteY26" fmla="*/ 466608 h 986517"/>
                  <a:gd name="connsiteX27" fmla="*/ 659539 w 1813134"/>
                  <a:gd name="connsiteY27" fmla="*/ 514623 h 986517"/>
                  <a:gd name="connsiteX28" fmla="*/ 661253 w 1813134"/>
                  <a:gd name="connsiteY28" fmla="*/ 514976 h 986517"/>
                  <a:gd name="connsiteX29" fmla="*/ 1771392 w 1813134"/>
                  <a:gd name="connsiteY29" fmla="*/ 603368 h 986517"/>
                  <a:gd name="connsiteX30" fmla="*/ 1811682 w 1813134"/>
                  <a:gd name="connsiteY30" fmla="*/ 634038 h 986517"/>
                  <a:gd name="connsiteX31" fmla="*/ 1780821 w 1813134"/>
                  <a:gd name="connsiteY31" fmla="*/ 675567 h 986517"/>
                  <a:gd name="connsiteX32" fmla="*/ 1776534 w 1813134"/>
                  <a:gd name="connsiteY32" fmla="*/ 675948 h 986517"/>
                  <a:gd name="connsiteX33" fmla="*/ 389885 w 1813134"/>
                  <a:gd name="connsiteY33" fmla="*/ 524501 h 986517"/>
                  <a:gd name="connsiteX34" fmla="*/ 339118 w 1813134"/>
                  <a:gd name="connsiteY34" fmla="*/ 552123 h 986517"/>
                  <a:gd name="connsiteX35" fmla="*/ 368073 w 1813134"/>
                  <a:gd name="connsiteY35" fmla="*/ 601530 h 986517"/>
                  <a:gd name="connsiteX36" fmla="*/ 368931 w 1813134"/>
                  <a:gd name="connsiteY36" fmla="*/ 601748 h 986517"/>
                  <a:gd name="connsiteX37" fmla="*/ 754312 w 1813134"/>
                  <a:gd name="connsiteY37" fmla="*/ 688616 h 986517"/>
                  <a:gd name="connsiteX38" fmla="*/ 788126 w 1813134"/>
                  <a:gd name="connsiteY38" fmla="*/ 727574 h 986517"/>
                  <a:gd name="connsiteX39" fmla="*/ 747359 w 1813134"/>
                  <a:gd name="connsiteY39" fmla="*/ 761178 h 986517"/>
                  <a:gd name="connsiteX40" fmla="*/ 743167 w 1813134"/>
                  <a:gd name="connsiteY40" fmla="*/ 760530 h 986517"/>
                  <a:gd name="connsiteX41" fmla="*/ 702877 w 1813134"/>
                  <a:gd name="connsiteY41" fmla="*/ 753101 h 986517"/>
                  <a:gd name="connsiteX42" fmla="*/ 653252 w 1813134"/>
                  <a:gd name="connsiteY42" fmla="*/ 780800 h 986517"/>
                  <a:gd name="connsiteX43" fmla="*/ 680970 w 1813134"/>
                  <a:gd name="connsiteY43" fmla="*/ 830444 h 986517"/>
                  <a:gd name="connsiteX44" fmla="*/ 688018 w 1813134"/>
                  <a:gd name="connsiteY44" fmla="*/ 831777 h 986517"/>
                  <a:gd name="connsiteX45" fmla="*/ 1510788 w 1813134"/>
                  <a:gd name="connsiteY45" fmla="*/ 913216 h 986517"/>
                  <a:gd name="connsiteX46" fmla="*/ 1550506 w 1813134"/>
                  <a:gd name="connsiteY46" fmla="*/ 946373 h 986517"/>
                  <a:gd name="connsiteX47" fmla="*/ 1517360 w 1813134"/>
                  <a:gd name="connsiteY47" fmla="*/ 986072 h 986517"/>
                  <a:gd name="connsiteX48" fmla="*/ 1509930 w 1813134"/>
                  <a:gd name="connsiteY48" fmla="*/ 985987 h 986517"/>
                  <a:gd name="connsiteX49" fmla="*/ 631153 w 1813134"/>
                  <a:gd name="connsiteY49" fmla="*/ 894833 h 986517"/>
                  <a:gd name="connsiteX50" fmla="*/ 631153 w 1813134"/>
                  <a:gd name="connsiteY50" fmla="*/ 894833 h 986517"/>
                  <a:gd name="connsiteX51" fmla="*/ 317591 w 1813134"/>
                  <a:gd name="connsiteY51" fmla="*/ 821490 h 986517"/>
                  <a:gd name="connsiteX52" fmla="*/ 44604 w 1813134"/>
                  <a:gd name="connsiteY52" fmla="*/ 609463 h 986517"/>
                  <a:gd name="connsiteX53" fmla="*/ 13648 w 1813134"/>
                  <a:gd name="connsiteY53" fmla="*/ 533263 h 986517"/>
                  <a:gd name="connsiteX54" fmla="*/ -354 w 1813134"/>
                  <a:gd name="connsiteY54" fmla="*/ 452396 h 986517"/>
                  <a:gd name="connsiteX55" fmla="*/ 24983 w 1813134"/>
                  <a:gd name="connsiteY55" fmla="*/ 287995 h 986517"/>
                  <a:gd name="connsiteX56" fmla="*/ 24983 w 1813134"/>
                  <a:gd name="connsiteY56" fmla="*/ 287995 h 986517"/>
                  <a:gd name="connsiteX57" fmla="*/ 112613 w 1813134"/>
                  <a:gd name="connsiteY57" fmla="*/ 146453 h 986517"/>
                  <a:gd name="connsiteX58" fmla="*/ 171858 w 1813134"/>
                  <a:gd name="connsiteY58" fmla="*/ 92256 h 986517"/>
                  <a:gd name="connsiteX59" fmla="*/ 238057 w 1813134"/>
                  <a:gd name="connsiteY59" fmla="*/ 49870 h 986517"/>
                  <a:gd name="connsiteX60" fmla="*/ 535903 w 1813134"/>
                  <a:gd name="connsiteY60" fmla="*/ 13008 h 986517"/>
                  <a:gd name="connsiteX61" fmla="*/ 793364 w 1813134"/>
                  <a:gd name="connsiteY61" fmla="*/ 73016 h 986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1813134" h="986517">
                    <a:moveTo>
                      <a:pt x="793364" y="73016"/>
                    </a:moveTo>
                    <a:lnTo>
                      <a:pt x="793364" y="73968"/>
                    </a:lnTo>
                    <a:cubicBezTo>
                      <a:pt x="1059207" y="126794"/>
                      <a:pt x="1329813" y="152045"/>
                      <a:pt x="1600894" y="149311"/>
                    </a:cubicBezTo>
                    <a:cubicBezTo>
                      <a:pt x="1619182" y="149464"/>
                      <a:pt x="1634327" y="163351"/>
                      <a:pt x="1636136" y="181505"/>
                    </a:cubicBezTo>
                    <a:cubicBezTo>
                      <a:pt x="1638994" y="200813"/>
                      <a:pt x="1625659" y="218786"/>
                      <a:pt x="1606418" y="221653"/>
                    </a:cubicBezTo>
                    <a:cubicBezTo>
                      <a:pt x="1605275" y="221815"/>
                      <a:pt x="1604228" y="221930"/>
                      <a:pt x="1603180" y="221987"/>
                    </a:cubicBezTo>
                    <a:cubicBezTo>
                      <a:pt x="1285140" y="225168"/>
                      <a:pt x="967863" y="190859"/>
                      <a:pt x="657919" y="119783"/>
                    </a:cubicBezTo>
                    <a:cubicBezTo>
                      <a:pt x="637060" y="115573"/>
                      <a:pt x="616772" y="129042"/>
                      <a:pt x="612485" y="149882"/>
                    </a:cubicBezTo>
                    <a:cubicBezTo>
                      <a:pt x="607056" y="170590"/>
                      <a:pt x="619247" y="191840"/>
                      <a:pt x="639917" y="197507"/>
                    </a:cubicBezTo>
                    <a:cubicBezTo>
                      <a:pt x="775172" y="228493"/>
                      <a:pt x="911856" y="252657"/>
                      <a:pt x="1049492" y="269898"/>
                    </a:cubicBezTo>
                    <a:cubicBezTo>
                      <a:pt x="1067875" y="272403"/>
                      <a:pt x="1081591" y="288262"/>
                      <a:pt x="1081305" y="306855"/>
                    </a:cubicBezTo>
                    <a:cubicBezTo>
                      <a:pt x="1081400" y="326419"/>
                      <a:pt x="1065685" y="342383"/>
                      <a:pt x="1046063" y="342487"/>
                    </a:cubicBezTo>
                    <a:cubicBezTo>
                      <a:pt x="1044729" y="342497"/>
                      <a:pt x="1043395" y="342430"/>
                      <a:pt x="1042062" y="342287"/>
                    </a:cubicBezTo>
                    <a:cubicBezTo>
                      <a:pt x="956337" y="332096"/>
                      <a:pt x="872041" y="318189"/>
                      <a:pt x="787649" y="302568"/>
                    </a:cubicBezTo>
                    <a:cubicBezTo>
                      <a:pt x="765932" y="298463"/>
                      <a:pt x="744978" y="312750"/>
                      <a:pt x="740881" y="334477"/>
                    </a:cubicBezTo>
                    <a:cubicBezTo>
                      <a:pt x="736786" y="356203"/>
                      <a:pt x="751074" y="377139"/>
                      <a:pt x="772791" y="381245"/>
                    </a:cubicBezTo>
                    <a:cubicBezTo>
                      <a:pt x="860611" y="397437"/>
                      <a:pt x="948813" y="411915"/>
                      <a:pt x="1037490" y="422393"/>
                    </a:cubicBezTo>
                    <a:cubicBezTo>
                      <a:pt x="1081686" y="428488"/>
                      <a:pt x="1126264" y="431918"/>
                      <a:pt x="1170840" y="437061"/>
                    </a:cubicBezTo>
                    <a:lnTo>
                      <a:pt x="1237515" y="442491"/>
                    </a:lnTo>
                    <a:lnTo>
                      <a:pt x="1270853" y="445157"/>
                    </a:lnTo>
                    <a:lnTo>
                      <a:pt x="1304285" y="447062"/>
                    </a:lnTo>
                    <a:cubicBezTo>
                      <a:pt x="1323240" y="448024"/>
                      <a:pt x="1338480" y="462931"/>
                      <a:pt x="1339813" y="481829"/>
                    </a:cubicBezTo>
                    <a:cubicBezTo>
                      <a:pt x="1340861" y="501841"/>
                      <a:pt x="1325431" y="518900"/>
                      <a:pt x="1305428" y="519929"/>
                    </a:cubicBezTo>
                    <a:cubicBezTo>
                      <a:pt x="1304190" y="519996"/>
                      <a:pt x="1302952" y="519996"/>
                      <a:pt x="1301713" y="519929"/>
                    </a:cubicBezTo>
                    <a:cubicBezTo>
                      <a:pt x="1196938" y="513261"/>
                      <a:pt x="1092163" y="503927"/>
                      <a:pt x="988151" y="489639"/>
                    </a:cubicBezTo>
                    <a:cubicBezTo>
                      <a:pt x="884138" y="475352"/>
                      <a:pt x="780506" y="457826"/>
                      <a:pt x="677635" y="436680"/>
                    </a:cubicBezTo>
                    <a:cubicBezTo>
                      <a:pt x="656110" y="431689"/>
                      <a:pt x="634583" y="445091"/>
                      <a:pt x="629630" y="466608"/>
                    </a:cubicBezTo>
                    <a:cubicBezTo>
                      <a:pt x="624677" y="488134"/>
                      <a:pt x="638012" y="509622"/>
                      <a:pt x="659539" y="514623"/>
                    </a:cubicBezTo>
                    <a:cubicBezTo>
                      <a:pt x="660110" y="514747"/>
                      <a:pt x="660682" y="514871"/>
                      <a:pt x="661253" y="514976"/>
                    </a:cubicBezTo>
                    <a:cubicBezTo>
                      <a:pt x="1026156" y="590709"/>
                      <a:pt x="1399060" y="620408"/>
                      <a:pt x="1771392" y="603368"/>
                    </a:cubicBezTo>
                    <a:cubicBezTo>
                      <a:pt x="1790537" y="602196"/>
                      <a:pt x="1807681" y="615246"/>
                      <a:pt x="1811682" y="634038"/>
                    </a:cubicBezTo>
                    <a:cubicBezTo>
                      <a:pt x="1814634" y="654022"/>
                      <a:pt x="1800824" y="672614"/>
                      <a:pt x="1780821" y="675567"/>
                    </a:cubicBezTo>
                    <a:cubicBezTo>
                      <a:pt x="1779392" y="675777"/>
                      <a:pt x="1777963" y="675910"/>
                      <a:pt x="1776534" y="675948"/>
                    </a:cubicBezTo>
                    <a:cubicBezTo>
                      <a:pt x="1309239" y="697808"/>
                      <a:pt x="841466" y="646716"/>
                      <a:pt x="389885" y="524501"/>
                    </a:cubicBezTo>
                    <a:cubicBezTo>
                      <a:pt x="368263" y="518328"/>
                      <a:pt x="345689" y="530616"/>
                      <a:pt x="339118" y="552123"/>
                    </a:cubicBezTo>
                    <a:cubicBezTo>
                      <a:pt x="333497" y="573755"/>
                      <a:pt x="346452" y="595871"/>
                      <a:pt x="368073" y="601530"/>
                    </a:cubicBezTo>
                    <a:cubicBezTo>
                      <a:pt x="368359" y="601606"/>
                      <a:pt x="368645" y="601682"/>
                      <a:pt x="368931" y="601748"/>
                    </a:cubicBezTo>
                    <a:cubicBezTo>
                      <a:pt x="495899" y="636353"/>
                      <a:pt x="624391" y="665309"/>
                      <a:pt x="754312" y="688616"/>
                    </a:cubicBezTo>
                    <a:cubicBezTo>
                      <a:pt x="773743" y="691293"/>
                      <a:pt x="788222" y="707952"/>
                      <a:pt x="788126" y="727574"/>
                    </a:cubicBezTo>
                    <a:cubicBezTo>
                      <a:pt x="786125" y="748100"/>
                      <a:pt x="767933" y="763149"/>
                      <a:pt x="747359" y="761178"/>
                    </a:cubicBezTo>
                    <a:cubicBezTo>
                      <a:pt x="745930" y="761044"/>
                      <a:pt x="744596" y="760826"/>
                      <a:pt x="743167" y="760530"/>
                    </a:cubicBezTo>
                    <a:cubicBezTo>
                      <a:pt x="729738" y="758311"/>
                      <a:pt x="716307" y="755834"/>
                      <a:pt x="702877" y="753101"/>
                    </a:cubicBezTo>
                    <a:cubicBezTo>
                      <a:pt x="681541" y="747043"/>
                      <a:pt x="659253" y="759444"/>
                      <a:pt x="653252" y="780800"/>
                    </a:cubicBezTo>
                    <a:cubicBezTo>
                      <a:pt x="647156" y="802155"/>
                      <a:pt x="659539" y="824386"/>
                      <a:pt x="680970" y="830444"/>
                    </a:cubicBezTo>
                    <a:cubicBezTo>
                      <a:pt x="683256" y="831101"/>
                      <a:pt x="685637" y="831549"/>
                      <a:pt x="688018" y="831777"/>
                    </a:cubicBezTo>
                    <a:cubicBezTo>
                      <a:pt x="959386" y="882850"/>
                      <a:pt x="1234658" y="910102"/>
                      <a:pt x="1510788" y="913216"/>
                    </a:cubicBezTo>
                    <a:cubicBezTo>
                      <a:pt x="1530886" y="911406"/>
                      <a:pt x="1548697" y="926246"/>
                      <a:pt x="1550506" y="946373"/>
                    </a:cubicBezTo>
                    <a:cubicBezTo>
                      <a:pt x="1552317" y="966489"/>
                      <a:pt x="1537457" y="984263"/>
                      <a:pt x="1517360" y="986072"/>
                    </a:cubicBezTo>
                    <a:cubicBezTo>
                      <a:pt x="1514883" y="986292"/>
                      <a:pt x="1512406" y="986263"/>
                      <a:pt x="1509930" y="985987"/>
                    </a:cubicBezTo>
                    <a:cubicBezTo>
                      <a:pt x="1214846" y="982634"/>
                      <a:pt x="920618" y="952126"/>
                      <a:pt x="631153" y="894833"/>
                    </a:cubicBezTo>
                    <a:lnTo>
                      <a:pt x="631153" y="894833"/>
                    </a:lnTo>
                    <a:cubicBezTo>
                      <a:pt x="526378" y="873878"/>
                      <a:pt x="421603" y="849875"/>
                      <a:pt x="317591" y="821490"/>
                    </a:cubicBezTo>
                    <a:cubicBezTo>
                      <a:pt x="193766" y="787962"/>
                      <a:pt x="96706" y="708048"/>
                      <a:pt x="44604" y="609463"/>
                    </a:cubicBezTo>
                    <a:cubicBezTo>
                      <a:pt x="31555" y="585280"/>
                      <a:pt x="21173" y="559724"/>
                      <a:pt x="13648" y="533263"/>
                    </a:cubicBezTo>
                    <a:cubicBezTo>
                      <a:pt x="6123" y="506880"/>
                      <a:pt x="1456" y="479771"/>
                      <a:pt x="-354" y="452396"/>
                    </a:cubicBezTo>
                    <a:cubicBezTo>
                      <a:pt x="-3687" y="396418"/>
                      <a:pt x="4884" y="340364"/>
                      <a:pt x="24983" y="287995"/>
                    </a:cubicBezTo>
                    <a:lnTo>
                      <a:pt x="24983" y="287995"/>
                    </a:lnTo>
                    <a:cubicBezTo>
                      <a:pt x="44890" y="235636"/>
                      <a:pt x="74608" y="187582"/>
                      <a:pt x="112613" y="146453"/>
                    </a:cubicBezTo>
                    <a:cubicBezTo>
                      <a:pt x="130710" y="126670"/>
                      <a:pt x="150522" y="108534"/>
                      <a:pt x="171858" y="92256"/>
                    </a:cubicBezTo>
                    <a:cubicBezTo>
                      <a:pt x="192718" y="76387"/>
                      <a:pt x="214911" y="62214"/>
                      <a:pt x="238057" y="49870"/>
                    </a:cubicBezTo>
                    <a:cubicBezTo>
                      <a:pt x="330163" y="2245"/>
                      <a:pt x="434463" y="-14614"/>
                      <a:pt x="535903" y="13008"/>
                    </a:cubicBezTo>
                    <a:cubicBezTo>
                      <a:pt x="620296" y="36059"/>
                      <a:pt x="706592" y="55680"/>
                      <a:pt x="793364" y="7301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8" name="Freeform: Shape 277">
                <a:extLst>
                  <a:ext uri="{FF2B5EF4-FFF2-40B4-BE49-F238E27FC236}">
                    <a16:creationId xmlns:a16="http://schemas.microsoft.com/office/drawing/2014/main" id="{5384A49B-2FA4-42AF-A424-F42091AA3785}"/>
                  </a:ext>
                </a:extLst>
              </p:cNvPr>
              <p:cNvSpPr/>
              <p:nvPr/>
            </p:nvSpPr>
            <p:spPr>
              <a:xfrm>
                <a:off x="8578727" y="561546"/>
                <a:ext cx="851836" cy="1713774"/>
              </a:xfrm>
              <a:custGeom>
                <a:avLst/>
                <a:gdLst>
                  <a:gd name="connsiteX0" fmla="*/ 252993 w 851836"/>
                  <a:gd name="connsiteY0" fmla="*/ 1668938 h 1713774"/>
                  <a:gd name="connsiteX1" fmla="*/ 304619 w 851836"/>
                  <a:gd name="connsiteY1" fmla="*/ 1268888 h 1713774"/>
                  <a:gd name="connsiteX2" fmla="*/ 316239 w 851836"/>
                  <a:gd name="connsiteY2" fmla="*/ 1067434 h 1713774"/>
                  <a:gd name="connsiteX3" fmla="*/ 318525 w 851836"/>
                  <a:gd name="connsiteY3" fmla="*/ 966565 h 1713774"/>
                  <a:gd name="connsiteX4" fmla="*/ 319192 w 851836"/>
                  <a:gd name="connsiteY4" fmla="*/ 916082 h 1713774"/>
                  <a:gd name="connsiteX5" fmla="*/ 319192 w 851836"/>
                  <a:gd name="connsiteY5" fmla="*/ 864361 h 1713774"/>
                  <a:gd name="connsiteX6" fmla="*/ 283092 w 851836"/>
                  <a:gd name="connsiteY6" fmla="*/ 822451 h 1713774"/>
                  <a:gd name="connsiteX7" fmla="*/ 239277 w 851836"/>
                  <a:gd name="connsiteY7" fmla="*/ 858656 h 1713774"/>
                  <a:gd name="connsiteX8" fmla="*/ 239087 w 851836"/>
                  <a:gd name="connsiteY8" fmla="*/ 862647 h 1713774"/>
                  <a:gd name="connsiteX9" fmla="*/ 237658 w 851836"/>
                  <a:gd name="connsiteY9" fmla="*/ 1026286 h 1713774"/>
                  <a:gd name="connsiteX10" fmla="*/ 230133 w 851836"/>
                  <a:gd name="connsiteY10" fmla="*/ 1187449 h 1713774"/>
                  <a:gd name="connsiteX11" fmla="*/ 217083 w 851836"/>
                  <a:gd name="connsiteY11" fmla="*/ 1348231 h 1713774"/>
                  <a:gd name="connsiteX12" fmla="*/ 197272 w 851836"/>
                  <a:gd name="connsiteY12" fmla="*/ 1508156 h 1713774"/>
                  <a:gd name="connsiteX13" fmla="*/ 155552 w 851836"/>
                  <a:gd name="connsiteY13" fmla="*/ 1538274 h 1713774"/>
                  <a:gd name="connsiteX14" fmla="*/ 125073 w 851836"/>
                  <a:gd name="connsiteY14" fmla="*/ 1499584 h 1713774"/>
                  <a:gd name="connsiteX15" fmla="*/ 165459 w 851836"/>
                  <a:gd name="connsiteY15" fmla="*/ 989044 h 1713774"/>
                  <a:gd name="connsiteX16" fmla="*/ 125834 w 851836"/>
                  <a:gd name="connsiteY16" fmla="*/ 950944 h 1713774"/>
                  <a:gd name="connsiteX17" fmla="*/ 125834 w 851836"/>
                  <a:gd name="connsiteY17" fmla="*/ 950944 h 1713774"/>
                  <a:gd name="connsiteX18" fmla="*/ 125834 w 851836"/>
                  <a:gd name="connsiteY18" fmla="*/ 950944 h 1713774"/>
                  <a:gd name="connsiteX19" fmla="*/ 85353 w 851836"/>
                  <a:gd name="connsiteY19" fmla="*/ 987805 h 1713774"/>
                  <a:gd name="connsiteX20" fmla="*/ 85353 w 851836"/>
                  <a:gd name="connsiteY20" fmla="*/ 1022667 h 1713774"/>
                  <a:gd name="connsiteX21" fmla="*/ 84019 w 851836"/>
                  <a:gd name="connsiteY21" fmla="*/ 1057433 h 1713774"/>
                  <a:gd name="connsiteX22" fmla="*/ 81352 w 851836"/>
                  <a:gd name="connsiteY22" fmla="*/ 1127061 h 1713774"/>
                  <a:gd name="connsiteX23" fmla="*/ 76971 w 851836"/>
                  <a:gd name="connsiteY23" fmla="*/ 1196498 h 1713774"/>
                  <a:gd name="connsiteX24" fmla="*/ 74685 w 851836"/>
                  <a:gd name="connsiteY24" fmla="*/ 1231264 h 1713774"/>
                  <a:gd name="connsiteX25" fmla="*/ 71542 w 851836"/>
                  <a:gd name="connsiteY25" fmla="*/ 1265936 h 1713774"/>
                  <a:gd name="connsiteX26" fmla="*/ 31823 w 851836"/>
                  <a:gd name="connsiteY26" fmla="*/ 1298606 h 1713774"/>
                  <a:gd name="connsiteX27" fmla="*/ -1038 w 851836"/>
                  <a:gd name="connsiteY27" fmla="*/ 1261268 h 1713774"/>
                  <a:gd name="connsiteX28" fmla="*/ 2676 w 851836"/>
                  <a:gd name="connsiteY28" fmla="*/ 1216882 h 1713774"/>
                  <a:gd name="connsiteX29" fmla="*/ 5438 w 851836"/>
                  <a:gd name="connsiteY29" fmla="*/ 1172400 h 1713774"/>
                  <a:gd name="connsiteX30" fmla="*/ 8201 w 851836"/>
                  <a:gd name="connsiteY30" fmla="*/ 1127918 h 1713774"/>
                  <a:gd name="connsiteX31" fmla="*/ 10010 w 851836"/>
                  <a:gd name="connsiteY31" fmla="*/ 1083341 h 1713774"/>
                  <a:gd name="connsiteX32" fmla="*/ 12677 w 851836"/>
                  <a:gd name="connsiteY32" fmla="*/ 994187 h 1713774"/>
                  <a:gd name="connsiteX33" fmla="*/ 13534 w 851836"/>
                  <a:gd name="connsiteY33" fmla="*/ 903700 h 1713774"/>
                  <a:gd name="connsiteX34" fmla="*/ 13059 w 851836"/>
                  <a:gd name="connsiteY34" fmla="*/ 509746 h 1713774"/>
                  <a:gd name="connsiteX35" fmla="*/ 14011 w 851836"/>
                  <a:gd name="connsiteY35" fmla="*/ 509746 h 1713774"/>
                  <a:gd name="connsiteX36" fmla="*/ 14011 w 851836"/>
                  <a:gd name="connsiteY36" fmla="*/ 226567 h 1713774"/>
                  <a:gd name="connsiteX37" fmla="*/ 46681 w 851836"/>
                  <a:gd name="connsiteY37" fmla="*/ 188467 h 1713774"/>
                  <a:gd name="connsiteX38" fmla="*/ 86591 w 851836"/>
                  <a:gd name="connsiteY38" fmla="*/ 221348 h 1713774"/>
                  <a:gd name="connsiteX39" fmla="*/ 86782 w 851836"/>
                  <a:gd name="connsiteY39" fmla="*/ 224948 h 1713774"/>
                  <a:gd name="connsiteX40" fmla="*/ 86782 w 851836"/>
                  <a:gd name="connsiteY40" fmla="*/ 416686 h 1713774"/>
                  <a:gd name="connsiteX41" fmla="*/ 122881 w 851836"/>
                  <a:gd name="connsiteY41" fmla="*/ 458596 h 1713774"/>
                  <a:gd name="connsiteX42" fmla="*/ 166602 w 851836"/>
                  <a:gd name="connsiteY42" fmla="*/ 422287 h 1713774"/>
                  <a:gd name="connsiteX43" fmla="*/ 166792 w 851836"/>
                  <a:gd name="connsiteY43" fmla="*/ 418496 h 1713774"/>
                  <a:gd name="connsiteX44" fmla="*/ 166792 w 851836"/>
                  <a:gd name="connsiteY44" fmla="*/ 172180 h 1713774"/>
                  <a:gd name="connsiteX45" fmla="*/ 199462 w 851836"/>
                  <a:gd name="connsiteY45" fmla="*/ 134080 h 1713774"/>
                  <a:gd name="connsiteX46" fmla="*/ 239373 w 851836"/>
                  <a:gd name="connsiteY46" fmla="*/ 166960 h 1713774"/>
                  <a:gd name="connsiteX47" fmla="*/ 239562 w 851836"/>
                  <a:gd name="connsiteY47" fmla="*/ 170560 h 1713774"/>
                  <a:gd name="connsiteX48" fmla="*/ 239562 w 851836"/>
                  <a:gd name="connsiteY48" fmla="*/ 534225 h 1713774"/>
                  <a:gd name="connsiteX49" fmla="*/ 275662 w 851836"/>
                  <a:gd name="connsiteY49" fmla="*/ 576135 h 1713774"/>
                  <a:gd name="connsiteX50" fmla="*/ 319477 w 851836"/>
                  <a:gd name="connsiteY50" fmla="*/ 539930 h 1713774"/>
                  <a:gd name="connsiteX51" fmla="*/ 319668 w 851836"/>
                  <a:gd name="connsiteY51" fmla="*/ 535939 h 1713774"/>
                  <a:gd name="connsiteX52" fmla="*/ 319668 w 851836"/>
                  <a:gd name="connsiteY52" fmla="*/ 266572 h 1713774"/>
                  <a:gd name="connsiteX53" fmla="*/ 352244 w 851836"/>
                  <a:gd name="connsiteY53" fmla="*/ 228472 h 1713774"/>
                  <a:gd name="connsiteX54" fmla="*/ 392153 w 851836"/>
                  <a:gd name="connsiteY54" fmla="*/ 261353 h 1713774"/>
                  <a:gd name="connsiteX55" fmla="*/ 392344 w 851836"/>
                  <a:gd name="connsiteY55" fmla="*/ 264953 h 1713774"/>
                  <a:gd name="connsiteX56" fmla="*/ 392344 w 851836"/>
                  <a:gd name="connsiteY56" fmla="*/ 498315 h 1713774"/>
                  <a:gd name="connsiteX57" fmla="*/ 428444 w 851836"/>
                  <a:gd name="connsiteY57" fmla="*/ 540226 h 1713774"/>
                  <a:gd name="connsiteX58" fmla="*/ 472259 w 851836"/>
                  <a:gd name="connsiteY58" fmla="*/ 504021 h 1713774"/>
                  <a:gd name="connsiteX59" fmla="*/ 472449 w 851836"/>
                  <a:gd name="connsiteY59" fmla="*/ 500125 h 1713774"/>
                  <a:gd name="connsiteX60" fmla="*/ 472449 w 851836"/>
                  <a:gd name="connsiteY60" fmla="*/ 37972 h 1713774"/>
                  <a:gd name="connsiteX61" fmla="*/ 505119 w 851836"/>
                  <a:gd name="connsiteY61" fmla="*/ -128 h 1713774"/>
                  <a:gd name="connsiteX62" fmla="*/ 545030 w 851836"/>
                  <a:gd name="connsiteY62" fmla="*/ 32753 h 1713774"/>
                  <a:gd name="connsiteX63" fmla="*/ 545220 w 851836"/>
                  <a:gd name="connsiteY63" fmla="*/ 36353 h 1713774"/>
                  <a:gd name="connsiteX64" fmla="*/ 545220 w 851836"/>
                  <a:gd name="connsiteY64" fmla="*/ 445928 h 1713774"/>
                  <a:gd name="connsiteX65" fmla="*/ 585225 w 851836"/>
                  <a:gd name="connsiteY65" fmla="*/ 485933 h 1713774"/>
                  <a:gd name="connsiteX66" fmla="*/ 625231 w 851836"/>
                  <a:gd name="connsiteY66" fmla="*/ 445928 h 1713774"/>
                  <a:gd name="connsiteX67" fmla="*/ 625231 w 851836"/>
                  <a:gd name="connsiteY67" fmla="*/ 384015 h 1713774"/>
                  <a:gd name="connsiteX68" fmla="*/ 657901 w 851836"/>
                  <a:gd name="connsiteY68" fmla="*/ 345915 h 1713774"/>
                  <a:gd name="connsiteX69" fmla="*/ 697811 w 851836"/>
                  <a:gd name="connsiteY69" fmla="*/ 378796 h 1713774"/>
                  <a:gd name="connsiteX70" fmla="*/ 698001 w 851836"/>
                  <a:gd name="connsiteY70" fmla="*/ 382396 h 1713774"/>
                  <a:gd name="connsiteX71" fmla="*/ 698001 w 851836"/>
                  <a:gd name="connsiteY71" fmla="*/ 554894 h 1713774"/>
                  <a:gd name="connsiteX72" fmla="*/ 734101 w 851836"/>
                  <a:gd name="connsiteY72" fmla="*/ 596804 h 1713774"/>
                  <a:gd name="connsiteX73" fmla="*/ 777916 w 851836"/>
                  <a:gd name="connsiteY73" fmla="*/ 560600 h 1713774"/>
                  <a:gd name="connsiteX74" fmla="*/ 778106 w 851836"/>
                  <a:gd name="connsiteY74" fmla="*/ 556704 h 1713774"/>
                  <a:gd name="connsiteX75" fmla="*/ 778106 w 851836"/>
                  <a:gd name="connsiteY75" fmla="*/ 202850 h 1713774"/>
                  <a:gd name="connsiteX76" fmla="*/ 810682 w 851836"/>
                  <a:gd name="connsiteY76" fmla="*/ 164750 h 1713774"/>
                  <a:gd name="connsiteX77" fmla="*/ 850591 w 851836"/>
                  <a:gd name="connsiteY77" fmla="*/ 197630 h 1713774"/>
                  <a:gd name="connsiteX78" fmla="*/ 850782 w 851836"/>
                  <a:gd name="connsiteY78" fmla="*/ 201231 h 1713774"/>
                  <a:gd name="connsiteX79" fmla="*/ 850782 w 851836"/>
                  <a:gd name="connsiteY79" fmla="*/ 509746 h 1713774"/>
                  <a:gd name="connsiteX80" fmla="*/ 850782 w 851836"/>
                  <a:gd name="connsiteY80" fmla="*/ 509746 h 1713774"/>
                  <a:gd name="connsiteX81" fmla="*/ 850782 w 851836"/>
                  <a:gd name="connsiteY81" fmla="*/ 915415 h 1713774"/>
                  <a:gd name="connsiteX82" fmla="*/ 850782 w 851836"/>
                  <a:gd name="connsiteY82" fmla="*/ 915415 h 1713774"/>
                  <a:gd name="connsiteX83" fmla="*/ 849830 w 851836"/>
                  <a:gd name="connsiteY83" fmla="*/ 998283 h 1713774"/>
                  <a:gd name="connsiteX84" fmla="*/ 849258 w 851836"/>
                  <a:gd name="connsiteY84" fmla="*/ 1039812 h 1713774"/>
                  <a:gd name="connsiteX85" fmla="*/ 847735 w 851836"/>
                  <a:gd name="connsiteY85" fmla="*/ 1081246 h 1713774"/>
                  <a:gd name="connsiteX86" fmla="*/ 844591 w 851836"/>
                  <a:gd name="connsiteY86" fmla="*/ 1164304 h 1713774"/>
                  <a:gd name="connsiteX87" fmla="*/ 839352 w 851836"/>
                  <a:gd name="connsiteY87" fmla="*/ 1247171 h 1713774"/>
                  <a:gd name="connsiteX88" fmla="*/ 804014 w 851836"/>
                  <a:gd name="connsiteY88" fmla="*/ 1286414 h 1713774"/>
                  <a:gd name="connsiteX89" fmla="*/ 766391 w 851836"/>
                  <a:gd name="connsiteY89" fmla="*/ 1247885 h 1713774"/>
                  <a:gd name="connsiteX90" fmla="*/ 766581 w 851836"/>
                  <a:gd name="connsiteY90" fmla="*/ 1244123 h 1713774"/>
                  <a:gd name="connsiteX91" fmla="*/ 772582 w 851836"/>
                  <a:gd name="connsiteY91" fmla="*/ 1144015 h 1713774"/>
                  <a:gd name="connsiteX92" fmla="*/ 776297 w 851836"/>
                  <a:gd name="connsiteY92" fmla="*/ 1043907 h 1713774"/>
                  <a:gd name="connsiteX93" fmla="*/ 777725 w 851836"/>
                  <a:gd name="connsiteY93" fmla="*/ 943800 h 1713774"/>
                  <a:gd name="connsiteX94" fmla="*/ 777725 w 851836"/>
                  <a:gd name="connsiteY94" fmla="*/ 918749 h 1713774"/>
                  <a:gd name="connsiteX95" fmla="*/ 777725 w 851836"/>
                  <a:gd name="connsiteY95" fmla="*/ 848931 h 1713774"/>
                  <a:gd name="connsiteX96" fmla="*/ 741626 w 851836"/>
                  <a:gd name="connsiteY96" fmla="*/ 807021 h 1713774"/>
                  <a:gd name="connsiteX97" fmla="*/ 697525 w 851836"/>
                  <a:gd name="connsiteY97" fmla="*/ 842911 h 1713774"/>
                  <a:gd name="connsiteX98" fmla="*/ 697334 w 851836"/>
                  <a:gd name="connsiteY98" fmla="*/ 847597 h 1713774"/>
                  <a:gd name="connsiteX99" fmla="*/ 697334 w 851836"/>
                  <a:gd name="connsiteY99" fmla="*/ 917987 h 1713774"/>
                  <a:gd name="connsiteX100" fmla="*/ 696382 w 851836"/>
                  <a:gd name="connsiteY100" fmla="*/ 992663 h 1713774"/>
                  <a:gd name="connsiteX101" fmla="*/ 663235 w 851836"/>
                  <a:gd name="connsiteY101" fmla="*/ 1032382 h 1713774"/>
                  <a:gd name="connsiteX102" fmla="*/ 623611 w 851836"/>
                  <a:gd name="connsiteY102" fmla="*/ 995854 h 1713774"/>
                  <a:gd name="connsiteX103" fmla="*/ 623611 w 851836"/>
                  <a:gd name="connsiteY103" fmla="*/ 993330 h 1713774"/>
                  <a:gd name="connsiteX104" fmla="*/ 624563 w 851836"/>
                  <a:gd name="connsiteY104" fmla="*/ 904747 h 1713774"/>
                  <a:gd name="connsiteX105" fmla="*/ 588463 w 851836"/>
                  <a:gd name="connsiteY105" fmla="*/ 862837 h 1713774"/>
                  <a:gd name="connsiteX106" fmla="*/ 544744 w 851836"/>
                  <a:gd name="connsiteY106" fmla="*/ 899147 h 1713774"/>
                  <a:gd name="connsiteX107" fmla="*/ 544553 w 851836"/>
                  <a:gd name="connsiteY107" fmla="*/ 902938 h 1713774"/>
                  <a:gd name="connsiteX108" fmla="*/ 524837 w 851836"/>
                  <a:gd name="connsiteY108" fmla="*/ 1337849 h 1713774"/>
                  <a:gd name="connsiteX109" fmla="*/ 488832 w 851836"/>
                  <a:gd name="connsiteY109" fmla="*/ 1373568 h 1713774"/>
                  <a:gd name="connsiteX110" fmla="*/ 451970 w 851836"/>
                  <a:gd name="connsiteY110" fmla="*/ 1335716 h 1713774"/>
                  <a:gd name="connsiteX111" fmla="*/ 452161 w 851836"/>
                  <a:gd name="connsiteY111" fmla="*/ 1332896 h 1713774"/>
                  <a:gd name="connsiteX112" fmla="*/ 470639 w 851836"/>
                  <a:gd name="connsiteY112" fmla="*/ 1009713 h 1713774"/>
                  <a:gd name="connsiteX113" fmla="*/ 435016 w 851836"/>
                  <a:gd name="connsiteY113" fmla="*/ 967041 h 1713774"/>
                  <a:gd name="connsiteX114" fmla="*/ 390819 w 851836"/>
                  <a:gd name="connsiteY114" fmla="*/ 1002617 h 1713774"/>
                  <a:gd name="connsiteX115" fmla="*/ 390630 w 851836"/>
                  <a:gd name="connsiteY115" fmla="*/ 1006379 h 1713774"/>
                  <a:gd name="connsiteX116" fmla="*/ 370626 w 851836"/>
                  <a:gd name="connsiteY116" fmla="*/ 1346422 h 1713774"/>
                  <a:gd name="connsiteX117" fmla="*/ 324144 w 851836"/>
                  <a:gd name="connsiteY117" fmla="*/ 1683892 h 1713774"/>
                  <a:gd name="connsiteX118" fmla="*/ 281282 w 851836"/>
                  <a:gd name="connsiteY118" fmla="*/ 1712791 h 1713774"/>
                  <a:gd name="connsiteX119" fmla="*/ 277948 w 851836"/>
                  <a:gd name="connsiteY119" fmla="*/ 1711991 h 1713774"/>
                  <a:gd name="connsiteX120" fmla="*/ 252993 w 851836"/>
                  <a:gd name="connsiteY120" fmla="*/ 1668938 h 1713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</a:cxnLst>
                <a:rect l="l" t="t" r="r" b="b"/>
                <a:pathLst>
                  <a:path w="851836" h="1713774">
                    <a:moveTo>
                      <a:pt x="252993" y="1668938"/>
                    </a:moveTo>
                    <a:cubicBezTo>
                      <a:pt x="276519" y="1536541"/>
                      <a:pt x="293665" y="1403191"/>
                      <a:pt x="304619" y="1268888"/>
                    </a:cubicBezTo>
                    <a:cubicBezTo>
                      <a:pt x="309952" y="1202213"/>
                      <a:pt x="314144" y="1134681"/>
                      <a:pt x="316239" y="1067434"/>
                    </a:cubicBezTo>
                    <a:cubicBezTo>
                      <a:pt x="317859" y="1033906"/>
                      <a:pt x="318144" y="1000188"/>
                      <a:pt x="318525" y="966565"/>
                    </a:cubicBezTo>
                    <a:lnTo>
                      <a:pt x="319192" y="916082"/>
                    </a:lnTo>
                    <a:lnTo>
                      <a:pt x="319192" y="864361"/>
                    </a:lnTo>
                    <a:cubicBezTo>
                      <a:pt x="319573" y="843244"/>
                      <a:pt x="304047" y="825214"/>
                      <a:pt x="283092" y="822451"/>
                    </a:cubicBezTo>
                    <a:cubicBezTo>
                      <a:pt x="260994" y="820346"/>
                      <a:pt x="241373" y="836558"/>
                      <a:pt x="239277" y="858656"/>
                    </a:cubicBezTo>
                    <a:cubicBezTo>
                      <a:pt x="239182" y="859980"/>
                      <a:pt x="239087" y="861313"/>
                      <a:pt x="239087" y="862647"/>
                    </a:cubicBezTo>
                    <a:cubicBezTo>
                      <a:pt x="239087" y="919797"/>
                      <a:pt x="238325" y="972184"/>
                      <a:pt x="237658" y="1026286"/>
                    </a:cubicBezTo>
                    <a:cubicBezTo>
                      <a:pt x="235467" y="1080007"/>
                      <a:pt x="234134" y="1133824"/>
                      <a:pt x="230133" y="1187449"/>
                    </a:cubicBezTo>
                    <a:cubicBezTo>
                      <a:pt x="226133" y="1241075"/>
                      <a:pt x="221846" y="1294606"/>
                      <a:pt x="217083" y="1348231"/>
                    </a:cubicBezTo>
                    <a:cubicBezTo>
                      <a:pt x="212321" y="1401857"/>
                      <a:pt x="205368" y="1455007"/>
                      <a:pt x="197272" y="1508156"/>
                    </a:cubicBezTo>
                    <a:cubicBezTo>
                      <a:pt x="194034" y="1527997"/>
                      <a:pt x="175364" y="1541475"/>
                      <a:pt x="155552" y="1538274"/>
                    </a:cubicBezTo>
                    <a:cubicBezTo>
                      <a:pt x="136884" y="1535255"/>
                      <a:pt x="123644" y="1518443"/>
                      <a:pt x="125073" y="1499584"/>
                    </a:cubicBezTo>
                    <a:cubicBezTo>
                      <a:pt x="149265" y="1330420"/>
                      <a:pt x="162696" y="1159903"/>
                      <a:pt x="165459" y="989044"/>
                    </a:cubicBezTo>
                    <a:cubicBezTo>
                      <a:pt x="165077" y="967584"/>
                      <a:pt x="147266" y="950525"/>
                      <a:pt x="125834" y="950944"/>
                    </a:cubicBezTo>
                    <a:cubicBezTo>
                      <a:pt x="125834" y="950944"/>
                      <a:pt x="125834" y="950944"/>
                      <a:pt x="125834" y="950944"/>
                    </a:cubicBezTo>
                    <a:lnTo>
                      <a:pt x="125834" y="950944"/>
                    </a:lnTo>
                    <a:cubicBezTo>
                      <a:pt x="104498" y="950077"/>
                      <a:pt x="86496" y="966508"/>
                      <a:pt x="85353" y="987805"/>
                    </a:cubicBezTo>
                    <a:lnTo>
                      <a:pt x="85353" y="1022667"/>
                    </a:lnTo>
                    <a:lnTo>
                      <a:pt x="84019" y="1057433"/>
                    </a:lnTo>
                    <a:lnTo>
                      <a:pt x="81352" y="1127061"/>
                    </a:lnTo>
                    <a:lnTo>
                      <a:pt x="76971" y="1196498"/>
                    </a:lnTo>
                    <a:cubicBezTo>
                      <a:pt x="76209" y="1208119"/>
                      <a:pt x="75637" y="1219739"/>
                      <a:pt x="74685" y="1231264"/>
                    </a:cubicBezTo>
                    <a:lnTo>
                      <a:pt x="71542" y="1265936"/>
                    </a:lnTo>
                    <a:cubicBezTo>
                      <a:pt x="69541" y="1285938"/>
                      <a:pt x="51825" y="1300559"/>
                      <a:pt x="31823" y="1298606"/>
                    </a:cubicBezTo>
                    <a:cubicBezTo>
                      <a:pt x="12677" y="1296739"/>
                      <a:pt x="-1610" y="1280413"/>
                      <a:pt x="-1038" y="1261268"/>
                    </a:cubicBezTo>
                    <a:lnTo>
                      <a:pt x="2676" y="1216882"/>
                    </a:lnTo>
                    <a:lnTo>
                      <a:pt x="5438" y="1172400"/>
                    </a:lnTo>
                    <a:lnTo>
                      <a:pt x="8201" y="1127918"/>
                    </a:lnTo>
                    <a:cubicBezTo>
                      <a:pt x="9153" y="1113059"/>
                      <a:pt x="9344" y="1098200"/>
                      <a:pt x="10010" y="1083341"/>
                    </a:cubicBezTo>
                    <a:cubicBezTo>
                      <a:pt x="10868" y="1053623"/>
                      <a:pt x="12677" y="1024000"/>
                      <a:pt x="12677" y="994187"/>
                    </a:cubicBezTo>
                    <a:lnTo>
                      <a:pt x="13534" y="903700"/>
                    </a:lnTo>
                    <a:lnTo>
                      <a:pt x="13059" y="509746"/>
                    </a:lnTo>
                    <a:lnTo>
                      <a:pt x="14011" y="509746"/>
                    </a:lnTo>
                    <a:lnTo>
                      <a:pt x="14011" y="226567"/>
                    </a:lnTo>
                    <a:cubicBezTo>
                      <a:pt x="13820" y="207479"/>
                      <a:pt x="27822" y="191192"/>
                      <a:pt x="46681" y="188467"/>
                    </a:cubicBezTo>
                    <a:cubicBezTo>
                      <a:pt x="66780" y="186524"/>
                      <a:pt x="84687" y="201240"/>
                      <a:pt x="86591" y="221348"/>
                    </a:cubicBezTo>
                    <a:cubicBezTo>
                      <a:pt x="86687" y="222548"/>
                      <a:pt x="86782" y="223748"/>
                      <a:pt x="86782" y="224948"/>
                    </a:cubicBezTo>
                    <a:lnTo>
                      <a:pt x="86782" y="416686"/>
                    </a:lnTo>
                    <a:cubicBezTo>
                      <a:pt x="86305" y="437832"/>
                      <a:pt x="101927" y="455920"/>
                      <a:pt x="122881" y="458596"/>
                    </a:cubicBezTo>
                    <a:cubicBezTo>
                      <a:pt x="144980" y="460644"/>
                      <a:pt x="164601" y="444395"/>
                      <a:pt x="166602" y="422287"/>
                    </a:cubicBezTo>
                    <a:cubicBezTo>
                      <a:pt x="166697" y="421030"/>
                      <a:pt x="166792" y="419763"/>
                      <a:pt x="166792" y="418496"/>
                    </a:cubicBezTo>
                    <a:lnTo>
                      <a:pt x="166792" y="172180"/>
                    </a:lnTo>
                    <a:cubicBezTo>
                      <a:pt x="166602" y="153092"/>
                      <a:pt x="180603" y="136804"/>
                      <a:pt x="199462" y="134080"/>
                    </a:cubicBezTo>
                    <a:cubicBezTo>
                      <a:pt x="219560" y="132136"/>
                      <a:pt x="237467" y="146853"/>
                      <a:pt x="239373" y="166960"/>
                    </a:cubicBezTo>
                    <a:cubicBezTo>
                      <a:pt x="239468" y="168160"/>
                      <a:pt x="239562" y="169360"/>
                      <a:pt x="239562" y="170560"/>
                    </a:cubicBezTo>
                    <a:lnTo>
                      <a:pt x="239562" y="534225"/>
                    </a:lnTo>
                    <a:cubicBezTo>
                      <a:pt x="239182" y="555342"/>
                      <a:pt x="254708" y="573373"/>
                      <a:pt x="275662" y="576135"/>
                    </a:cubicBezTo>
                    <a:cubicBezTo>
                      <a:pt x="297761" y="578240"/>
                      <a:pt x="317382" y="562028"/>
                      <a:pt x="319477" y="539930"/>
                    </a:cubicBezTo>
                    <a:cubicBezTo>
                      <a:pt x="319573" y="538606"/>
                      <a:pt x="319668" y="537273"/>
                      <a:pt x="319668" y="535939"/>
                    </a:cubicBezTo>
                    <a:lnTo>
                      <a:pt x="319668" y="266572"/>
                    </a:lnTo>
                    <a:cubicBezTo>
                      <a:pt x="319477" y="247513"/>
                      <a:pt x="333384" y="231235"/>
                      <a:pt x="352244" y="228472"/>
                    </a:cubicBezTo>
                    <a:cubicBezTo>
                      <a:pt x="372341" y="226529"/>
                      <a:pt x="390248" y="241245"/>
                      <a:pt x="392153" y="261353"/>
                    </a:cubicBezTo>
                    <a:cubicBezTo>
                      <a:pt x="392248" y="262553"/>
                      <a:pt x="392344" y="263753"/>
                      <a:pt x="392344" y="264953"/>
                    </a:cubicBezTo>
                    <a:lnTo>
                      <a:pt x="392344" y="498315"/>
                    </a:lnTo>
                    <a:cubicBezTo>
                      <a:pt x="391962" y="519452"/>
                      <a:pt x="407488" y="537511"/>
                      <a:pt x="428444" y="540226"/>
                    </a:cubicBezTo>
                    <a:cubicBezTo>
                      <a:pt x="450541" y="542331"/>
                      <a:pt x="470163" y="526119"/>
                      <a:pt x="472259" y="504021"/>
                    </a:cubicBezTo>
                    <a:cubicBezTo>
                      <a:pt x="472354" y="502726"/>
                      <a:pt x="472449" y="501430"/>
                      <a:pt x="472449" y="500125"/>
                    </a:cubicBezTo>
                    <a:lnTo>
                      <a:pt x="472449" y="37972"/>
                    </a:lnTo>
                    <a:cubicBezTo>
                      <a:pt x="472259" y="18884"/>
                      <a:pt x="486260" y="2597"/>
                      <a:pt x="505119" y="-128"/>
                    </a:cubicBezTo>
                    <a:cubicBezTo>
                      <a:pt x="525218" y="-2071"/>
                      <a:pt x="543125" y="12645"/>
                      <a:pt x="545030" y="32753"/>
                    </a:cubicBezTo>
                    <a:cubicBezTo>
                      <a:pt x="545125" y="33953"/>
                      <a:pt x="545220" y="35153"/>
                      <a:pt x="545220" y="36353"/>
                    </a:cubicBezTo>
                    <a:lnTo>
                      <a:pt x="545220" y="445928"/>
                    </a:lnTo>
                    <a:cubicBezTo>
                      <a:pt x="545220" y="468026"/>
                      <a:pt x="563127" y="485933"/>
                      <a:pt x="585225" y="485933"/>
                    </a:cubicBezTo>
                    <a:cubicBezTo>
                      <a:pt x="607324" y="485933"/>
                      <a:pt x="625231" y="468026"/>
                      <a:pt x="625231" y="445928"/>
                    </a:cubicBezTo>
                    <a:lnTo>
                      <a:pt x="625231" y="384015"/>
                    </a:lnTo>
                    <a:cubicBezTo>
                      <a:pt x="625040" y="364927"/>
                      <a:pt x="639041" y="348640"/>
                      <a:pt x="657901" y="345915"/>
                    </a:cubicBezTo>
                    <a:cubicBezTo>
                      <a:pt x="677998" y="343973"/>
                      <a:pt x="695905" y="358689"/>
                      <a:pt x="697811" y="378796"/>
                    </a:cubicBezTo>
                    <a:cubicBezTo>
                      <a:pt x="697906" y="379996"/>
                      <a:pt x="698001" y="381196"/>
                      <a:pt x="698001" y="382396"/>
                    </a:cubicBezTo>
                    <a:lnTo>
                      <a:pt x="698001" y="554894"/>
                    </a:lnTo>
                    <a:cubicBezTo>
                      <a:pt x="697620" y="576011"/>
                      <a:pt x="713146" y="594042"/>
                      <a:pt x="734101" y="596804"/>
                    </a:cubicBezTo>
                    <a:cubicBezTo>
                      <a:pt x="756199" y="598909"/>
                      <a:pt x="775820" y="582698"/>
                      <a:pt x="777916" y="560600"/>
                    </a:cubicBezTo>
                    <a:cubicBezTo>
                      <a:pt x="778011" y="559304"/>
                      <a:pt x="778106" y="558009"/>
                      <a:pt x="778106" y="556704"/>
                    </a:cubicBezTo>
                    <a:lnTo>
                      <a:pt x="778106" y="202850"/>
                    </a:lnTo>
                    <a:cubicBezTo>
                      <a:pt x="777916" y="183791"/>
                      <a:pt x="791823" y="167512"/>
                      <a:pt x="810682" y="164750"/>
                    </a:cubicBezTo>
                    <a:cubicBezTo>
                      <a:pt x="830780" y="162807"/>
                      <a:pt x="848687" y="177523"/>
                      <a:pt x="850591" y="197630"/>
                    </a:cubicBezTo>
                    <a:cubicBezTo>
                      <a:pt x="850687" y="198831"/>
                      <a:pt x="850782" y="200031"/>
                      <a:pt x="850782" y="201231"/>
                    </a:cubicBezTo>
                    <a:lnTo>
                      <a:pt x="850782" y="509746"/>
                    </a:lnTo>
                    <a:lnTo>
                      <a:pt x="850782" y="509746"/>
                    </a:lnTo>
                    <a:lnTo>
                      <a:pt x="850782" y="915415"/>
                    </a:lnTo>
                    <a:lnTo>
                      <a:pt x="850782" y="915415"/>
                    </a:lnTo>
                    <a:lnTo>
                      <a:pt x="849830" y="998283"/>
                    </a:lnTo>
                    <a:lnTo>
                      <a:pt x="849258" y="1039812"/>
                    </a:lnTo>
                    <a:lnTo>
                      <a:pt x="847735" y="1081246"/>
                    </a:lnTo>
                    <a:lnTo>
                      <a:pt x="844591" y="1164304"/>
                    </a:lnTo>
                    <a:lnTo>
                      <a:pt x="839352" y="1247171"/>
                    </a:lnTo>
                    <a:cubicBezTo>
                      <a:pt x="839257" y="1267335"/>
                      <a:pt x="824113" y="1284233"/>
                      <a:pt x="804014" y="1286414"/>
                    </a:cubicBezTo>
                    <a:cubicBezTo>
                      <a:pt x="782964" y="1286176"/>
                      <a:pt x="766105" y="1268926"/>
                      <a:pt x="766391" y="1247885"/>
                    </a:cubicBezTo>
                    <a:cubicBezTo>
                      <a:pt x="766391" y="1246628"/>
                      <a:pt x="766486" y="1245371"/>
                      <a:pt x="766581" y="1244123"/>
                    </a:cubicBezTo>
                    <a:cubicBezTo>
                      <a:pt x="768581" y="1210786"/>
                      <a:pt x="771153" y="1177448"/>
                      <a:pt x="772582" y="1144015"/>
                    </a:cubicBezTo>
                    <a:lnTo>
                      <a:pt x="776297" y="1043907"/>
                    </a:lnTo>
                    <a:lnTo>
                      <a:pt x="777725" y="943800"/>
                    </a:lnTo>
                    <a:lnTo>
                      <a:pt x="777725" y="918749"/>
                    </a:lnTo>
                    <a:lnTo>
                      <a:pt x="777725" y="848931"/>
                    </a:lnTo>
                    <a:cubicBezTo>
                      <a:pt x="778106" y="827814"/>
                      <a:pt x="762580" y="809783"/>
                      <a:pt x="741626" y="807021"/>
                    </a:cubicBezTo>
                    <a:cubicBezTo>
                      <a:pt x="719527" y="804754"/>
                      <a:pt x="699811" y="820823"/>
                      <a:pt x="697525" y="842911"/>
                    </a:cubicBezTo>
                    <a:cubicBezTo>
                      <a:pt x="697334" y="844464"/>
                      <a:pt x="697334" y="846035"/>
                      <a:pt x="697334" y="847597"/>
                    </a:cubicBezTo>
                    <a:lnTo>
                      <a:pt x="697334" y="917987"/>
                    </a:lnTo>
                    <a:lnTo>
                      <a:pt x="696382" y="992663"/>
                    </a:lnTo>
                    <a:cubicBezTo>
                      <a:pt x="697144" y="1012437"/>
                      <a:pt x="682856" y="1029573"/>
                      <a:pt x="663235" y="1032382"/>
                    </a:cubicBezTo>
                    <a:cubicBezTo>
                      <a:pt x="642184" y="1033230"/>
                      <a:pt x="624468" y="1016876"/>
                      <a:pt x="623611" y="995854"/>
                    </a:cubicBezTo>
                    <a:cubicBezTo>
                      <a:pt x="623611" y="995006"/>
                      <a:pt x="623611" y="994168"/>
                      <a:pt x="623611" y="993330"/>
                    </a:cubicBezTo>
                    <a:lnTo>
                      <a:pt x="624563" y="904747"/>
                    </a:lnTo>
                    <a:cubicBezTo>
                      <a:pt x="625040" y="883602"/>
                      <a:pt x="609419" y="865514"/>
                      <a:pt x="588463" y="862837"/>
                    </a:cubicBezTo>
                    <a:cubicBezTo>
                      <a:pt x="566366" y="860790"/>
                      <a:pt x="546744" y="877039"/>
                      <a:pt x="544744" y="899147"/>
                    </a:cubicBezTo>
                    <a:cubicBezTo>
                      <a:pt x="544648" y="900404"/>
                      <a:pt x="544553" y="901671"/>
                      <a:pt x="544553" y="902938"/>
                    </a:cubicBezTo>
                    <a:cubicBezTo>
                      <a:pt x="544553" y="1047527"/>
                      <a:pt x="538363" y="1193355"/>
                      <a:pt x="524837" y="1337849"/>
                    </a:cubicBezTo>
                    <a:cubicBezTo>
                      <a:pt x="523694" y="1357175"/>
                      <a:pt x="508168" y="1372539"/>
                      <a:pt x="488832" y="1373568"/>
                    </a:cubicBezTo>
                    <a:cubicBezTo>
                      <a:pt x="468258" y="1373282"/>
                      <a:pt x="451684" y="1356337"/>
                      <a:pt x="451970" y="1335716"/>
                    </a:cubicBezTo>
                    <a:cubicBezTo>
                      <a:pt x="452066" y="1334773"/>
                      <a:pt x="452066" y="1333830"/>
                      <a:pt x="452161" y="1332896"/>
                    </a:cubicBezTo>
                    <a:cubicBezTo>
                      <a:pt x="462924" y="1225454"/>
                      <a:pt x="467782" y="1117536"/>
                      <a:pt x="470639" y="1009713"/>
                    </a:cubicBezTo>
                    <a:cubicBezTo>
                      <a:pt x="471402" y="988463"/>
                      <a:pt x="456067" y="970051"/>
                      <a:pt x="435016" y="967041"/>
                    </a:cubicBezTo>
                    <a:cubicBezTo>
                      <a:pt x="413013" y="964669"/>
                      <a:pt x="393201" y="980604"/>
                      <a:pt x="390819" y="1002617"/>
                    </a:cubicBezTo>
                    <a:cubicBezTo>
                      <a:pt x="390725" y="1003874"/>
                      <a:pt x="390630" y="1005122"/>
                      <a:pt x="390630" y="1006379"/>
                    </a:cubicBezTo>
                    <a:cubicBezTo>
                      <a:pt x="387867" y="1119917"/>
                      <a:pt x="381866" y="1233455"/>
                      <a:pt x="370626" y="1346422"/>
                    </a:cubicBezTo>
                    <a:cubicBezTo>
                      <a:pt x="359388" y="1459388"/>
                      <a:pt x="343766" y="1571974"/>
                      <a:pt x="324144" y="1683892"/>
                    </a:cubicBezTo>
                    <a:cubicBezTo>
                      <a:pt x="320240" y="1703723"/>
                      <a:pt x="301095" y="1716658"/>
                      <a:pt x="281282" y="1712791"/>
                    </a:cubicBezTo>
                    <a:cubicBezTo>
                      <a:pt x="280139" y="1712582"/>
                      <a:pt x="278996" y="1712305"/>
                      <a:pt x="277948" y="1711991"/>
                    </a:cubicBezTo>
                    <a:cubicBezTo>
                      <a:pt x="259756" y="1706190"/>
                      <a:pt x="248993" y="1687569"/>
                      <a:pt x="252993" y="16689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</p:grp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1A585C3-BEDE-4E45-B572-7E345787ADF3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9125BB69-E4E0-4566-B404-A4679CE81C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A6FE2AD8-C52B-43BE-84A7-38727151BC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" name="Rectangle 10">
              <a:extLst>
                <a:ext uri="{FF2B5EF4-FFF2-40B4-BE49-F238E27FC236}">
                  <a16:creationId xmlns:a16="http://schemas.microsoft.com/office/drawing/2014/main" id="{A6B73C2C-FF95-49AF-B7D9-7E3EBCEDCC0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97CCABB1-6D2D-41EC-A526-00BD9AEE2F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9" name="Rectangle 12">
              <a:extLst>
                <a:ext uri="{FF2B5EF4-FFF2-40B4-BE49-F238E27FC236}">
                  <a16:creationId xmlns:a16="http://schemas.microsoft.com/office/drawing/2014/main" id="{34D9D333-9741-454C-9990-5C501F20C13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Rectangle 13">
              <a:extLst>
                <a:ext uri="{FF2B5EF4-FFF2-40B4-BE49-F238E27FC236}">
                  <a16:creationId xmlns:a16="http://schemas.microsoft.com/office/drawing/2014/main" id="{0A71220E-8A7E-4986-A4C7-32D520E7F42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Rectangle 14">
              <a:extLst>
                <a:ext uri="{FF2B5EF4-FFF2-40B4-BE49-F238E27FC236}">
                  <a16:creationId xmlns:a16="http://schemas.microsoft.com/office/drawing/2014/main" id="{46E136A9-54CB-4618-B04A-C7F40F48865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C0304DCA-BA1C-4C34-9F19-B099CA9DFE48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47" name="Freeform 8">
              <a:extLst>
                <a:ext uri="{FF2B5EF4-FFF2-40B4-BE49-F238E27FC236}">
                  <a16:creationId xmlns:a16="http://schemas.microsoft.com/office/drawing/2014/main" id="{05943A87-9BBD-41D4-90D8-CDED69906E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8" name="Freeform 9">
              <a:extLst>
                <a:ext uri="{FF2B5EF4-FFF2-40B4-BE49-F238E27FC236}">
                  <a16:creationId xmlns:a16="http://schemas.microsoft.com/office/drawing/2014/main" id="{8C04B8DC-D8E9-4538-971C-11784D8E63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9" name="Rectangle 10">
              <a:extLst>
                <a:ext uri="{FF2B5EF4-FFF2-40B4-BE49-F238E27FC236}">
                  <a16:creationId xmlns:a16="http://schemas.microsoft.com/office/drawing/2014/main" id="{C833B04A-F2CA-483A-8C5F-0DE17664F24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0" name="Freeform 11">
              <a:extLst>
                <a:ext uri="{FF2B5EF4-FFF2-40B4-BE49-F238E27FC236}">
                  <a16:creationId xmlns:a16="http://schemas.microsoft.com/office/drawing/2014/main" id="{508A447D-D7EA-4223-B725-D0637078C7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1" name="Rectangle 12">
              <a:extLst>
                <a:ext uri="{FF2B5EF4-FFF2-40B4-BE49-F238E27FC236}">
                  <a16:creationId xmlns:a16="http://schemas.microsoft.com/office/drawing/2014/main" id="{7423F6FE-27C3-4777-8BAF-FD85FF64814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2" name="Rectangle 13">
              <a:extLst>
                <a:ext uri="{FF2B5EF4-FFF2-40B4-BE49-F238E27FC236}">
                  <a16:creationId xmlns:a16="http://schemas.microsoft.com/office/drawing/2014/main" id="{FFA84D3E-FAD4-44A8-9597-0DFF8138503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3" name="Rectangle 14">
              <a:extLst>
                <a:ext uri="{FF2B5EF4-FFF2-40B4-BE49-F238E27FC236}">
                  <a16:creationId xmlns:a16="http://schemas.microsoft.com/office/drawing/2014/main" id="{F20E038B-07F0-4EFD-81AD-957017522E8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7C113182-7A58-41E9-A96F-01DDFC428AF4}"/>
              </a:ext>
            </a:extLst>
          </p:cNvPr>
          <p:cNvGrpSpPr/>
          <p:nvPr/>
        </p:nvGrpSpPr>
        <p:grpSpPr>
          <a:xfrm>
            <a:off x="11217203" y="6437490"/>
            <a:ext cx="549385" cy="213656"/>
            <a:chOff x="17092245" y="9730154"/>
            <a:chExt cx="833634" cy="356946"/>
          </a:xfrm>
        </p:grpSpPr>
        <p:sp>
          <p:nvSpPr>
            <p:cNvPr id="55" name="Freeform 8">
              <a:extLst>
                <a:ext uri="{FF2B5EF4-FFF2-40B4-BE49-F238E27FC236}">
                  <a16:creationId xmlns:a16="http://schemas.microsoft.com/office/drawing/2014/main" id="{F2206A34-38B0-4E10-9054-FA1B08B23C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6" name="Freeform 9">
              <a:extLst>
                <a:ext uri="{FF2B5EF4-FFF2-40B4-BE49-F238E27FC236}">
                  <a16:creationId xmlns:a16="http://schemas.microsoft.com/office/drawing/2014/main" id="{2FE2E19C-194A-4CD5-9B12-297D4E05F8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7" name="Rectangle 10">
              <a:extLst>
                <a:ext uri="{FF2B5EF4-FFF2-40B4-BE49-F238E27FC236}">
                  <a16:creationId xmlns:a16="http://schemas.microsoft.com/office/drawing/2014/main" id="{3F7DD1F5-71CA-48EE-965E-5A7FB45501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8" name="Freeform 11">
              <a:extLst>
                <a:ext uri="{FF2B5EF4-FFF2-40B4-BE49-F238E27FC236}">
                  <a16:creationId xmlns:a16="http://schemas.microsoft.com/office/drawing/2014/main" id="{805F371F-EC84-4854-A3C0-851D19BA1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9" name="Rectangle 12">
              <a:extLst>
                <a:ext uri="{FF2B5EF4-FFF2-40B4-BE49-F238E27FC236}">
                  <a16:creationId xmlns:a16="http://schemas.microsoft.com/office/drawing/2014/main" id="{1A58B993-EAA2-4A51-AE54-F2BDF6F836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0" name="Rectangle 13">
              <a:extLst>
                <a:ext uri="{FF2B5EF4-FFF2-40B4-BE49-F238E27FC236}">
                  <a16:creationId xmlns:a16="http://schemas.microsoft.com/office/drawing/2014/main" id="{13C23562-2F86-43D3-88AC-35E8785BBA3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1" name="Rectangle 14">
              <a:extLst>
                <a:ext uri="{FF2B5EF4-FFF2-40B4-BE49-F238E27FC236}">
                  <a16:creationId xmlns:a16="http://schemas.microsoft.com/office/drawing/2014/main" id="{E25377C3-B2E3-47D1-A041-7586590816B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136" name="Rectangle 25">
            <a:extLst>
              <a:ext uri="{FF2B5EF4-FFF2-40B4-BE49-F238E27FC236}">
                <a16:creationId xmlns:a16="http://schemas.microsoft.com/office/drawing/2014/main" id="{191168D8-5DD6-4A83-A994-F07ECC2CF990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112627" y="947528"/>
            <a:ext cx="5097320" cy="460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3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Short Title Here</a:t>
            </a:r>
          </a:p>
        </p:txBody>
      </p:sp>
    </p:spTree>
    <p:extLst>
      <p:ext uri="{BB962C8B-B14F-4D97-AF65-F5344CB8AC3E}">
        <p14:creationId xmlns:p14="http://schemas.microsoft.com/office/powerpoint/2010/main" val="2698143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0_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1A585C3-BEDE-4E45-B572-7E345787ADF3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9125BB69-E4E0-4566-B404-A4679CE81C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A6FE2AD8-C52B-43BE-84A7-38727151BC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" name="Rectangle 10">
              <a:extLst>
                <a:ext uri="{FF2B5EF4-FFF2-40B4-BE49-F238E27FC236}">
                  <a16:creationId xmlns:a16="http://schemas.microsoft.com/office/drawing/2014/main" id="{A6B73C2C-FF95-49AF-B7D9-7E3EBCEDCC0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97CCABB1-6D2D-41EC-A526-00BD9AEE2F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9" name="Rectangle 12">
              <a:extLst>
                <a:ext uri="{FF2B5EF4-FFF2-40B4-BE49-F238E27FC236}">
                  <a16:creationId xmlns:a16="http://schemas.microsoft.com/office/drawing/2014/main" id="{34D9D333-9741-454C-9990-5C501F20C13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Rectangle 13">
              <a:extLst>
                <a:ext uri="{FF2B5EF4-FFF2-40B4-BE49-F238E27FC236}">
                  <a16:creationId xmlns:a16="http://schemas.microsoft.com/office/drawing/2014/main" id="{0A71220E-8A7E-4986-A4C7-32D520E7F42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Rectangle 14">
              <a:extLst>
                <a:ext uri="{FF2B5EF4-FFF2-40B4-BE49-F238E27FC236}">
                  <a16:creationId xmlns:a16="http://schemas.microsoft.com/office/drawing/2014/main" id="{46E136A9-54CB-4618-B04A-C7F40F48865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F2A8F04-DAAA-4FEB-87CF-101B286598C6}"/>
              </a:ext>
            </a:extLst>
          </p:cNvPr>
          <p:cNvGrpSpPr/>
          <p:nvPr/>
        </p:nvGrpSpPr>
        <p:grpSpPr>
          <a:xfrm>
            <a:off x="3499672" y="535062"/>
            <a:ext cx="6604448" cy="5787876"/>
            <a:chOff x="5032543" y="809464"/>
            <a:chExt cx="6559677" cy="5748641"/>
          </a:xfrm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17AD5FD-56D3-4586-BA3F-BD521E2B0973}"/>
                </a:ext>
              </a:extLst>
            </p:cNvPr>
            <p:cNvSpPr/>
            <p:nvPr/>
          </p:nvSpPr>
          <p:spPr>
            <a:xfrm>
              <a:off x="5445452" y="824228"/>
              <a:ext cx="1198054" cy="1198054"/>
            </a:xfrm>
            <a:custGeom>
              <a:avLst/>
              <a:gdLst>
                <a:gd name="connsiteX0" fmla="*/ 0 w 1198054"/>
                <a:gd name="connsiteY0" fmla="*/ 0 h 1198054"/>
                <a:gd name="connsiteX1" fmla="*/ 1198055 w 1198054"/>
                <a:gd name="connsiteY1" fmla="*/ 0 h 1198054"/>
                <a:gd name="connsiteX2" fmla="*/ 1198055 w 1198054"/>
                <a:gd name="connsiteY2" fmla="*/ 1198055 h 1198054"/>
                <a:gd name="connsiteX3" fmla="*/ 0 w 1198054"/>
                <a:gd name="connsiteY3" fmla="*/ 1198055 h 1198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8054" h="1198054">
                  <a:moveTo>
                    <a:pt x="0" y="0"/>
                  </a:moveTo>
                  <a:lnTo>
                    <a:pt x="1198055" y="0"/>
                  </a:lnTo>
                  <a:lnTo>
                    <a:pt x="1198055" y="1198055"/>
                  </a:lnTo>
                  <a:lnTo>
                    <a:pt x="0" y="1198055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3F308EF-F9D1-4656-998C-C1C4ABBE3968}"/>
                </a:ext>
              </a:extLst>
            </p:cNvPr>
            <p:cNvSpPr/>
            <p:nvPr/>
          </p:nvSpPr>
          <p:spPr>
            <a:xfrm>
              <a:off x="7628582" y="824228"/>
              <a:ext cx="1198054" cy="1198054"/>
            </a:xfrm>
            <a:custGeom>
              <a:avLst/>
              <a:gdLst>
                <a:gd name="connsiteX0" fmla="*/ 0 w 1198054"/>
                <a:gd name="connsiteY0" fmla="*/ 0 h 1198054"/>
                <a:gd name="connsiteX1" fmla="*/ 1198054 w 1198054"/>
                <a:gd name="connsiteY1" fmla="*/ 0 h 1198054"/>
                <a:gd name="connsiteX2" fmla="*/ 1198054 w 1198054"/>
                <a:gd name="connsiteY2" fmla="*/ 1198055 h 1198054"/>
                <a:gd name="connsiteX3" fmla="*/ 0 w 1198054"/>
                <a:gd name="connsiteY3" fmla="*/ 1198055 h 1198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8054" h="1198054">
                  <a:moveTo>
                    <a:pt x="0" y="0"/>
                  </a:moveTo>
                  <a:lnTo>
                    <a:pt x="1198054" y="0"/>
                  </a:lnTo>
                  <a:lnTo>
                    <a:pt x="1198054" y="1198055"/>
                  </a:lnTo>
                  <a:lnTo>
                    <a:pt x="0" y="1198055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1B3A59EE-D5DB-4C31-A21B-3138520E6ABF}"/>
                </a:ext>
              </a:extLst>
            </p:cNvPr>
            <p:cNvGrpSpPr/>
            <p:nvPr userDrawn="1"/>
          </p:nvGrpSpPr>
          <p:grpSpPr>
            <a:xfrm>
              <a:off x="5032543" y="809464"/>
              <a:ext cx="6559677" cy="5748641"/>
              <a:chOff x="5032543" y="809464"/>
              <a:chExt cx="6559677" cy="5748641"/>
            </a:xfrm>
            <a:gradFill>
              <a:gsLst>
                <a:gs pos="49580">
                  <a:schemeClr val="accent1"/>
                </a:gs>
                <a:gs pos="0">
                  <a:schemeClr val="accent2"/>
                </a:gs>
                <a:gs pos="96460">
                  <a:schemeClr val="accent6"/>
                </a:gs>
              </a:gsLst>
              <a:lin ang="5400000" scaled="1"/>
            </a:gradFill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45816FE3-4E1F-4B4F-BBD9-2948C016E55C}"/>
                  </a:ext>
                </a:extLst>
              </p:cNvPr>
              <p:cNvSpPr/>
              <p:nvPr/>
            </p:nvSpPr>
            <p:spPr>
              <a:xfrm>
                <a:off x="5032543" y="809464"/>
                <a:ext cx="6559677" cy="5748641"/>
              </a:xfrm>
              <a:custGeom>
                <a:avLst/>
                <a:gdLst>
                  <a:gd name="connsiteX0" fmla="*/ -128 w 6559677"/>
                  <a:gd name="connsiteY0" fmla="*/ 5433625 h 5748641"/>
                  <a:gd name="connsiteX1" fmla="*/ 892651 w 6559677"/>
                  <a:gd name="connsiteY1" fmla="*/ 5677655 h 5748641"/>
                  <a:gd name="connsiteX2" fmla="*/ 1367377 w 6559677"/>
                  <a:gd name="connsiteY2" fmla="*/ 5735758 h 5748641"/>
                  <a:gd name="connsiteX3" fmla="*/ 1853152 w 6559677"/>
                  <a:gd name="connsiteY3" fmla="*/ 5746616 h 5748641"/>
                  <a:gd name="connsiteX4" fmla="*/ 3781583 w 6559677"/>
                  <a:gd name="connsiteY4" fmla="*/ 5289416 h 5748641"/>
                  <a:gd name="connsiteX5" fmla="*/ 4638833 w 6559677"/>
                  <a:gd name="connsiteY5" fmla="*/ 4769827 h 5748641"/>
                  <a:gd name="connsiteX6" fmla="*/ 5920803 w 6559677"/>
                  <a:gd name="connsiteY6" fmla="*/ 3309931 h 5748641"/>
                  <a:gd name="connsiteX7" fmla="*/ 6299708 w 6559677"/>
                  <a:gd name="connsiteY7" fmla="*/ 2466682 h 5748641"/>
                  <a:gd name="connsiteX8" fmla="*/ 6458394 w 6559677"/>
                  <a:gd name="connsiteY8" fmla="*/ 1879180 h 5748641"/>
                  <a:gd name="connsiteX9" fmla="*/ 6542310 w 6559677"/>
                  <a:gd name="connsiteY9" fmla="*/ 1276819 h 5748641"/>
                  <a:gd name="connsiteX10" fmla="*/ 6551263 w 6559677"/>
                  <a:gd name="connsiteY10" fmla="*/ 1124991 h 5748641"/>
                  <a:gd name="connsiteX11" fmla="*/ 6554406 w 6559677"/>
                  <a:gd name="connsiteY11" fmla="*/ 1048791 h 5748641"/>
                  <a:gd name="connsiteX12" fmla="*/ 6555835 w 6559677"/>
                  <a:gd name="connsiteY12" fmla="*/ 972591 h 5748641"/>
                  <a:gd name="connsiteX13" fmla="*/ 6556406 w 6559677"/>
                  <a:gd name="connsiteY13" fmla="*/ 934491 h 5748641"/>
                  <a:gd name="connsiteX14" fmla="*/ 6556406 w 6559677"/>
                  <a:gd name="connsiteY14" fmla="*/ 898582 h 5748641"/>
                  <a:gd name="connsiteX15" fmla="*/ 6556406 w 6559677"/>
                  <a:gd name="connsiteY15" fmla="*/ 830192 h 5748641"/>
                  <a:gd name="connsiteX16" fmla="*/ 6556978 w 6559677"/>
                  <a:gd name="connsiteY16" fmla="*/ 693318 h 5748641"/>
                  <a:gd name="connsiteX17" fmla="*/ 6559550 w 6559677"/>
                  <a:gd name="connsiteY17" fmla="*/ 145916 h 5748641"/>
                  <a:gd name="connsiteX18" fmla="*/ 6530213 w 6559677"/>
                  <a:gd name="connsiteY18" fmla="*/ -293 h 5748641"/>
                  <a:gd name="connsiteX19" fmla="*/ 6500781 w 6559677"/>
                  <a:gd name="connsiteY19" fmla="*/ 145916 h 5748641"/>
                  <a:gd name="connsiteX20" fmla="*/ 6503447 w 6559677"/>
                  <a:gd name="connsiteY20" fmla="*/ 693318 h 5748641"/>
                  <a:gd name="connsiteX21" fmla="*/ 6504019 w 6559677"/>
                  <a:gd name="connsiteY21" fmla="*/ 830192 h 5748641"/>
                  <a:gd name="connsiteX22" fmla="*/ 6504019 w 6559677"/>
                  <a:gd name="connsiteY22" fmla="*/ 898582 h 5748641"/>
                  <a:gd name="connsiteX23" fmla="*/ 6504019 w 6559677"/>
                  <a:gd name="connsiteY23" fmla="*/ 935062 h 5748641"/>
                  <a:gd name="connsiteX24" fmla="*/ 6504019 w 6559677"/>
                  <a:gd name="connsiteY24" fmla="*/ 972686 h 5748641"/>
                  <a:gd name="connsiteX25" fmla="*/ 6503162 w 6559677"/>
                  <a:gd name="connsiteY25" fmla="*/ 1047838 h 5748641"/>
                  <a:gd name="connsiteX26" fmla="*/ 6500590 w 6559677"/>
                  <a:gd name="connsiteY26" fmla="*/ 1122991 h 5748641"/>
                  <a:gd name="connsiteX27" fmla="*/ 6492589 w 6559677"/>
                  <a:gd name="connsiteY27" fmla="*/ 1273295 h 5748641"/>
                  <a:gd name="connsiteX28" fmla="*/ 6258846 w 6559677"/>
                  <a:gd name="connsiteY28" fmla="*/ 2453157 h 5748641"/>
                  <a:gd name="connsiteX29" fmla="*/ 148653 w 6559677"/>
                  <a:gd name="connsiteY29" fmla="*/ 5483402 h 5748641"/>
                  <a:gd name="connsiteX30" fmla="*/ 730 w 6559677"/>
                  <a:gd name="connsiteY30" fmla="*/ 5430862 h 5748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6559677" h="5748641">
                    <a:moveTo>
                      <a:pt x="-128" y="5433625"/>
                    </a:moveTo>
                    <a:cubicBezTo>
                      <a:pt x="288956" y="5543400"/>
                      <a:pt x="587927" y="5625115"/>
                      <a:pt x="892651" y="5677655"/>
                    </a:cubicBezTo>
                    <a:cubicBezTo>
                      <a:pt x="1048385" y="5704516"/>
                      <a:pt x="1206976" y="5724042"/>
                      <a:pt x="1367377" y="5735758"/>
                    </a:cubicBezTo>
                    <a:cubicBezTo>
                      <a:pt x="1527778" y="5747473"/>
                      <a:pt x="1689893" y="5750808"/>
                      <a:pt x="1853152" y="5746616"/>
                    </a:cubicBezTo>
                    <a:cubicBezTo>
                      <a:pt x="2520683" y="5729405"/>
                      <a:pt x="3177365" y="5573709"/>
                      <a:pt x="3781583" y="5289416"/>
                    </a:cubicBezTo>
                    <a:cubicBezTo>
                      <a:pt x="4084688" y="5146627"/>
                      <a:pt x="4372010" y="4972481"/>
                      <a:pt x="4638833" y="4769827"/>
                    </a:cubicBezTo>
                    <a:cubicBezTo>
                      <a:pt x="5160422" y="4374826"/>
                      <a:pt x="5596524" y="3878192"/>
                      <a:pt x="5920803" y="3309931"/>
                    </a:cubicBezTo>
                    <a:cubicBezTo>
                      <a:pt x="6073823" y="3041630"/>
                      <a:pt x="6200705" y="2759252"/>
                      <a:pt x="6299708" y="2466682"/>
                    </a:cubicBezTo>
                    <a:cubicBezTo>
                      <a:pt x="6364707" y="2274325"/>
                      <a:pt x="6417703" y="2078110"/>
                      <a:pt x="6458394" y="1879180"/>
                    </a:cubicBezTo>
                    <a:cubicBezTo>
                      <a:pt x="6498704" y="1680308"/>
                      <a:pt x="6526736" y="1479140"/>
                      <a:pt x="6542310" y="1276819"/>
                    </a:cubicBezTo>
                    <a:cubicBezTo>
                      <a:pt x="6545358" y="1226242"/>
                      <a:pt x="6549739" y="1175664"/>
                      <a:pt x="6551263" y="1124991"/>
                    </a:cubicBezTo>
                    <a:lnTo>
                      <a:pt x="6554406" y="1048791"/>
                    </a:lnTo>
                    <a:lnTo>
                      <a:pt x="6555835" y="972591"/>
                    </a:lnTo>
                    <a:lnTo>
                      <a:pt x="6556406" y="934491"/>
                    </a:lnTo>
                    <a:lnTo>
                      <a:pt x="6556406" y="898582"/>
                    </a:lnTo>
                    <a:lnTo>
                      <a:pt x="6556406" y="830192"/>
                    </a:lnTo>
                    <a:lnTo>
                      <a:pt x="6556978" y="693318"/>
                    </a:lnTo>
                    <a:lnTo>
                      <a:pt x="6559550" y="145916"/>
                    </a:lnTo>
                    <a:cubicBezTo>
                      <a:pt x="6559550" y="66001"/>
                      <a:pt x="6542024" y="-293"/>
                      <a:pt x="6530213" y="-293"/>
                    </a:cubicBezTo>
                    <a:cubicBezTo>
                      <a:pt x="6518402" y="-293"/>
                      <a:pt x="6500399" y="66382"/>
                      <a:pt x="6500781" y="145916"/>
                    </a:cubicBezTo>
                    <a:lnTo>
                      <a:pt x="6503447" y="693318"/>
                    </a:lnTo>
                    <a:lnTo>
                      <a:pt x="6504019" y="830192"/>
                    </a:lnTo>
                    <a:lnTo>
                      <a:pt x="6504019" y="898582"/>
                    </a:lnTo>
                    <a:lnTo>
                      <a:pt x="6504019" y="935062"/>
                    </a:lnTo>
                    <a:lnTo>
                      <a:pt x="6504019" y="972686"/>
                    </a:lnTo>
                    <a:lnTo>
                      <a:pt x="6503162" y="1047838"/>
                    </a:lnTo>
                    <a:lnTo>
                      <a:pt x="6500590" y="1122991"/>
                    </a:lnTo>
                    <a:cubicBezTo>
                      <a:pt x="6499447" y="1173187"/>
                      <a:pt x="6495351" y="1223194"/>
                      <a:pt x="6492589" y="1273295"/>
                    </a:cubicBezTo>
                    <a:cubicBezTo>
                      <a:pt x="6464691" y="1674860"/>
                      <a:pt x="6386156" y="2071290"/>
                      <a:pt x="6258846" y="2453157"/>
                    </a:cubicBezTo>
                    <a:cubicBezTo>
                      <a:pt x="5408339" y="4977215"/>
                      <a:pt x="2672711" y="6333909"/>
                      <a:pt x="148653" y="5483402"/>
                    </a:cubicBezTo>
                    <a:cubicBezTo>
                      <a:pt x="99066" y="5466696"/>
                      <a:pt x="49745" y="5449179"/>
                      <a:pt x="730" y="543086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4C29BD30-E391-4137-AD82-8A8154348AD5}"/>
                  </a:ext>
                </a:extLst>
              </p:cNvPr>
              <p:cNvSpPr/>
              <p:nvPr/>
            </p:nvSpPr>
            <p:spPr>
              <a:xfrm>
                <a:off x="5360966" y="810130"/>
                <a:ext cx="5302662" cy="4820983"/>
              </a:xfrm>
              <a:custGeom>
                <a:avLst/>
                <a:gdLst>
                  <a:gd name="connsiteX0" fmla="*/ -128 w 5302662"/>
                  <a:gd name="connsiteY0" fmla="*/ 4564087 h 4820983"/>
                  <a:gd name="connsiteX1" fmla="*/ 4784756 w 5302662"/>
                  <a:gd name="connsiteY1" fmla="*/ 2850444 h 4820983"/>
                  <a:gd name="connsiteX2" fmla="*/ 5090985 w 5302662"/>
                  <a:gd name="connsiteY2" fmla="*/ 2169788 h 4820983"/>
                  <a:gd name="connsiteX3" fmla="*/ 5219573 w 5302662"/>
                  <a:gd name="connsiteY3" fmla="*/ 1695634 h 4820983"/>
                  <a:gd name="connsiteX4" fmla="*/ 5287771 w 5302662"/>
                  <a:gd name="connsiteY4" fmla="*/ 1208430 h 4820983"/>
                  <a:gd name="connsiteX5" fmla="*/ 5295106 w 5302662"/>
                  <a:gd name="connsiteY5" fmla="*/ 1085462 h 4820983"/>
                  <a:gd name="connsiteX6" fmla="*/ 5297678 w 5302662"/>
                  <a:gd name="connsiteY6" fmla="*/ 1023835 h 4820983"/>
                  <a:gd name="connsiteX7" fmla="*/ 5298821 w 5302662"/>
                  <a:gd name="connsiteY7" fmla="*/ 962209 h 4820983"/>
                  <a:gd name="connsiteX8" fmla="*/ 5299392 w 5302662"/>
                  <a:gd name="connsiteY8" fmla="*/ 931347 h 4820983"/>
                  <a:gd name="connsiteX9" fmla="*/ 5299392 w 5302662"/>
                  <a:gd name="connsiteY9" fmla="*/ 915727 h 4820983"/>
                  <a:gd name="connsiteX10" fmla="*/ 5299392 w 5302662"/>
                  <a:gd name="connsiteY10" fmla="*/ 898581 h 4820983"/>
                  <a:gd name="connsiteX11" fmla="*/ 5299392 w 5302662"/>
                  <a:gd name="connsiteY11" fmla="*/ 830192 h 4820983"/>
                  <a:gd name="connsiteX12" fmla="*/ 5299964 w 5302662"/>
                  <a:gd name="connsiteY12" fmla="*/ 693318 h 4820983"/>
                  <a:gd name="connsiteX13" fmla="*/ 5302536 w 5302662"/>
                  <a:gd name="connsiteY13" fmla="*/ 145916 h 4820983"/>
                  <a:gd name="connsiteX14" fmla="*/ 5273199 w 5302662"/>
                  <a:gd name="connsiteY14" fmla="*/ -293 h 4820983"/>
                  <a:gd name="connsiteX15" fmla="*/ 5243861 w 5302662"/>
                  <a:gd name="connsiteY15" fmla="*/ 145916 h 4820983"/>
                  <a:gd name="connsiteX16" fmla="*/ 5246433 w 5302662"/>
                  <a:gd name="connsiteY16" fmla="*/ 693318 h 4820983"/>
                  <a:gd name="connsiteX17" fmla="*/ 5247005 w 5302662"/>
                  <a:gd name="connsiteY17" fmla="*/ 830192 h 4820983"/>
                  <a:gd name="connsiteX18" fmla="*/ 5247005 w 5302662"/>
                  <a:gd name="connsiteY18" fmla="*/ 898581 h 4820983"/>
                  <a:gd name="connsiteX19" fmla="*/ 5247005 w 5302662"/>
                  <a:gd name="connsiteY19" fmla="*/ 931157 h 4820983"/>
                  <a:gd name="connsiteX20" fmla="*/ 5247005 w 5302662"/>
                  <a:gd name="connsiteY20" fmla="*/ 961637 h 4820983"/>
                  <a:gd name="connsiteX21" fmla="*/ 5246433 w 5302662"/>
                  <a:gd name="connsiteY21" fmla="*/ 1022502 h 4820983"/>
                  <a:gd name="connsiteX22" fmla="*/ 5244337 w 5302662"/>
                  <a:gd name="connsiteY22" fmla="*/ 1083367 h 4820983"/>
                  <a:gd name="connsiteX23" fmla="*/ 5238051 w 5302662"/>
                  <a:gd name="connsiteY23" fmla="*/ 1204905 h 4820983"/>
                  <a:gd name="connsiteX24" fmla="*/ 5050218 w 5302662"/>
                  <a:gd name="connsiteY24" fmla="*/ 2156167 h 4820983"/>
                  <a:gd name="connsiteX25" fmla="*/ 117573 w 5302662"/>
                  <a:gd name="connsiteY25" fmla="*/ 4603245 h 4820983"/>
                  <a:gd name="connsiteX26" fmla="*/ 444 w 5302662"/>
                  <a:gd name="connsiteY26" fmla="*/ 4561706 h 4820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302662" h="4820983">
                    <a:moveTo>
                      <a:pt x="-128" y="4564087"/>
                    </a:moveTo>
                    <a:cubicBezTo>
                      <a:pt x="1799202" y="5249601"/>
                      <a:pt x="3829723" y="4522396"/>
                      <a:pt x="4784756" y="2850444"/>
                    </a:cubicBezTo>
                    <a:cubicBezTo>
                      <a:pt x="4908505" y="2633951"/>
                      <a:pt x="5011061" y="2406008"/>
                      <a:pt x="5090985" y="2169788"/>
                    </a:cubicBezTo>
                    <a:cubicBezTo>
                      <a:pt x="5143592" y="2014540"/>
                      <a:pt x="5186531" y="1856187"/>
                      <a:pt x="5219573" y="1695634"/>
                    </a:cubicBezTo>
                    <a:cubicBezTo>
                      <a:pt x="5252263" y="1534785"/>
                      <a:pt x="5275037" y="1372079"/>
                      <a:pt x="5287771" y="1208430"/>
                    </a:cubicBezTo>
                    <a:cubicBezTo>
                      <a:pt x="5290153" y="1167472"/>
                      <a:pt x="5293963" y="1126515"/>
                      <a:pt x="5295106" y="1085462"/>
                    </a:cubicBezTo>
                    <a:lnTo>
                      <a:pt x="5297678" y="1023835"/>
                    </a:lnTo>
                    <a:lnTo>
                      <a:pt x="5298821" y="962209"/>
                    </a:lnTo>
                    <a:lnTo>
                      <a:pt x="5299392" y="931347"/>
                    </a:lnTo>
                    <a:lnTo>
                      <a:pt x="5299392" y="915727"/>
                    </a:lnTo>
                    <a:lnTo>
                      <a:pt x="5299392" y="898581"/>
                    </a:lnTo>
                    <a:lnTo>
                      <a:pt x="5299392" y="830192"/>
                    </a:lnTo>
                    <a:lnTo>
                      <a:pt x="5299964" y="693318"/>
                    </a:lnTo>
                    <a:lnTo>
                      <a:pt x="5302536" y="145916"/>
                    </a:lnTo>
                    <a:cubicBezTo>
                      <a:pt x="5302536" y="66001"/>
                      <a:pt x="5285009" y="-293"/>
                      <a:pt x="5273199" y="-293"/>
                    </a:cubicBezTo>
                    <a:cubicBezTo>
                      <a:pt x="5261388" y="-293"/>
                      <a:pt x="5243385" y="66382"/>
                      <a:pt x="5243861" y="145916"/>
                    </a:cubicBezTo>
                    <a:lnTo>
                      <a:pt x="5246433" y="693318"/>
                    </a:lnTo>
                    <a:lnTo>
                      <a:pt x="5247005" y="830192"/>
                    </a:lnTo>
                    <a:lnTo>
                      <a:pt x="5247005" y="898581"/>
                    </a:lnTo>
                    <a:lnTo>
                      <a:pt x="5247005" y="931157"/>
                    </a:lnTo>
                    <a:lnTo>
                      <a:pt x="5247005" y="961637"/>
                    </a:lnTo>
                    <a:lnTo>
                      <a:pt x="5246433" y="1022502"/>
                    </a:lnTo>
                    <a:lnTo>
                      <a:pt x="5244337" y="1083367"/>
                    </a:lnTo>
                    <a:cubicBezTo>
                      <a:pt x="5243481" y="1123943"/>
                      <a:pt x="5240052" y="1164329"/>
                      <a:pt x="5238051" y="1204905"/>
                    </a:cubicBezTo>
                    <a:cubicBezTo>
                      <a:pt x="5215725" y="1528632"/>
                      <a:pt x="5152612" y="1848252"/>
                      <a:pt x="5050218" y="2156167"/>
                    </a:cubicBezTo>
                    <a:cubicBezTo>
                      <a:pt x="4363846" y="4194022"/>
                      <a:pt x="2155428" y="5289616"/>
                      <a:pt x="117573" y="4603245"/>
                    </a:cubicBezTo>
                    <a:cubicBezTo>
                      <a:pt x="78311" y="4590024"/>
                      <a:pt x="39258" y="4576175"/>
                      <a:pt x="444" y="456170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E67D8FD4-2A1C-4C7C-962D-ED9FFA4F8524}"/>
                  </a:ext>
                </a:extLst>
              </p:cNvPr>
              <p:cNvSpPr/>
              <p:nvPr/>
            </p:nvSpPr>
            <p:spPr>
              <a:xfrm>
                <a:off x="5324199" y="810130"/>
                <a:ext cx="5441917" cy="4922572"/>
              </a:xfrm>
              <a:custGeom>
                <a:avLst/>
                <a:gdLst>
                  <a:gd name="connsiteX0" fmla="*/ -128 w 5441917"/>
                  <a:gd name="connsiteY0" fmla="*/ 4660671 h 4922572"/>
                  <a:gd name="connsiteX1" fmla="*/ 739013 w 5441917"/>
                  <a:gd name="connsiteY1" fmla="*/ 4863077 h 4922572"/>
                  <a:gd name="connsiteX2" fmla="*/ 1132776 w 5441917"/>
                  <a:gd name="connsiteY2" fmla="*/ 4911464 h 4922572"/>
                  <a:gd name="connsiteX3" fmla="*/ 1536731 w 5441917"/>
                  <a:gd name="connsiteY3" fmla="*/ 4920989 h 4922572"/>
                  <a:gd name="connsiteX4" fmla="*/ 5225574 w 5441917"/>
                  <a:gd name="connsiteY4" fmla="*/ 2202744 h 4922572"/>
                  <a:gd name="connsiteX5" fmla="*/ 5357399 w 5441917"/>
                  <a:gd name="connsiteY5" fmla="*/ 1716017 h 4922572"/>
                  <a:gd name="connsiteX6" fmla="*/ 5427218 w 5441917"/>
                  <a:gd name="connsiteY6" fmla="*/ 1215954 h 4922572"/>
                  <a:gd name="connsiteX7" fmla="*/ 5434838 w 5441917"/>
                  <a:gd name="connsiteY7" fmla="*/ 1089748 h 4922572"/>
                  <a:gd name="connsiteX8" fmla="*/ 5437505 w 5441917"/>
                  <a:gd name="connsiteY8" fmla="*/ 1026597 h 4922572"/>
                  <a:gd name="connsiteX9" fmla="*/ 5438648 w 5441917"/>
                  <a:gd name="connsiteY9" fmla="*/ 963352 h 4922572"/>
                  <a:gd name="connsiteX10" fmla="*/ 5439124 w 5441917"/>
                  <a:gd name="connsiteY10" fmla="*/ 931728 h 4922572"/>
                  <a:gd name="connsiteX11" fmla="*/ 5439124 w 5441917"/>
                  <a:gd name="connsiteY11" fmla="*/ 915727 h 4922572"/>
                  <a:gd name="connsiteX12" fmla="*/ 5439124 w 5441917"/>
                  <a:gd name="connsiteY12" fmla="*/ 898581 h 4922572"/>
                  <a:gd name="connsiteX13" fmla="*/ 5439124 w 5441917"/>
                  <a:gd name="connsiteY13" fmla="*/ 830192 h 4922572"/>
                  <a:gd name="connsiteX14" fmla="*/ 5439124 w 5441917"/>
                  <a:gd name="connsiteY14" fmla="*/ 693318 h 4922572"/>
                  <a:gd name="connsiteX15" fmla="*/ 5441791 w 5441917"/>
                  <a:gd name="connsiteY15" fmla="*/ 145916 h 4922572"/>
                  <a:gd name="connsiteX16" fmla="*/ 5412359 w 5441917"/>
                  <a:gd name="connsiteY16" fmla="*/ -293 h 4922572"/>
                  <a:gd name="connsiteX17" fmla="*/ 5383022 w 5441917"/>
                  <a:gd name="connsiteY17" fmla="*/ 145916 h 4922572"/>
                  <a:gd name="connsiteX18" fmla="*/ 5385594 w 5441917"/>
                  <a:gd name="connsiteY18" fmla="*/ 693318 h 4922572"/>
                  <a:gd name="connsiteX19" fmla="*/ 5386165 w 5441917"/>
                  <a:gd name="connsiteY19" fmla="*/ 830192 h 4922572"/>
                  <a:gd name="connsiteX20" fmla="*/ 5386165 w 5441917"/>
                  <a:gd name="connsiteY20" fmla="*/ 898581 h 4922572"/>
                  <a:gd name="connsiteX21" fmla="*/ 5386165 w 5441917"/>
                  <a:gd name="connsiteY21" fmla="*/ 915345 h 4922572"/>
                  <a:gd name="connsiteX22" fmla="*/ 5386165 w 5441917"/>
                  <a:gd name="connsiteY22" fmla="*/ 931157 h 4922572"/>
                  <a:gd name="connsiteX23" fmla="*/ 5386165 w 5441917"/>
                  <a:gd name="connsiteY23" fmla="*/ 962399 h 4922572"/>
                  <a:gd name="connsiteX24" fmla="*/ 5385498 w 5441917"/>
                  <a:gd name="connsiteY24" fmla="*/ 1024883 h 4922572"/>
                  <a:gd name="connsiteX25" fmla="*/ 5383308 w 5441917"/>
                  <a:gd name="connsiteY25" fmla="*/ 1087272 h 4922572"/>
                  <a:gd name="connsiteX26" fmla="*/ 5376831 w 5441917"/>
                  <a:gd name="connsiteY26" fmla="*/ 1212049 h 4922572"/>
                  <a:gd name="connsiteX27" fmla="*/ 5183949 w 5441917"/>
                  <a:gd name="connsiteY27" fmla="*/ 2188743 h 4922572"/>
                  <a:gd name="connsiteX28" fmla="*/ 119468 w 5441917"/>
                  <a:gd name="connsiteY28" fmla="*/ 4700771 h 4922572"/>
                  <a:gd name="connsiteX29" fmla="*/ 730 w 5441917"/>
                  <a:gd name="connsiteY29" fmla="*/ 4658671 h 4922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5441917" h="4922572">
                    <a:moveTo>
                      <a:pt x="-128" y="4660671"/>
                    </a:moveTo>
                    <a:cubicBezTo>
                      <a:pt x="239217" y="4751616"/>
                      <a:pt x="486724" y="4819396"/>
                      <a:pt x="739013" y="4863077"/>
                    </a:cubicBezTo>
                    <a:cubicBezTo>
                      <a:pt x="868076" y="4885366"/>
                      <a:pt x="999617" y="4901177"/>
                      <a:pt x="1132776" y="4911464"/>
                    </a:cubicBezTo>
                    <a:cubicBezTo>
                      <a:pt x="1265936" y="4921751"/>
                      <a:pt x="1401095" y="4924132"/>
                      <a:pt x="1536731" y="4920989"/>
                    </a:cubicBezTo>
                    <a:cubicBezTo>
                      <a:pt x="3214379" y="4877155"/>
                      <a:pt x="4686830" y="3792134"/>
                      <a:pt x="5225574" y="2202744"/>
                    </a:cubicBezTo>
                    <a:cubicBezTo>
                      <a:pt x="5279533" y="2043382"/>
                      <a:pt x="5323557" y="1880828"/>
                      <a:pt x="5357399" y="1716017"/>
                    </a:cubicBezTo>
                    <a:cubicBezTo>
                      <a:pt x="5390861" y="1550911"/>
                      <a:pt x="5414178" y="1383909"/>
                      <a:pt x="5427218" y="1215954"/>
                    </a:cubicBezTo>
                    <a:cubicBezTo>
                      <a:pt x="5429694" y="1173949"/>
                      <a:pt x="5433599" y="1131944"/>
                      <a:pt x="5434838" y="1089748"/>
                    </a:cubicBezTo>
                    <a:lnTo>
                      <a:pt x="5437505" y="1026597"/>
                    </a:lnTo>
                    <a:lnTo>
                      <a:pt x="5438648" y="963352"/>
                    </a:lnTo>
                    <a:lnTo>
                      <a:pt x="5439124" y="931728"/>
                    </a:lnTo>
                    <a:lnTo>
                      <a:pt x="5439124" y="915727"/>
                    </a:lnTo>
                    <a:lnTo>
                      <a:pt x="5439124" y="898581"/>
                    </a:lnTo>
                    <a:lnTo>
                      <a:pt x="5439124" y="830192"/>
                    </a:lnTo>
                    <a:lnTo>
                      <a:pt x="5439124" y="693318"/>
                    </a:lnTo>
                    <a:lnTo>
                      <a:pt x="5441791" y="145916"/>
                    </a:lnTo>
                    <a:cubicBezTo>
                      <a:pt x="5441791" y="66001"/>
                      <a:pt x="5424170" y="-293"/>
                      <a:pt x="5412359" y="-293"/>
                    </a:cubicBezTo>
                    <a:cubicBezTo>
                      <a:pt x="5400548" y="-293"/>
                      <a:pt x="5382545" y="66382"/>
                      <a:pt x="5383022" y="145916"/>
                    </a:cubicBezTo>
                    <a:lnTo>
                      <a:pt x="5385594" y="693318"/>
                    </a:lnTo>
                    <a:lnTo>
                      <a:pt x="5386165" y="830192"/>
                    </a:lnTo>
                    <a:lnTo>
                      <a:pt x="5386165" y="898581"/>
                    </a:lnTo>
                    <a:lnTo>
                      <a:pt x="5386165" y="915345"/>
                    </a:lnTo>
                    <a:lnTo>
                      <a:pt x="5386165" y="931157"/>
                    </a:lnTo>
                    <a:lnTo>
                      <a:pt x="5386165" y="962399"/>
                    </a:lnTo>
                    <a:lnTo>
                      <a:pt x="5385498" y="1024883"/>
                    </a:lnTo>
                    <a:lnTo>
                      <a:pt x="5383308" y="1087272"/>
                    </a:lnTo>
                    <a:cubicBezTo>
                      <a:pt x="5382545" y="1128991"/>
                      <a:pt x="5379021" y="1170425"/>
                      <a:pt x="5376831" y="1212049"/>
                    </a:cubicBezTo>
                    <a:cubicBezTo>
                      <a:pt x="5353904" y="1544434"/>
                      <a:pt x="5289096" y="1872598"/>
                      <a:pt x="5183949" y="2188743"/>
                    </a:cubicBezTo>
                    <a:cubicBezTo>
                      <a:pt x="4479109" y="4280938"/>
                      <a:pt x="2211663" y="5405612"/>
                      <a:pt x="119468" y="4700771"/>
                    </a:cubicBezTo>
                    <a:cubicBezTo>
                      <a:pt x="79673" y="4687360"/>
                      <a:pt x="40087" y="4673330"/>
                      <a:pt x="730" y="465867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A72C0ED2-E7E4-48A0-BFB4-116631389044}"/>
                  </a:ext>
                </a:extLst>
              </p:cNvPr>
              <p:cNvSpPr/>
              <p:nvPr/>
            </p:nvSpPr>
            <p:spPr>
              <a:xfrm>
                <a:off x="5287718" y="810130"/>
                <a:ext cx="5581754" cy="5025616"/>
              </a:xfrm>
              <a:custGeom>
                <a:avLst/>
                <a:gdLst>
                  <a:gd name="connsiteX0" fmla="*/ -128 w 5581754"/>
                  <a:gd name="connsiteY0" fmla="*/ 4757159 h 5025616"/>
                  <a:gd name="connsiteX1" fmla="*/ 758253 w 5581754"/>
                  <a:gd name="connsiteY1" fmla="*/ 4964804 h 5025616"/>
                  <a:gd name="connsiteX2" fmla="*/ 1162113 w 5581754"/>
                  <a:gd name="connsiteY2" fmla="*/ 5014429 h 5025616"/>
                  <a:gd name="connsiteX3" fmla="*/ 1576260 w 5581754"/>
                  <a:gd name="connsiteY3" fmla="*/ 5023954 h 5025616"/>
                  <a:gd name="connsiteX4" fmla="*/ 5359495 w 5581754"/>
                  <a:gd name="connsiteY4" fmla="*/ 2235606 h 5025616"/>
                  <a:gd name="connsiteX5" fmla="*/ 5494655 w 5581754"/>
                  <a:gd name="connsiteY5" fmla="*/ 1736305 h 5025616"/>
                  <a:gd name="connsiteX6" fmla="*/ 5566283 w 5581754"/>
                  <a:gd name="connsiteY6" fmla="*/ 1223479 h 5025616"/>
                  <a:gd name="connsiteX7" fmla="*/ 5573998 w 5581754"/>
                  <a:gd name="connsiteY7" fmla="*/ 1094130 h 5025616"/>
                  <a:gd name="connsiteX8" fmla="*/ 5576760 w 5581754"/>
                  <a:gd name="connsiteY8" fmla="*/ 1029360 h 5025616"/>
                  <a:gd name="connsiteX9" fmla="*/ 5577903 w 5581754"/>
                  <a:gd name="connsiteY9" fmla="*/ 964494 h 5025616"/>
                  <a:gd name="connsiteX10" fmla="*/ 5578475 w 5581754"/>
                  <a:gd name="connsiteY10" fmla="*/ 932014 h 5025616"/>
                  <a:gd name="connsiteX11" fmla="*/ 5578475 w 5581754"/>
                  <a:gd name="connsiteY11" fmla="*/ 915727 h 5025616"/>
                  <a:gd name="connsiteX12" fmla="*/ 5578475 w 5581754"/>
                  <a:gd name="connsiteY12" fmla="*/ 898581 h 5025616"/>
                  <a:gd name="connsiteX13" fmla="*/ 5578475 w 5581754"/>
                  <a:gd name="connsiteY13" fmla="*/ 830192 h 5025616"/>
                  <a:gd name="connsiteX14" fmla="*/ 5579046 w 5581754"/>
                  <a:gd name="connsiteY14" fmla="*/ 693318 h 5025616"/>
                  <a:gd name="connsiteX15" fmla="*/ 5581618 w 5581754"/>
                  <a:gd name="connsiteY15" fmla="*/ 145916 h 5025616"/>
                  <a:gd name="connsiteX16" fmla="*/ 5552281 w 5581754"/>
                  <a:gd name="connsiteY16" fmla="*/ -293 h 5025616"/>
                  <a:gd name="connsiteX17" fmla="*/ 5522849 w 5581754"/>
                  <a:gd name="connsiteY17" fmla="*/ 145916 h 5025616"/>
                  <a:gd name="connsiteX18" fmla="*/ 5525516 w 5581754"/>
                  <a:gd name="connsiteY18" fmla="*/ 693318 h 5025616"/>
                  <a:gd name="connsiteX19" fmla="*/ 5526087 w 5581754"/>
                  <a:gd name="connsiteY19" fmla="*/ 830192 h 5025616"/>
                  <a:gd name="connsiteX20" fmla="*/ 5526087 w 5581754"/>
                  <a:gd name="connsiteY20" fmla="*/ 898581 h 5025616"/>
                  <a:gd name="connsiteX21" fmla="*/ 5526087 w 5581754"/>
                  <a:gd name="connsiteY21" fmla="*/ 931824 h 5025616"/>
                  <a:gd name="connsiteX22" fmla="*/ 5526087 w 5581754"/>
                  <a:gd name="connsiteY22" fmla="*/ 963923 h 5025616"/>
                  <a:gd name="connsiteX23" fmla="*/ 5525420 w 5581754"/>
                  <a:gd name="connsiteY23" fmla="*/ 1027931 h 5025616"/>
                  <a:gd name="connsiteX24" fmla="*/ 5523230 w 5581754"/>
                  <a:gd name="connsiteY24" fmla="*/ 1092034 h 5025616"/>
                  <a:gd name="connsiteX25" fmla="*/ 5516562 w 5581754"/>
                  <a:gd name="connsiteY25" fmla="*/ 1219955 h 5025616"/>
                  <a:gd name="connsiteX26" fmla="*/ 5318538 w 5581754"/>
                  <a:gd name="connsiteY26" fmla="*/ 2221985 h 5025616"/>
                  <a:gd name="connsiteX27" fmla="*/ 123745 w 5581754"/>
                  <a:gd name="connsiteY27" fmla="*/ 4798384 h 5025616"/>
                  <a:gd name="connsiteX28" fmla="*/ 825 w 5581754"/>
                  <a:gd name="connsiteY28" fmla="*/ 4754778 h 5025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581754" h="5025616">
                    <a:moveTo>
                      <a:pt x="-128" y="4757159"/>
                    </a:moveTo>
                    <a:cubicBezTo>
                      <a:pt x="245427" y="4850504"/>
                      <a:pt x="499392" y="4920037"/>
                      <a:pt x="758253" y="4964804"/>
                    </a:cubicBezTo>
                    <a:cubicBezTo>
                      <a:pt x="890651" y="4987664"/>
                      <a:pt x="1025524" y="5004428"/>
                      <a:pt x="1162113" y="5014429"/>
                    </a:cubicBezTo>
                    <a:cubicBezTo>
                      <a:pt x="1298702" y="5024431"/>
                      <a:pt x="1437195" y="5027384"/>
                      <a:pt x="1576260" y="5023954"/>
                    </a:cubicBezTo>
                    <a:cubicBezTo>
                      <a:pt x="3296904" y="4978701"/>
                      <a:pt x="4806960" y="3865743"/>
                      <a:pt x="5359495" y="2235606"/>
                    </a:cubicBezTo>
                    <a:cubicBezTo>
                      <a:pt x="5414807" y="2072119"/>
                      <a:pt x="5459946" y="1905364"/>
                      <a:pt x="5494655" y="1736305"/>
                    </a:cubicBezTo>
                    <a:cubicBezTo>
                      <a:pt x="5528964" y="1566979"/>
                      <a:pt x="5552881" y="1395720"/>
                      <a:pt x="5566283" y="1223479"/>
                    </a:cubicBezTo>
                    <a:cubicBezTo>
                      <a:pt x="5568854" y="1180331"/>
                      <a:pt x="5572760" y="1137278"/>
                      <a:pt x="5573998" y="1094130"/>
                    </a:cubicBezTo>
                    <a:lnTo>
                      <a:pt x="5576760" y="1029360"/>
                    </a:lnTo>
                    <a:lnTo>
                      <a:pt x="5577903" y="964494"/>
                    </a:lnTo>
                    <a:lnTo>
                      <a:pt x="5578475" y="932014"/>
                    </a:lnTo>
                    <a:lnTo>
                      <a:pt x="5578475" y="915727"/>
                    </a:lnTo>
                    <a:lnTo>
                      <a:pt x="5578475" y="898581"/>
                    </a:lnTo>
                    <a:lnTo>
                      <a:pt x="5578475" y="830192"/>
                    </a:lnTo>
                    <a:lnTo>
                      <a:pt x="5579046" y="693318"/>
                    </a:lnTo>
                    <a:lnTo>
                      <a:pt x="5581618" y="145916"/>
                    </a:lnTo>
                    <a:cubicBezTo>
                      <a:pt x="5582094" y="66001"/>
                      <a:pt x="5564092" y="-293"/>
                      <a:pt x="5552281" y="-293"/>
                    </a:cubicBezTo>
                    <a:cubicBezTo>
                      <a:pt x="5540470" y="-293"/>
                      <a:pt x="5522468" y="66382"/>
                      <a:pt x="5522849" y="145916"/>
                    </a:cubicBezTo>
                    <a:lnTo>
                      <a:pt x="5525516" y="693318"/>
                    </a:lnTo>
                    <a:lnTo>
                      <a:pt x="5526087" y="830192"/>
                    </a:lnTo>
                    <a:lnTo>
                      <a:pt x="5526087" y="898581"/>
                    </a:lnTo>
                    <a:lnTo>
                      <a:pt x="5526087" y="931824"/>
                    </a:lnTo>
                    <a:lnTo>
                      <a:pt x="5526087" y="963923"/>
                    </a:lnTo>
                    <a:lnTo>
                      <a:pt x="5525420" y="1027931"/>
                    </a:lnTo>
                    <a:lnTo>
                      <a:pt x="5523230" y="1092034"/>
                    </a:lnTo>
                    <a:cubicBezTo>
                      <a:pt x="5522372" y="1134706"/>
                      <a:pt x="5518753" y="1177283"/>
                      <a:pt x="5516562" y="1219955"/>
                    </a:cubicBezTo>
                    <a:cubicBezTo>
                      <a:pt x="5492921" y="1560960"/>
                      <a:pt x="5426389" y="1897621"/>
                      <a:pt x="5318538" y="2221985"/>
                    </a:cubicBezTo>
                    <a:cubicBezTo>
                      <a:pt x="4595485" y="4367939"/>
                      <a:pt x="2269699" y="5521435"/>
                      <a:pt x="123745" y="4798384"/>
                    </a:cubicBezTo>
                    <a:cubicBezTo>
                      <a:pt x="82540" y="4784496"/>
                      <a:pt x="41563" y="4769961"/>
                      <a:pt x="825" y="475477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47E85B6C-D1D5-4C45-8AD4-589138501A93}"/>
                  </a:ext>
                </a:extLst>
              </p:cNvPr>
              <p:cNvSpPr/>
              <p:nvPr/>
            </p:nvSpPr>
            <p:spPr>
              <a:xfrm>
                <a:off x="5251237" y="809464"/>
                <a:ext cx="5722429" cy="5129417"/>
              </a:xfrm>
              <a:custGeom>
                <a:avLst/>
                <a:gdLst>
                  <a:gd name="connsiteX0" fmla="*/ -128 w 5722429"/>
                  <a:gd name="connsiteY0" fmla="*/ 4854409 h 5129417"/>
                  <a:gd name="connsiteX1" fmla="*/ 777494 w 5722429"/>
                  <a:gd name="connsiteY1" fmla="*/ 5067198 h 5129417"/>
                  <a:gd name="connsiteX2" fmla="*/ 1191450 w 5722429"/>
                  <a:gd name="connsiteY2" fmla="*/ 5118061 h 5129417"/>
                  <a:gd name="connsiteX3" fmla="*/ 1615884 w 5722429"/>
                  <a:gd name="connsiteY3" fmla="*/ 5127586 h 5129417"/>
                  <a:gd name="connsiteX4" fmla="*/ 5494178 w 5722429"/>
                  <a:gd name="connsiteY4" fmla="*/ 2269134 h 5129417"/>
                  <a:gd name="connsiteX5" fmla="*/ 5706014 w 5722429"/>
                  <a:gd name="connsiteY5" fmla="*/ 1231576 h 5129417"/>
                  <a:gd name="connsiteX6" fmla="*/ 5713920 w 5722429"/>
                  <a:gd name="connsiteY6" fmla="*/ 1098987 h 5129417"/>
                  <a:gd name="connsiteX7" fmla="*/ 5716778 w 5722429"/>
                  <a:gd name="connsiteY7" fmla="*/ 1032312 h 5129417"/>
                  <a:gd name="connsiteX8" fmla="*/ 5717921 w 5722429"/>
                  <a:gd name="connsiteY8" fmla="*/ 965637 h 5129417"/>
                  <a:gd name="connsiteX9" fmla="*/ 5719064 w 5722429"/>
                  <a:gd name="connsiteY9" fmla="*/ 830192 h 5129417"/>
                  <a:gd name="connsiteX10" fmla="*/ 5719635 w 5722429"/>
                  <a:gd name="connsiteY10" fmla="*/ 693318 h 5129417"/>
                  <a:gd name="connsiteX11" fmla="*/ 5722302 w 5722429"/>
                  <a:gd name="connsiteY11" fmla="*/ 145916 h 5129417"/>
                  <a:gd name="connsiteX12" fmla="*/ 5692870 w 5722429"/>
                  <a:gd name="connsiteY12" fmla="*/ -293 h 5129417"/>
                  <a:gd name="connsiteX13" fmla="*/ 5663533 w 5722429"/>
                  <a:gd name="connsiteY13" fmla="*/ 145916 h 5129417"/>
                  <a:gd name="connsiteX14" fmla="*/ 5666105 w 5722429"/>
                  <a:gd name="connsiteY14" fmla="*/ 693318 h 5129417"/>
                  <a:gd name="connsiteX15" fmla="*/ 5666676 w 5722429"/>
                  <a:gd name="connsiteY15" fmla="*/ 830192 h 5129417"/>
                  <a:gd name="connsiteX16" fmla="*/ 5666676 w 5722429"/>
                  <a:gd name="connsiteY16" fmla="*/ 965066 h 5129417"/>
                  <a:gd name="connsiteX17" fmla="*/ 5666009 w 5722429"/>
                  <a:gd name="connsiteY17" fmla="*/ 1030693 h 5129417"/>
                  <a:gd name="connsiteX18" fmla="*/ 5663628 w 5722429"/>
                  <a:gd name="connsiteY18" fmla="*/ 1096987 h 5129417"/>
                  <a:gd name="connsiteX19" fmla="*/ 5656770 w 5722429"/>
                  <a:gd name="connsiteY19" fmla="*/ 1228051 h 5129417"/>
                  <a:gd name="connsiteX20" fmla="*/ 5453697 w 5722429"/>
                  <a:gd name="connsiteY20" fmla="*/ 2255609 h 5129417"/>
                  <a:gd name="connsiteX21" fmla="*/ 128641 w 5722429"/>
                  <a:gd name="connsiteY21" fmla="*/ 4897386 h 5129417"/>
                  <a:gd name="connsiteX22" fmla="*/ 825 w 5722429"/>
                  <a:gd name="connsiteY22" fmla="*/ 4852028 h 5129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722429" h="5129417">
                    <a:moveTo>
                      <a:pt x="-128" y="4854409"/>
                    </a:moveTo>
                    <a:cubicBezTo>
                      <a:pt x="251685" y="4950031"/>
                      <a:pt x="512079" y="5021287"/>
                      <a:pt x="777494" y="5067198"/>
                    </a:cubicBezTo>
                    <a:cubicBezTo>
                      <a:pt x="913253" y="5090630"/>
                      <a:pt x="1051242" y="5107584"/>
                      <a:pt x="1191450" y="5118061"/>
                    </a:cubicBezTo>
                    <a:cubicBezTo>
                      <a:pt x="1331563" y="5128348"/>
                      <a:pt x="1473295" y="5131301"/>
                      <a:pt x="1615884" y="5127586"/>
                    </a:cubicBezTo>
                    <a:cubicBezTo>
                      <a:pt x="3379790" y="5081238"/>
                      <a:pt x="4927822" y="3940285"/>
                      <a:pt x="5494178" y="2269134"/>
                    </a:cubicBezTo>
                    <a:cubicBezTo>
                      <a:pt x="5607983" y="1933521"/>
                      <a:pt x="5679154" y="1584934"/>
                      <a:pt x="5706014" y="1231576"/>
                    </a:cubicBezTo>
                    <a:cubicBezTo>
                      <a:pt x="5708682" y="1187379"/>
                      <a:pt x="5712682" y="1143279"/>
                      <a:pt x="5713920" y="1098987"/>
                    </a:cubicBezTo>
                    <a:lnTo>
                      <a:pt x="5716778" y="1032312"/>
                    </a:lnTo>
                    <a:lnTo>
                      <a:pt x="5717921" y="965637"/>
                    </a:lnTo>
                    <a:cubicBezTo>
                      <a:pt x="5718968" y="921918"/>
                      <a:pt x="5718874" y="875721"/>
                      <a:pt x="5719064" y="830192"/>
                    </a:cubicBezTo>
                    <a:lnTo>
                      <a:pt x="5719635" y="693318"/>
                    </a:lnTo>
                    <a:lnTo>
                      <a:pt x="5722302" y="145916"/>
                    </a:lnTo>
                    <a:cubicBezTo>
                      <a:pt x="5722302" y="66001"/>
                      <a:pt x="5704681" y="-293"/>
                      <a:pt x="5692870" y="-293"/>
                    </a:cubicBezTo>
                    <a:cubicBezTo>
                      <a:pt x="5681059" y="-293"/>
                      <a:pt x="5663057" y="66382"/>
                      <a:pt x="5663533" y="145916"/>
                    </a:cubicBezTo>
                    <a:lnTo>
                      <a:pt x="5666105" y="693318"/>
                    </a:lnTo>
                    <a:lnTo>
                      <a:pt x="5666676" y="830192"/>
                    </a:lnTo>
                    <a:cubicBezTo>
                      <a:pt x="5666676" y="875721"/>
                      <a:pt x="5667248" y="922108"/>
                      <a:pt x="5666676" y="965066"/>
                    </a:cubicBezTo>
                    <a:lnTo>
                      <a:pt x="5666009" y="1030693"/>
                    </a:lnTo>
                    <a:lnTo>
                      <a:pt x="5663628" y="1096987"/>
                    </a:lnTo>
                    <a:cubicBezTo>
                      <a:pt x="5662771" y="1140802"/>
                      <a:pt x="5659056" y="1184427"/>
                      <a:pt x="5656770" y="1228051"/>
                    </a:cubicBezTo>
                    <a:cubicBezTo>
                      <a:pt x="5632519" y="1577743"/>
                      <a:pt x="5564292" y="1922986"/>
                      <a:pt x="5453697" y="2255609"/>
                    </a:cubicBezTo>
                    <a:cubicBezTo>
                      <a:pt x="4712729" y="4455588"/>
                      <a:pt x="2328621" y="5638355"/>
                      <a:pt x="128641" y="4897386"/>
                    </a:cubicBezTo>
                    <a:cubicBezTo>
                      <a:pt x="85788" y="4882956"/>
                      <a:pt x="43183" y="4867830"/>
                      <a:pt x="825" y="485202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D766DD56-CF3E-477D-BAAB-B1DA47E4A209}"/>
                  </a:ext>
                </a:extLst>
              </p:cNvPr>
              <p:cNvSpPr/>
              <p:nvPr/>
            </p:nvSpPr>
            <p:spPr>
              <a:xfrm>
                <a:off x="5214852" y="810130"/>
                <a:ext cx="5861970" cy="5231888"/>
              </a:xfrm>
              <a:custGeom>
                <a:avLst/>
                <a:gdLst>
                  <a:gd name="connsiteX0" fmla="*/ -128 w 5861970"/>
                  <a:gd name="connsiteY0" fmla="*/ 4950326 h 5231888"/>
                  <a:gd name="connsiteX1" fmla="*/ 796639 w 5861970"/>
                  <a:gd name="connsiteY1" fmla="*/ 5168258 h 5231888"/>
                  <a:gd name="connsiteX2" fmla="*/ 1220787 w 5861970"/>
                  <a:gd name="connsiteY2" fmla="*/ 5220360 h 5231888"/>
                  <a:gd name="connsiteX3" fmla="*/ 1655317 w 5861970"/>
                  <a:gd name="connsiteY3" fmla="*/ 5229885 h 5231888"/>
                  <a:gd name="connsiteX4" fmla="*/ 5628386 w 5861970"/>
                  <a:gd name="connsiteY4" fmla="*/ 2301424 h 5231888"/>
                  <a:gd name="connsiteX5" fmla="*/ 5845365 w 5861970"/>
                  <a:gd name="connsiteY5" fmla="*/ 1238529 h 5231888"/>
                  <a:gd name="connsiteX6" fmla="*/ 5853462 w 5861970"/>
                  <a:gd name="connsiteY6" fmla="*/ 1102797 h 5231888"/>
                  <a:gd name="connsiteX7" fmla="*/ 5856319 w 5861970"/>
                  <a:gd name="connsiteY7" fmla="*/ 1034789 h 5231888"/>
                  <a:gd name="connsiteX8" fmla="*/ 5857557 w 5861970"/>
                  <a:gd name="connsiteY8" fmla="*/ 966780 h 5231888"/>
                  <a:gd name="connsiteX9" fmla="*/ 5858700 w 5861970"/>
                  <a:gd name="connsiteY9" fmla="*/ 830192 h 5231888"/>
                  <a:gd name="connsiteX10" fmla="*/ 5859272 w 5861970"/>
                  <a:gd name="connsiteY10" fmla="*/ 693318 h 5231888"/>
                  <a:gd name="connsiteX11" fmla="*/ 5861844 w 5861970"/>
                  <a:gd name="connsiteY11" fmla="*/ 145916 h 5231888"/>
                  <a:gd name="connsiteX12" fmla="*/ 5832507 w 5861970"/>
                  <a:gd name="connsiteY12" fmla="*/ -293 h 5231888"/>
                  <a:gd name="connsiteX13" fmla="*/ 5803074 w 5861970"/>
                  <a:gd name="connsiteY13" fmla="*/ 145916 h 5231888"/>
                  <a:gd name="connsiteX14" fmla="*/ 5805741 w 5861970"/>
                  <a:gd name="connsiteY14" fmla="*/ 693318 h 5231888"/>
                  <a:gd name="connsiteX15" fmla="*/ 5806313 w 5861970"/>
                  <a:gd name="connsiteY15" fmla="*/ 830192 h 5231888"/>
                  <a:gd name="connsiteX16" fmla="*/ 5806313 w 5861970"/>
                  <a:gd name="connsiteY16" fmla="*/ 966209 h 5231888"/>
                  <a:gd name="connsiteX17" fmla="*/ 5805551 w 5861970"/>
                  <a:gd name="connsiteY17" fmla="*/ 1033455 h 5231888"/>
                  <a:gd name="connsiteX18" fmla="*/ 5803265 w 5861970"/>
                  <a:gd name="connsiteY18" fmla="*/ 1100607 h 5231888"/>
                  <a:gd name="connsiteX19" fmla="*/ 5796216 w 5861970"/>
                  <a:gd name="connsiteY19" fmla="*/ 1234909 h 5231888"/>
                  <a:gd name="connsiteX20" fmla="*/ 5587905 w 5861970"/>
                  <a:gd name="connsiteY20" fmla="*/ 2287803 h 5231888"/>
                  <a:gd name="connsiteX21" fmla="*/ 132575 w 5861970"/>
                  <a:gd name="connsiteY21" fmla="*/ 4994646 h 5231888"/>
                  <a:gd name="connsiteX22" fmla="*/ 730 w 5861970"/>
                  <a:gd name="connsiteY22" fmla="*/ 4947850 h 5231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61970" h="5231888">
                    <a:moveTo>
                      <a:pt x="-128" y="4950326"/>
                    </a:moveTo>
                    <a:cubicBezTo>
                      <a:pt x="257876" y="5048281"/>
                      <a:pt x="524690" y="5121262"/>
                      <a:pt x="796639" y="5168258"/>
                    </a:cubicBezTo>
                    <a:cubicBezTo>
                      <a:pt x="935608" y="5192357"/>
                      <a:pt x="1077340" y="5209787"/>
                      <a:pt x="1220787" y="5220360"/>
                    </a:cubicBezTo>
                    <a:cubicBezTo>
                      <a:pt x="1364233" y="5230933"/>
                      <a:pt x="1509395" y="5233886"/>
                      <a:pt x="1655317" y="5229885"/>
                    </a:cubicBezTo>
                    <a:cubicBezTo>
                      <a:pt x="3462353" y="5182346"/>
                      <a:pt x="5048208" y="4013447"/>
                      <a:pt x="5628386" y="2301424"/>
                    </a:cubicBezTo>
                    <a:cubicBezTo>
                      <a:pt x="5744924" y="1957609"/>
                      <a:pt x="5817828" y="1600517"/>
                      <a:pt x="5845365" y="1238529"/>
                    </a:cubicBezTo>
                    <a:cubicBezTo>
                      <a:pt x="5848032" y="1193285"/>
                      <a:pt x="5852128" y="1148137"/>
                      <a:pt x="5853462" y="1102797"/>
                    </a:cubicBezTo>
                    <a:lnTo>
                      <a:pt x="5856319" y="1034789"/>
                    </a:lnTo>
                    <a:lnTo>
                      <a:pt x="5857557" y="966780"/>
                    </a:lnTo>
                    <a:cubicBezTo>
                      <a:pt x="5858510" y="921537"/>
                      <a:pt x="5858510" y="875817"/>
                      <a:pt x="5858700" y="830192"/>
                    </a:cubicBezTo>
                    <a:lnTo>
                      <a:pt x="5859272" y="693318"/>
                    </a:lnTo>
                    <a:lnTo>
                      <a:pt x="5861844" y="145916"/>
                    </a:lnTo>
                    <a:cubicBezTo>
                      <a:pt x="5861844" y="66001"/>
                      <a:pt x="5844317" y="-293"/>
                      <a:pt x="5832507" y="-293"/>
                    </a:cubicBezTo>
                    <a:cubicBezTo>
                      <a:pt x="5820696" y="-293"/>
                      <a:pt x="5802693" y="66382"/>
                      <a:pt x="5803074" y="145916"/>
                    </a:cubicBezTo>
                    <a:lnTo>
                      <a:pt x="5805741" y="693318"/>
                    </a:lnTo>
                    <a:lnTo>
                      <a:pt x="5806313" y="830192"/>
                    </a:lnTo>
                    <a:cubicBezTo>
                      <a:pt x="5806313" y="875817"/>
                      <a:pt x="5806313" y="921727"/>
                      <a:pt x="5806313" y="966209"/>
                    </a:cubicBezTo>
                    <a:lnTo>
                      <a:pt x="5805551" y="1033455"/>
                    </a:lnTo>
                    <a:lnTo>
                      <a:pt x="5803265" y="1100607"/>
                    </a:lnTo>
                    <a:cubicBezTo>
                      <a:pt x="5802312" y="1145470"/>
                      <a:pt x="5798598" y="1190142"/>
                      <a:pt x="5796216" y="1234909"/>
                    </a:cubicBezTo>
                    <a:cubicBezTo>
                      <a:pt x="5771318" y="1593240"/>
                      <a:pt x="5701328" y="1946989"/>
                      <a:pt x="5587905" y="2287803"/>
                    </a:cubicBezTo>
                    <a:cubicBezTo>
                      <a:pt x="4828933" y="4541723"/>
                      <a:pt x="2386495" y="5753617"/>
                      <a:pt x="132575" y="4994646"/>
                    </a:cubicBezTo>
                    <a:cubicBezTo>
                      <a:pt x="88379" y="4979759"/>
                      <a:pt x="44421" y="4964157"/>
                      <a:pt x="730" y="49478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3DE0E539-4180-4BC1-A41B-F0F96FE5E236}"/>
                  </a:ext>
                </a:extLst>
              </p:cNvPr>
              <p:cNvSpPr/>
              <p:nvPr/>
            </p:nvSpPr>
            <p:spPr>
              <a:xfrm>
                <a:off x="5178371" y="810321"/>
                <a:ext cx="6001702" cy="5334997"/>
              </a:xfrm>
              <a:custGeom>
                <a:avLst/>
                <a:gdLst>
                  <a:gd name="connsiteX0" fmla="*/ -128 w 6001702"/>
                  <a:gd name="connsiteY0" fmla="*/ 5046624 h 5334997"/>
                  <a:gd name="connsiteX1" fmla="*/ 815784 w 6001702"/>
                  <a:gd name="connsiteY1" fmla="*/ 5269794 h 5334997"/>
                  <a:gd name="connsiteX2" fmla="*/ 1250124 w 6001702"/>
                  <a:gd name="connsiteY2" fmla="*/ 5323135 h 5334997"/>
                  <a:gd name="connsiteX3" fmla="*/ 1694846 w 6001702"/>
                  <a:gd name="connsiteY3" fmla="*/ 5333136 h 5334997"/>
                  <a:gd name="connsiteX4" fmla="*/ 5762688 w 6001702"/>
                  <a:gd name="connsiteY4" fmla="*/ 2334380 h 5334997"/>
                  <a:gd name="connsiteX5" fmla="*/ 5984716 w 6001702"/>
                  <a:gd name="connsiteY5" fmla="*/ 1246053 h 5334997"/>
                  <a:gd name="connsiteX6" fmla="*/ 5993003 w 6001702"/>
                  <a:gd name="connsiteY6" fmla="*/ 1107083 h 5334997"/>
                  <a:gd name="connsiteX7" fmla="*/ 5995956 w 6001702"/>
                  <a:gd name="connsiteY7" fmla="*/ 1037551 h 5334997"/>
                  <a:gd name="connsiteX8" fmla="*/ 5997193 w 6001702"/>
                  <a:gd name="connsiteY8" fmla="*/ 967923 h 5334997"/>
                  <a:gd name="connsiteX9" fmla="*/ 5998337 w 6001702"/>
                  <a:gd name="connsiteY9" fmla="*/ 830192 h 5334997"/>
                  <a:gd name="connsiteX10" fmla="*/ 5998908 w 6001702"/>
                  <a:gd name="connsiteY10" fmla="*/ 693317 h 5334997"/>
                  <a:gd name="connsiteX11" fmla="*/ 6001575 w 6001702"/>
                  <a:gd name="connsiteY11" fmla="*/ 145916 h 5334997"/>
                  <a:gd name="connsiteX12" fmla="*/ 5972143 w 6001702"/>
                  <a:gd name="connsiteY12" fmla="*/ -293 h 5334997"/>
                  <a:gd name="connsiteX13" fmla="*/ 5942806 w 6001702"/>
                  <a:gd name="connsiteY13" fmla="*/ 145916 h 5334997"/>
                  <a:gd name="connsiteX14" fmla="*/ 5945378 w 6001702"/>
                  <a:gd name="connsiteY14" fmla="*/ 693317 h 5334997"/>
                  <a:gd name="connsiteX15" fmla="*/ 5945949 w 6001702"/>
                  <a:gd name="connsiteY15" fmla="*/ 830192 h 5334997"/>
                  <a:gd name="connsiteX16" fmla="*/ 5945949 w 6001702"/>
                  <a:gd name="connsiteY16" fmla="*/ 967352 h 5334997"/>
                  <a:gd name="connsiteX17" fmla="*/ 5945187 w 6001702"/>
                  <a:gd name="connsiteY17" fmla="*/ 1036122 h 5334997"/>
                  <a:gd name="connsiteX18" fmla="*/ 5942806 w 6001702"/>
                  <a:gd name="connsiteY18" fmla="*/ 1104988 h 5334997"/>
                  <a:gd name="connsiteX19" fmla="*/ 5935567 w 6001702"/>
                  <a:gd name="connsiteY19" fmla="*/ 1242434 h 5334997"/>
                  <a:gd name="connsiteX20" fmla="*/ 5722207 w 6001702"/>
                  <a:gd name="connsiteY20" fmla="*/ 2320759 h 5334997"/>
                  <a:gd name="connsiteX21" fmla="*/ 135223 w 6001702"/>
                  <a:gd name="connsiteY21" fmla="*/ 5092610 h 5334997"/>
                  <a:gd name="connsiteX22" fmla="*/ 825 w 6001702"/>
                  <a:gd name="connsiteY22" fmla="*/ 5044909 h 5334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01702" h="5334997">
                    <a:moveTo>
                      <a:pt x="-128" y="5046624"/>
                    </a:moveTo>
                    <a:cubicBezTo>
                      <a:pt x="264058" y="5147008"/>
                      <a:pt x="537283" y="5221741"/>
                      <a:pt x="815784" y="5269794"/>
                    </a:cubicBezTo>
                    <a:cubicBezTo>
                      <a:pt x="958183" y="5294464"/>
                      <a:pt x="1103249" y="5312371"/>
                      <a:pt x="1250124" y="5323135"/>
                    </a:cubicBezTo>
                    <a:cubicBezTo>
                      <a:pt x="1397000" y="5333897"/>
                      <a:pt x="1545399" y="5336946"/>
                      <a:pt x="1694846" y="5333136"/>
                    </a:cubicBezTo>
                    <a:cubicBezTo>
                      <a:pt x="3545020" y="5284168"/>
                      <a:pt x="5168614" y="4087275"/>
                      <a:pt x="5762688" y="2334380"/>
                    </a:cubicBezTo>
                    <a:cubicBezTo>
                      <a:pt x="5881960" y="1982326"/>
                      <a:pt x="5956551" y="1616690"/>
                      <a:pt x="5984716" y="1246053"/>
                    </a:cubicBezTo>
                    <a:cubicBezTo>
                      <a:pt x="5987574" y="1199762"/>
                      <a:pt x="5991669" y="1153470"/>
                      <a:pt x="5993003" y="1107083"/>
                    </a:cubicBezTo>
                    <a:lnTo>
                      <a:pt x="5995956" y="1037551"/>
                    </a:lnTo>
                    <a:lnTo>
                      <a:pt x="5997193" y="967923"/>
                    </a:lnTo>
                    <a:cubicBezTo>
                      <a:pt x="5998242" y="921156"/>
                      <a:pt x="5998146" y="875816"/>
                      <a:pt x="5998337" y="830192"/>
                    </a:cubicBezTo>
                    <a:lnTo>
                      <a:pt x="5998908" y="693317"/>
                    </a:lnTo>
                    <a:lnTo>
                      <a:pt x="6001575" y="145916"/>
                    </a:lnTo>
                    <a:cubicBezTo>
                      <a:pt x="6001575" y="66001"/>
                      <a:pt x="5983954" y="-293"/>
                      <a:pt x="5972143" y="-293"/>
                    </a:cubicBezTo>
                    <a:cubicBezTo>
                      <a:pt x="5960332" y="-293"/>
                      <a:pt x="5942330" y="66382"/>
                      <a:pt x="5942806" y="145916"/>
                    </a:cubicBezTo>
                    <a:lnTo>
                      <a:pt x="5945378" y="693317"/>
                    </a:lnTo>
                    <a:lnTo>
                      <a:pt x="5945949" y="830192"/>
                    </a:lnTo>
                    <a:cubicBezTo>
                      <a:pt x="5945949" y="875816"/>
                      <a:pt x="5946521" y="921346"/>
                      <a:pt x="5945949" y="967352"/>
                    </a:cubicBezTo>
                    <a:lnTo>
                      <a:pt x="5945187" y="1036122"/>
                    </a:lnTo>
                    <a:lnTo>
                      <a:pt x="5942806" y="1104988"/>
                    </a:lnTo>
                    <a:cubicBezTo>
                      <a:pt x="5941853" y="1150899"/>
                      <a:pt x="5938044" y="1196618"/>
                      <a:pt x="5935567" y="1242434"/>
                    </a:cubicBezTo>
                    <a:cubicBezTo>
                      <a:pt x="5910164" y="1609432"/>
                      <a:pt x="5838479" y="1971744"/>
                      <a:pt x="5722207" y="2320759"/>
                    </a:cubicBezTo>
                    <a:cubicBezTo>
                      <a:pt x="4944824" y="4628991"/>
                      <a:pt x="2443454" y="5869984"/>
                      <a:pt x="135223" y="5092610"/>
                    </a:cubicBezTo>
                    <a:cubicBezTo>
                      <a:pt x="90169" y="5077428"/>
                      <a:pt x="45364" y="5061530"/>
                      <a:pt x="825" y="504490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8C1B129C-DEDB-4EA4-AF30-B7A17D45211A}"/>
                  </a:ext>
                </a:extLst>
              </p:cNvPr>
              <p:cNvSpPr/>
              <p:nvPr/>
            </p:nvSpPr>
            <p:spPr>
              <a:xfrm>
                <a:off x="5141891" y="810130"/>
                <a:ext cx="6141624" cy="5438683"/>
              </a:xfrm>
              <a:custGeom>
                <a:avLst/>
                <a:gdLst>
                  <a:gd name="connsiteX0" fmla="*/ -128 w 6141624"/>
                  <a:gd name="connsiteY0" fmla="*/ 5143398 h 5438683"/>
                  <a:gd name="connsiteX1" fmla="*/ 835024 w 6141624"/>
                  <a:gd name="connsiteY1" fmla="*/ 5371998 h 5438683"/>
                  <a:gd name="connsiteX2" fmla="*/ 1279461 w 6141624"/>
                  <a:gd name="connsiteY2" fmla="*/ 5426576 h 5438683"/>
                  <a:gd name="connsiteX3" fmla="*/ 1734375 w 6141624"/>
                  <a:gd name="connsiteY3" fmla="*/ 5436768 h 5438683"/>
                  <a:gd name="connsiteX4" fmla="*/ 5896800 w 6141624"/>
                  <a:gd name="connsiteY4" fmla="*/ 2367622 h 5438683"/>
                  <a:gd name="connsiteX5" fmla="*/ 6045486 w 6141624"/>
                  <a:gd name="connsiteY5" fmla="*/ 1817839 h 5438683"/>
                  <a:gd name="connsiteX6" fmla="*/ 6124448 w 6141624"/>
                  <a:gd name="connsiteY6" fmla="*/ 1253578 h 5438683"/>
                  <a:gd name="connsiteX7" fmla="*/ 6132925 w 6141624"/>
                  <a:gd name="connsiteY7" fmla="*/ 1111370 h 5438683"/>
                  <a:gd name="connsiteX8" fmla="*/ 6135878 w 6141624"/>
                  <a:gd name="connsiteY8" fmla="*/ 1040218 h 5438683"/>
                  <a:gd name="connsiteX9" fmla="*/ 6137116 w 6141624"/>
                  <a:gd name="connsiteY9" fmla="*/ 969067 h 5438683"/>
                  <a:gd name="connsiteX10" fmla="*/ 6138354 w 6141624"/>
                  <a:gd name="connsiteY10" fmla="*/ 830192 h 5438683"/>
                  <a:gd name="connsiteX11" fmla="*/ 6138926 w 6141624"/>
                  <a:gd name="connsiteY11" fmla="*/ 693318 h 5438683"/>
                  <a:gd name="connsiteX12" fmla="*/ 6141497 w 6141624"/>
                  <a:gd name="connsiteY12" fmla="*/ 145916 h 5438683"/>
                  <a:gd name="connsiteX13" fmla="*/ 6112161 w 6141624"/>
                  <a:gd name="connsiteY13" fmla="*/ -293 h 5438683"/>
                  <a:gd name="connsiteX14" fmla="*/ 6082728 w 6141624"/>
                  <a:gd name="connsiteY14" fmla="*/ 145916 h 5438683"/>
                  <a:gd name="connsiteX15" fmla="*/ 6085395 w 6141624"/>
                  <a:gd name="connsiteY15" fmla="*/ 693318 h 5438683"/>
                  <a:gd name="connsiteX16" fmla="*/ 6085395 w 6141624"/>
                  <a:gd name="connsiteY16" fmla="*/ 830192 h 5438683"/>
                  <a:gd name="connsiteX17" fmla="*/ 6085395 w 6141624"/>
                  <a:gd name="connsiteY17" fmla="*/ 968495 h 5438683"/>
                  <a:gd name="connsiteX18" fmla="*/ 6084633 w 6141624"/>
                  <a:gd name="connsiteY18" fmla="*/ 1038885 h 5438683"/>
                  <a:gd name="connsiteX19" fmla="*/ 6082252 w 6141624"/>
                  <a:gd name="connsiteY19" fmla="*/ 1109274 h 5438683"/>
                  <a:gd name="connsiteX20" fmla="*/ 6074822 w 6141624"/>
                  <a:gd name="connsiteY20" fmla="*/ 1249959 h 5438683"/>
                  <a:gd name="connsiteX21" fmla="*/ 5856414 w 6141624"/>
                  <a:gd name="connsiteY21" fmla="*/ 2353621 h 5438683"/>
                  <a:gd name="connsiteX22" fmla="*/ 138385 w 6141624"/>
                  <a:gd name="connsiteY22" fmla="*/ 5189889 h 5438683"/>
                  <a:gd name="connsiteX23" fmla="*/ 730 w 6141624"/>
                  <a:gd name="connsiteY23" fmla="*/ 5141017 h 5438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6141624" h="5438683">
                    <a:moveTo>
                      <a:pt x="-128" y="5143398"/>
                    </a:moveTo>
                    <a:cubicBezTo>
                      <a:pt x="270297" y="5246144"/>
                      <a:pt x="549970" y="5322696"/>
                      <a:pt x="835024" y="5371998"/>
                    </a:cubicBezTo>
                    <a:cubicBezTo>
                      <a:pt x="980757" y="5397239"/>
                      <a:pt x="1129252" y="5415527"/>
                      <a:pt x="1279461" y="5426576"/>
                    </a:cubicBezTo>
                    <a:cubicBezTo>
                      <a:pt x="1429670" y="5437625"/>
                      <a:pt x="1581594" y="5440673"/>
                      <a:pt x="1734375" y="5436768"/>
                    </a:cubicBezTo>
                    <a:cubicBezTo>
                      <a:pt x="3627735" y="5386543"/>
                      <a:pt x="5289134" y="4161523"/>
                      <a:pt x="5896800" y="2367622"/>
                    </a:cubicBezTo>
                    <a:cubicBezTo>
                      <a:pt x="5957703" y="2187619"/>
                      <a:pt x="6007357" y="2004005"/>
                      <a:pt x="6045486" y="1817839"/>
                    </a:cubicBezTo>
                    <a:cubicBezTo>
                      <a:pt x="6083357" y="1631549"/>
                      <a:pt x="6109732" y="1443107"/>
                      <a:pt x="6124448" y="1253578"/>
                    </a:cubicBezTo>
                    <a:cubicBezTo>
                      <a:pt x="6127305" y="1205953"/>
                      <a:pt x="6131496" y="1158900"/>
                      <a:pt x="6132925" y="1111370"/>
                    </a:cubicBezTo>
                    <a:lnTo>
                      <a:pt x="6135878" y="1040218"/>
                    </a:lnTo>
                    <a:lnTo>
                      <a:pt x="6137116" y="969067"/>
                    </a:lnTo>
                    <a:cubicBezTo>
                      <a:pt x="6138164" y="920775"/>
                      <a:pt x="6138068" y="875912"/>
                      <a:pt x="6138354" y="830192"/>
                    </a:cubicBezTo>
                    <a:lnTo>
                      <a:pt x="6138926" y="693318"/>
                    </a:lnTo>
                    <a:lnTo>
                      <a:pt x="6141497" y="145916"/>
                    </a:lnTo>
                    <a:cubicBezTo>
                      <a:pt x="6141497" y="66001"/>
                      <a:pt x="6123876" y="-293"/>
                      <a:pt x="6112161" y="-293"/>
                    </a:cubicBezTo>
                    <a:cubicBezTo>
                      <a:pt x="6100445" y="-293"/>
                      <a:pt x="6082347" y="66382"/>
                      <a:pt x="6082728" y="145916"/>
                    </a:cubicBezTo>
                    <a:lnTo>
                      <a:pt x="6085395" y="693318"/>
                    </a:lnTo>
                    <a:lnTo>
                      <a:pt x="6085395" y="830192"/>
                    </a:lnTo>
                    <a:cubicBezTo>
                      <a:pt x="6085395" y="875817"/>
                      <a:pt x="6085967" y="920965"/>
                      <a:pt x="6085395" y="968495"/>
                    </a:cubicBezTo>
                    <a:lnTo>
                      <a:pt x="6084633" y="1038885"/>
                    </a:lnTo>
                    <a:lnTo>
                      <a:pt x="6082252" y="1109274"/>
                    </a:lnTo>
                    <a:cubicBezTo>
                      <a:pt x="6081204" y="1156233"/>
                      <a:pt x="6077299" y="1203096"/>
                      <a:pt x="6074822" y="1249959"/>
                    </a:cubicBezTo>
                    <a:cubicBezTo>
                      <a:pt x="6048743" y="1625568"/>
                      <a:pt x="5975363" y="1996385"/>
                      <a:pt x="5856414" y="2353621"/>
                    </a:cubicBezTo>
                    <a:cubicBezTo>
                      <a:pt x="5060639" y="4715821"/>
                      <a:pt x="2500585" y="5985665"/>
                      <a:pt x="138385" y="5189889"/>
                    </a:cubicBezTo>
                    <a:cubicBezTo>
                      <a:pt x="92236" y="5174335"/>
                      <a:pt x="46345" y="5158047"/>
                      <a:pt x="730" y="514101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05CFA3F1-78AC-4B02-B745-94A60CFA533B}"/>
                  </a:ext>
                </a:extLst>
              </p:cNvPr>
              <p:cNvSpPr/>
              <p:nvPr/>
            </p:nvSpPr>
            <p:spPr>
              <a:xfrm>
                <a:off x="5105410" y="810226"/>
                <a:ext cx="6281261" cy="5541287"/>
              </a:xfrm>
              <a:custGeom>
                <a:avLst/>
                <a:gdLst>
                  <a:gd name="connsiteX0" fmla="*/ -128 w 6281261"/>
                  <a:gd name="connsiteY0" fmla="*/ 5239600 h 5541287"/>
                  <a:gd name="connsiteX1" fmla="*/ 854265 w 6281261"/>
                  <a:gd name="connsiteY1" fmla="*/ 5473249 h 5541287"/>
                  <a:gd name="connsiteX2" fmla="*/ 1308798 w 6281261"/>
                  <a:gd name="connsiteY2" fmla="*/ 5528875 h 5541287"/>
                  <a:gd name="connsiteX3" fmla="*/ 1773999 w 6281261"/>
                  <a:gd name="connsiteY3" fmla="*/ 5539352 h 5541287"/>
                  <a:gd name="connsiteX4" fmla="*/ 6031674 w 6281261"/>
                  <a:gd name="connsiteY4" fmla="*/ 2399912 h 5541287"/>
                  <a:gd name="connsiteX5" fmla="*/ 6184074 w 6281261"/>
                  <a:gd name="connsiteY5" fmla="*/ 1837937 h 5541287"/>
                  <a:gd name="connsiteX6" fmla="*/ 6264465 w 6281261"/>
                  <a:gd name="connsiteY6" fmla="*/ 1261103 h 5541287"/>
                  <a:gd name="connsiteX7" fmla="*/ 6273038 w 6281261"/>
                  <a:gd name="connsiteY7" fmla="*/ 1115751 h 5541287"/>
                  <a:gd name="connsiteX8" fmla="*/ 6276086 w 6281261"/>
                  <a:gd name="connsiteY8" fmla="*/ 1042980 h 5541287"/>
                  <a:gd name="connsiteX9" fmla="*/ 6277419 w 6281261"/>
                  <a:gd name="connsiteY9" fmla="*/ 970209 h 5541287"/>
                  <a:gd name="connsiteX10" fmla="*/ 6277991 w 6281261"/>
                  <a:gd name="connsiteY10" fmla="*/ 933824 h 5541287"/>
                  <a:gd name="connsiteX11" fmla="*/ 6277991 w 6281261"/>
                  <a:gd name="connsiteY11" fmla="*/ 915726 h 5541287"/>
                  <a:gd name="connsiteX12" fmla="*/ 6277991 w 6281261"/>
                  <a:gd name="connsiteY12" fmla="*/ 898581 h 5541287"/>
                  <a:gd name="connsiteX13" fmla="*/ 6277991 w 6281261"/>
                  <a:gd name="connsiteY13" fmla="*/ 830192 h 5541287"/>
                  <a:gd name="connsiteX14" fmla="*/ 6278562 w 6281261"/>
                  <a:gd name="connsiteY14" fmla="*/ 693318 h 5541287"/>
                  <a:gd name="connsiteX15" fmla="*/ 6281134 w 6281261"/>
                  <a:gd name="connsiteY15" fmla="*/ 145916 h 5541287"/>
                  <a:gd name="connsiteX16" fmla="*/ 6251797 w 6281261"/>
                  <a:gd name="connsiteY16" fmla="*/ -293 h 5541287"/>
                  <a:gd name="connsiteX17" fmla="*/ 6222460 w 6281261"/>
                  <a:gd name="connsiteY17" fmla="*/ 145916 h 5541287"/>
                  <a:gd name="connsiteX18" fmla="*/ 6225032 w 6281261"/>
                  <a:gd name="connsiteY18" fmla="*/ 693318 h 5541287"/>
                  <a:gd name="connsiteX19" fmla="*/ 6225603 w 6281261"/>
                  <a:gd name="connsiteY19" fmla="*/ 830192 h 5541287"/>
                  <a:gd name="connsiteX20" fmla="*/ 6225603 w 6281261"/>
                  <a:gd name="connsiteY20" fmla="*/ 898581 h 5541287"/>
                  <a:gd name="connsiteX21" fmla="*/ 6225603 w 6281261"/>
                  <a:gd name="connsiteY21" fmla="*/ 933633 h 5541287"/>
                  <a:gd name="connsiteX22" fmla="*/ 6225603 w 6281261"/>
                  <a:gd name="connsiteY22" fmla="*/ 969638 h 5541287"/>
                  <a:gd name="connsiteX23" fmla="*/ 6224746 w 6281261"/>
                  <a:gd name="connsiteY23" fmla="*/ 1041647 h 5541287"/>
                  <a:gd name="connsiteX24" fmla="*/ 6222270 w 6281261"/>
                  <a:gd name="connsiteY24" fmla="*/ 1113656 h 5541287"/>
                  <a:gd name="connsiteX25" fmla="*/ 6214650 w 6281261"/>
                  <a:gd name="connsiteY25" fmla="*/ 1257483 h 5541287"/>
                  <a:gd name="connsiteX26" fmla="*/ 5991098 w 6281261"/>
                  <a:gd name="connsiteY26" fmla="*/ 2386577 h 5541287"/>
                  <a:gd name="connsiteX27" fmla="*/ 143119 w 6281261"/>
                  <a:gd name="connsiteY27" fmla="*/ 5287940 h 5541287"/>
                  <a:gd name="connsiteX28" fmla="*/ 825 w 6281261"/>
                  <a:gd name="connsiteY28" fmla="*/ 5237410 h 5541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6281261" h="5541287">
                    <a:moveTo>
                      <a:pt x="-128" y="5239600"/>
                    </a:moveTo>
                    <a:cubicBezTo>
                      <a:pt x="276545" y="5344632"/>
                      <a:pt x="562648" y="5422871"/>
                      <a:pt x="854265" y="5473249"/>
                    </a:cubicBezTo>
                    <a:cubicBezTo>
                      <a:pt x="1003331" y="5498966"/>
                      <a:pt x="1155160" y="5517635"/>
                      <a:pt x="1308798" y="5528875"/>
                    </a:cubicBezTo>
                    <a:cubicBezTo>
                      <a:pt x="1462436" y="5540114"/>
                      <a:pt x="1617789" y="5543353"/>
                      <a:pt x="1773999" y="5539352"/>
                    </a:cubicBezTo>
                    <a:cubicBezTo>
                      <a:pt x="3710717" y="5488003"/>
                      <a:pt x="5410149" y="4234913"/>
                      <a:pt x="6031674" y="2399912"/>
                    </a:cubicBezTo>
                    <a:cubicBezTo>
                      <a:pt x="6094034" y="2215917"/>
                      <a:pt x="6144936" y="2028227"/>
                      <a:pt x="6184074" y="1837937"/>
                    </a:cubicBezTo>
                    <a:cubicBezTo>
                      <a:pt x="6222650" y="1647485"/>
                      <a:pt x="6249492" y="1454841"/>
                      <a:pt x="6264465" y="1261103"/>
                    </a:cubicBezTo>
                    <a:cubicBezTo>
                      <a:pt x="6267418" y="1212621"/>
                      <a:pt x="6271609" y="1164234"/>
                      <a:pt x="6273038" y="1115751"/>
                    </a:cubicBezTo>
                    <a:lnTo>
                      <a:pt x="6276086" y="1042980"/>
                    </a:lnTo>
                    <a:lnTo>
                      <a:pt x="6277419" y="970209"/>
                    </a:lnTo>
                    <a:lnTo>
                      <a:pt x="6277991" y="933824"/>
                    </a:lnTo>
                    <a:lnTo>
                      <a:pt x="6277991" y="915726"/>
                    </a:lnTo>
                    <a:lnTo>
                      <a:pt x="6277991" y="898581"/>
                    </a:lnTo>
                    <a:lnTo>
                      <a:pt x="6277991" y="830192"/>
                    </a:lnTo>
                    <a:lnTo>
                      <a:pt x="6278562" y="693318"/>
                    </a:lnTo>
                    <a:lnTo>
                      <a:pt x="6281134" y="145916"/>
                    </a:lnTo>
                    <a:cubicBezTo>
                      <a:pt x="6281134" y="66001"/>
                      <a:pt x="6263608" y="-293"/>
                      <a:pt x="6251797" y="-293"/>
                    </a:cubicBezTo>
                    <a:cubicBezTo>
                      <a:pt x="6239986" y="-293"/>
                      <a:pt x="6221983" y="66382"/>
                      <a:pt x="6222460" y="145916"/>
                    </a:cubicBezTo>
                    <a:lnTo>
                      <a:pt x="6225032" y="693318"/>
                    </a:lnTo>
                    <a:lnTo>
                      <a:pt x="6225603" y="830192"/>
                    </a:lnTo>
                    <a:lnTo>
                      <a:pt x="6225603" y="898581"/>
                    </a:lnTo>
                    <a:lnTo>
                      <a:pt x="6225603" y="933633"/>
                    </a:lnTo>
                    <a:lnTo>
                      <a:pt x="6225603" y="969638"/>
                    </a:lnTo>
                    <a:lnTo>
                      <a:pt x="6224746" y="1041647"/>
                    </a:lnTo>
                    <a:lnTo>
                      <a:pt x="6222270" y="1113656"/>
                    </a:lnTo>
                    <a:cubicBezTo>
                      <a:pt x="6221222" y="1161281"/>
                      <a:pt x="6217316" y="1209573"/>
                      <a:pt x="6214650" y="1257483"/>
                    </a:cubicBezTo>
                    <a:cubicBezTo>
                      <a:pt x="6187941" y="1641751"/>
                      <a:pt x="6112827" y="2021122"/>
                      <a:pt x="5991098" y="2386577"/>
                    </a:cubicBezTo>
                    <a:cubicBezTo>
                      <a:pt x="5177415" y="4802641"/>
                      <a:pt x="2559183" y="6101622"/>
                      <a:pt x="143119" y="5287940"/>
                    </a:cubicBezTo>
                    <a:cubicBezTo>
                      <a:pt x="95418" y="5271871"/>
                      <a:pt x="47974" y="5255031"/>
                      <a:pt x="825" y="52374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F389B547-7190-402F-9019-34EAE84BE3D3}"/>
                  </a:ext>
                </a:extLst>
              </p:cNvPr>
              <p:cNvSpPr/>
              <p:nvPr/>
            </p:nvSpPr>
            <p:spPr>
              <a:xfrm>
                <a:off x="5068929" y="810321"/>
                <a:ext cx="6419278" cy="5644861"/>
              </a:xfrm>
              <a:custGeom>
                <a:avLst/>
                <a:gdLst>
                  <a:gd name="connsiteX0" fmla="*/ -128 w 6419278"/>
                  <a:gd name="connsiteY0" fmla="*/ 5336279 h 5644861"/>
                  <a:gd name="connsiteX1" fmla="*/ 873506 w 6419278"/>
                  <a:gd name="connsiteY1" fmla="*/ 5575071 h 5644861"/>
                  <a:gd name="connsiteX2" fmla="*/ 1338135 w 6419278"/>
                  <a:gd name="connsiteY2" fmla="*/ 5632221 h 5644861"/>
                  <a:gd name="connsiteX3" fmla="*/ 1813528 w 6419278"/>
                  <a:gd name="connsiteY3" fmla="*/ 5642889 h 5644861"/>
                  <a:gd name="connsiteX4" fmla="*/ 3700812 w 6419278"/>
                  <a:gd name="connsiteY4" fmla="*/ 5195214 h 5644861"/>
                  <a:gd name="connsiteX5" fmla="*/ 4540059 w 6419278"/>
                  <a:gd name="connsiteY5" fmla="*/ 4686484 h 5644861"/>
                  <a:gd name="connsiteX6" fmla="*/ 5794692 w 6419278"/>
                  <a:gd name="connsiteY6" fmla="*/ 3258305 h 5644861"/>
                  <a:gd name="connsiteX7" fmla="*/ 6165501 w 6419278"/>
                  <a:gd name="connsiteY7" fmla="*/ 2433154 h 5644861"/>
                  <a:gd name="connsiteX8" fmla="*/ 6321234 w 6419278"/>
                  <a:gd name="connsiteY8" fmla="*/ 1858130 h 5644861"/>
                  <a:gd name="connsiteX9" fmla="*/ 6403340 w 6419278"/>
                  <a:gd name="connsiteY9" fmla="*/ 1268532 h 5644861"/>
                  <a:gd name="connsiteX10" fmla="*/ 6412198 w 6419278"/>
                  <a:gd name="connsiteY10" fmla="*/ 1119942 h 5644861"/>
                  <a:gd name="connsiteX11" fmla="*/ 6415246 w 6419278"/>
                  <a:gd name="connsiteY11" fmla="*/ 1045647 h 5644861"/>
                  <a:gd name="connsiteX12" fmla="*/ 6416580 w 6419278"/>
                  <a:gd name="connsiteY12" fmla="*/ 971257 h 5644861"/>
                  <a:gd name="connsiteX13" fmla="*/ 6416484 w 6419278"/>
                  <a:gd name="connsiteY13" fmla="*/ 934205 h 5644861"/>
                  <a:gd name="connsiteX14" fmla="*/ 6416484 w 6419278"/>
                  <a:gd name="connsiteY14" fmla="*/ 898581 h 5644861"/>
                  <a:gd name="connsiteX15" fmla="*/ 6416484 w 6419278"/>
                  <a:gd name="connsiteY15" fmla="*/ 830192 h 5644861"/>
                  <a:gd name="connsiteX16" fmla="*/ 6416484 w 6419278"/>
                  <a:gd name="connsiteY16" fmla="*/ 693317 h 5644861"/>
                  <a:gd name="connsiteX17" fmla="*/ 6419152 w 6419278"/>
                  <a:gd name="connsiteY17" fmla="*/ 145916 h 5644861"/>
                  <a:gd name="connsiteX18" fmla="*/ 6389719 w 6419278"/>
                  <a:gd name="connsiteY18" fmla="*/ -293 h 5644861"/>
                  <a:gd name="connsiteX19" fmla="*/ 6360382 w 6419278"/>
                  <a:gd name="connsiteY19" fmla="*/ 145916 h 5644861"/>
                  <a:gd name="connsiteX20" fmla="*/ 6362954 w 6419278"/>
                  <a:gd name="connsiteY20" fmla="*/ 693317 h 5644861"/>
                  <a:gd name="connsiteX21" fmla="*/ 6363525 w 6419278"/>
                  <a:gd name="connsiteY21" fmla="*/ 830192 h 5644861"/>
                  <a:gd name="connsiteX22" fmla="*/ 6363525 w 6419278"/>
                  <a:gd name="connsiteY22" fmla="*/ 898581 h 5644861"/>
                  <a:gd name="connsiteX23" fmla="*/ 6363525 w 6419278"/>
                  <a:gd name="connsiteY23" fmla="*/ 915155 h 5644861"/>
                  <a:gd name="connsiteX24" fmla="*/ 6363525 w 6419278"/>
                  <a:gd name="connsiteY24" fmla="*/ 933443 h 5644861"/>
                  <a:gd name="connsiteX25" fmla="*/ 6363525 w 6419278"/>
                  <a:gd name="connsiteY25" fmla="*/ 970209 h 5644861"/>
                  <a:gd name="connsiteX26" fmla="*/ 6362668 w 6419278"/>
                  <a:gd name="connsiteY26" fmla="*/ 1043742 h 5644861"/>
                  <a:gd name="connsiteX27" fmla="*/ 6360192 w 6419278"/>
                  <a:gd name="connsiteY27" fmla="*/ 1117371 h 5644861"/>
                  <a:gd name="connsiteX28" fmla="*/ 6352381 w 6419278"/>
                  <a:gd name="connsiteY28" fmla="*/ 1264437 h 5644861"/>
                  <a:gd name="connsiteX29" fmla="*/ 6275800 w 6419278"/>
                  <a:gd name="connsiteY29" fmla="*/ 1848605 h 5644861"/>
                  <a:gd name="connsiteX30" fmla="*/ 6125019 w 6419278"/>
                  <a:gd name="connsiteY30" fmla="*/ 2418962 h 5644861"/>
                  <a:gd name="connsiteX31" fmla="*/ 145605 w 6419278"/>
                  <a:gd name="connsiteY31" fmla="*/ 5385161 h 5644861"/>
                  <a:gd name="connsiteX32" fmla="*/ 444 w 6419278"/>
                  <a:gd name="connsiteY32" fmla="*/ 5333612 h 5644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419278" h="5644861">
                    <a:moveTo>
                      <a:pt x="-128" y="5336279"/>
                    </a:moveTo>
                    <a:cubicBezTo>
                      <a:pt x="282775" y="5443636"/>
                      <a:pt x="575325" y="5523598"/>
                      <a:pt x="873506" y="5575071"/>
                    </a:cubicBezTo>
                    <a:cubicBezTo>
                      <a:pt x="1025906" y="5601360"/>
                      <a:pt x="1180782" y="5620410"/>
                      <a:pt x="1338135" y="5632221"/>
                    </a:cubicBezTo>
                    <a:cubicBezTo>
                      <a:pt x="1495107" y="5643651"/>
                      <a:pt x="1653889" y="5646985"/>
                      <a:pt x="1813528" y="5642889"/>
                    </a:cubicBezTo>
                    <a:cubicBezTo>
                      <a:pt x="2466829" y="5625915"/>
                      <a:pt x="3109490" y="5473477"/>
                      <a:pt x="3700812" y="5195214"/>
                    </a:cubicBezTo>
                    <a:cubicBezTo>
                      <a:pt x="3997553" y="5055396"/>
                      <a:pt x="4278836" y="4884889"/>
                      <a:pt x="4540059" y="4686484"/>
                    </a:cubicBezTo>
                    <a:cubicBezTo>
                      <a:pt x="5050475" y="4300093"/>
                      <a:pt x="5477281" y="3814251"/>
                      <a:pt x="5794692" y="3258305"/>
                    </a:cubicBezTo>
                    <a:cubicBezTo>
                      <a:pt x="5944425" y="2995758"/>
                      <a:pt x="6068603" y="2719438"/>
                      <a:pt x="6165501" y="2433154"/>
                    </a:cubicBezTo>
                    <a:cubicBezTo>
                      <a:pt x="6229270" y="2244892"/>
                      <a:pt x="6281277" y="2052840"/>
                      <a:pt x="6321234" y="1858130"/>
                    </a:cubicBezTo>
                    <a:cubicBezTo>
                      <a:pt x="6360668" y="1663467"/>
                      <a:pt x="6388081" y="1466566"/>
                      <a:pt x="6403340" y="1268532"/>
                    </a:cubicBezTo>
                    <a:cubicBezTo>
                      <a:pt x="6406388" y="1219002"/>
                      <a:pt x="6410674" y="1169567"/>
                      <a:pt x="6412198" y="1119942"/>
                    </a:cubicBezTo>
                    <a:lnTo>
                      <a:pt x="6415246" y="1045647"/>
                    </a:lnTo>
                    <a:lnTo>
                      <a:pt x="6416580" y="971257"/>
                    </a:lnTo>
                    <a:lnTo>
                      <a:pt x="6416484" y="934205"/>
                    </a:lnTo>
                    <a:lnTo>
                      <a:pt x="6416484" y="898581"/>
                    </a:lnTo>
                    <a:lnTo>
                      <a:pt x="6416484" y="830192"/>
                    </a:lnTo>
                    <a:lnTo>
                      <a:pt x="6416484" y="693317"/>
                    </a:lnTo>
                    <a:lnTo>
                      <a:pt x="6419152" y="145916"/>
                    </a:lnTo>
                    <a:cubicBezTo>
                      <a:pt x="6419152" y="66001"/>
                      <a:pt x="6401530" y="-293"/>
                      <a:pt x="6389719" y="-293"/>
                    </a:cubicBezTo>
                    <a:cubicBezTo>
                      <a:pt x="6377908" y="-293"/>
                      <a:pt x="6359906" y="66382"/>
                      <a:pt x="6360382" y="145916"/>
                    </a:cubicBezTo>
                    <a:lnTo>
                      <a:pt x="6362954" y="693317"/>
                    </a:lnTo>
                    <a:lnTo>
                      <a:pt x="6363525" y="830192"/>
                    </a:lnTo>
                    <a:lnTo>
                      <a:pt x="6363525" y="898581"/>
                    </a:lnTo>
                    <a:lnTo>
                      <a:pt x="6363525" y="915155"/>
                    </a:lnTo>
                    <a:lnTo>
                      <a:pt x="6363525" y="933443"/>
                    </a:lnTo>
                    <a:lnTo>
                      <a:pt x="6363525" y="970209"/>
                    </a:lnTo>
                    <a:lnTo>
                      <a:pt x="6362668" y="1043742"/>
                    </a:lnTo>
                    <a:lnTo>
                      <a:pt x="6360192" y="1117371"/>
                    </a:lnTo>
                    <a:cubicBezTo>
                      <a:pt x="6359048" y="1166424"/>
                      <a:pt x="6355048" y="1215383"/>
                      <a:pt x="6352381" y="1264437"/>
                    </a:cubicBezTo>
                    <a:cubicBezTo>
                      <a:pt x="6338903" y="1460547"/>
                      <a:pt x="6313328" y="1655647"/>
                      <a:pt x="6275800" y="1848605"/>
                    </a:cubicBezTo>
                    <a:cubicBezTo>
                      <a:pt x="6237424" y="2041667"/>
                      <a:pt x="6187065" y="2232158"/>
                      <a:pt x="6125019" y="2418962"/>
                    </a:cubicBezTo>
                    <a:cubicBezTo>
                      <a:pt x="5292944" y="4889223"/>
                      <a:pt x="2615866" y="6217237"/>
                      <a:pt x="145605" y="5385161"/>
                    </a:cubicBezTo>
                    <a:cubicBezTo>
                      <a:pt x="96942" y="5368769"/>
                      <a:pt x="48545" y="5351586"/>
                      <a:pt x="444" y="53336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AEF1772A-FD12-4E2A-ACEF-6950F7FF6BE2}"/>
                  </a:ext>
                </a:extLst>
              </p:cNvPr>
              <p:cNvSpPr/>
              <p:nvPr/>
            </p:nvSpPr>
            <p:spPr>
              <a:xfrm>
                <a:off x="5032543" y="809464"/>
                <a:ext cx="6559677" cy="5748641"/>
              </a:xfrm>
              <a:custGeom>
                <a:avLst/>
                <a:gdLst>
                  <a:gd name="connsiteX0" fmla="*/ -128 w 6559677"/>
                  <a:gd name="connsiteY0" fmla="*/ 5433625 h 5748641"/>
                  <a:gd name="connsiteX1" fmla="*/ 892651 w 6559677"/>
                  <a:gd name="connsiteY1" fmla="*/ 5677655 h 5748641"/>
                  <a:gd name="connsiteX2" fmla="*/ 1367377 w 6559677"/>
                  <a:gd name="connsiteY2" fmla="*/ 5735758 h 5748641"/>
                  <a:gd name="connsiteX3" fmla="*/ 1853152 w 6559677"/>
                  <a:gd name="connsiteY3" fmla="*/ 5746616 h 5748641"/>
                  <a:gd name="connsiteX4" fmla="*/ 3781583 w 6559677"/>
                  <a:gd name="connsiteY4" fmla="*/ 5289416 h 5748641"/>
                  <a:gd name="connsiteX5" fmla="*/ 4638833 w 6559677"/>
                  <a:gd name="connsiteY5" fmla="*/ 4769827 h 5748641"/>
                  <a:gd name="connsiteX6" fmla="*/ 5920803 w 6559677"/>
                  <a:gd name="connsiteY6" fmla="*/ 3309931 h 5748641"/>
                  <a:gd name="connsiteX7" fmla="*/ 6299708 w 6559677"/>
                  <a:gd name="connsiteY7" fmla="*/ 2466682 h 5748641"/>
                  <a:gd name="connsiteX8" fmla="*/ 6458394 w 6559677"/>
                  <a:gd name="connsiteY8" fmla="*/ 1879180 h 5748641"/>
                  <a:gd name="connsiteX9" fmla="*/ 6542310 w 6559677"/>
                  <a:gd name="connsiteY9" fmla="*/ 1276819 h 5748641"/>
                  <a:gd name="connsiteX10" fmla="*/ 6551263 w 6559677"/>
                  <a:gd name="connsiteY10" fmla="*/ 1124991 h 5748641"/>
                  <a:gd name="connsiteX11" fmla="*/ 6554406 w 6559677"/>
                  <a:gd name="connsiteY11" fmla="*/ 1048791 h 5748641"/>
                  <a:gd name="connsiteX12" fmla="*/ 6555835 w 6559677"/>
                  <a:gd name="connsiteY12" fmla="*/ 972591 h 5748641"/>
                  <a:gd name="connsiteX13" fmla="*/ 6556406 w 6559677"/>
                  <a:gd name="connsiteY13" fmla="*/ 934491 h 5748641"/>
                  <a:gd name="connsiteX14" fmla="*/ 6556406 w 6559677"/>
                  <a:gd name="connsiteY14" fmla="*/ 898582 h 5748641"/>
                  <a:gd name="connsiteX15" fmla="*/ 6556406 w 6559677"/>
                  <a:gd name="connsiteY15" fmla="*/ 830192 h 5748641"/>
                  <a:gd name="connsiteX16" fmla="*/ 6556978 w 6559677"/>
                  <a:gd name="connsiteY16" fmla="*/ 693318 h 5748641"/>
                  <a:gd name="connsiteX17" fmla="*/ 6559550 w 6559677"/>
                  <a:gd name="connsiteY17" fmla="*/ 145916 h 5748641"/>
                  <a:gd name="connsiteX18" fmla="*/ 6530213 w 6559677"/>
                  <a:gd name="connsiteY18" fmla="*/ -293 h 5748641"/>
                  <a:gd name="connsiteX19" fmla="*/ 6500781 w 6559677"/>
                  <a:gd name="connsiteY19" fmla="*/ 145916 h 5748641"/>
                  <a:gd name="connsiteX20" fmla="*/ 6503447 w 6559677"/>
                  <a:gd name="connsiteY20" fmla="*/ 693318 h 5748641"/>
                  <a:gd name="connsiteX21" fmla="*/ 6504019 w 6559677"/>
                  <a:gd name="connsiteY21" fmla="*/ 830192 h 5748641"/>
                  <a:gd name="connsiteX22" fmla="*/ 6504019 w 6559677"/>
                  <a:gd name="connsiteY22" fmla="*/ 898582 h 5748641"/>
                  <a:gd name="connsiteX23" fmla="*/ 6504019 w 6559677"/>
                  <a:gd name="connsiteY23" fmla="*/ 935062 h 5748641"/>
                  <a:gd name="connsiteX24" fmla="*/ 6504019 w 6559677"/>
                  <a:gd name="connsiteY24" fmla="*/ 972686 h 5748641"/>
                  <a:gd name="connsiteX25" fmla="*/ 6503162 w 6559677"/>
                  <a:gd name="connsiteY25" fmla="*/ 1047838 h 5748641"/>
                  <a:gd name="connsiteX26" fmla="*/ 6500590 w 6559677"/>
                  <a:gd name="connsiteY26" fmla="*/ 1122991 h 5748641"/>
                  <a:gd name="connsiteX27" fmla="*/ 6492589 w 6559677"/>
                  <a:gd name="connsiteY27" fmla="*/ 1273295 h 5748641"/>
                  <a:gd name="connsiteX28" fmla="*/ 6258846 w 6559677"/>
                  <a:gd name="connsiteY28" fmla="*/ 2453157 h 5748641"/>
                  <a:gd name="connsiteX29" fmla="*/ 148653 w 6559677"/>
                  <a:gd name="connsiteY29" fmla="*/ 5483402 h 5748641"/>
                  <a:gd name="connsiteX30" fmla="*/ 730 w 6559677"/>
                  <a:gd name="connsiteY30" fmla="*/ 5430862 h 5748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6559677" h="5748641">
                    <a:moveTo>
                      <a:pt x="-128" y="5433625"/>
                    </a:moveTo>
                    <a:cubicBezTo>
                      <a:pt x="288956" y="5543400"/>
                      <a:pt x="587927" y="5625115"/>
                      <a:pt x="892651" y="5677655"/>
                    </a:cubicBezTo>
                    <a:cubicBezTo>
                      <a:pt x="1048385" y="5704516"/>
                      <a:pt x="1206976" y="5724042"/>
                      <a:pt x="1367377" y="5735758"/>
                    </a:cubicBezTo>
                    <a:cubicBezTo>
                      <a:pt x="1527778" y="5747473"/>
                      <a:pt x="1689893" y="5750808"/>
                      <a:pt x="1853152" y="5746616"/>
                    </a:cubicBezTo>
                    <a:cubicBezTo>
                      <a:pt x="2520683" y="5729405"/>
                      <a:pt x="3177365" y="5573709"/>
                      <a:pt x="3781583" y="5289416"/>
                    </a:cubicBezTo>
                    <a:cubicBezTo>
                      <a:pt x="4084688" y="5146627"/>
                      <a:pt x="4372010" y="4972481"/>
                      <a:pt x="4638833" y="4769827"/>
                    </a:cubicBezTo>
                    <a:cubicBezTo>
                      <a:pt x="5160422" y="4374826"/>
                      <a:pt x="5596524" y="3878192"/>
                      <a:pt x="5920803" y="3309931"/>
                    </a:cubicBezTo>
                    <a:cubicBezTo>
                      <a:pt x="6073823" y="3041630"/>
                      <a:pt x="6200705" y="2759252"/>
                      <a:pt x="6299708" y="2466682"/>
                    </a:cubicBezTo>
                    <a:cubicBezTo>
                      <a:pt x="6364707" y="2274325"/>
                      <a:pt x="6417703" y="2078110"/>
                      <a:pt x="6458394" y="1879180"/>
                    </a:cubicBezTo>
                    <a:cubicBezTo>
                      <a:pt x="6498704" y="1680308"/>
                      <a:pt x="6526736" y="1479140"/>
                      <a:pt x="6542310" y="1276819"/>
                    </a:cubicBezTo>
                    <a:cubicBezTo>
                      <a:pt x="6545358" y="1226242"/>
                      <a:pt x="6549739" y="1175664"/>
                      <a:pt x="6551263" y="1124991"/>
                    </a:cubicBezTo>
                    <a:lnTo>
                      <a:pt x="6554406" y="1048791"/>
                    </a:lnTo>
                    <a:lnTo>
                      <a:pt x="6555835" y="972591"/>
                    </a:lnTo>
                    <a:lnTo>
                      <a:pt x="6556406" y="934491"/>
                    </a:lnTo>
                    <a:lnTo>
                      <a:pt x="6556406" y="898582"/>
                    </a:lnTo>
                    <a:lnTo>
                      <a:pt x="6556406" y="830192"/>
                    </a:lnTo>
                    <a:lnTo>
                      <a:pt x="6556978" y="693318"/>
                    </a:lnTo>
                    <a:lnTo>
                      <a:pt x="6559550" y="145916"/>
                    </a:lnTo>
                    <a:cubicBezTo>
                      <a:pt x="6559550" y="66001"/>
                      <a:pt x="6542024" y="-293"/>
                      <a:pt x="6530213" y="-293"/>
                    </a:cubicBezTo>
                    <a:cubicBezTo>
                      <a:pt x="6518402" y="-293"/>
                      <a:pt x="6500399" y="66382"/>
                      <a:pt x="6500781" y="145916"/>
                    </a:cubicBezTo>
                    <a:lnTo>
                      <a:pt x="6503447" y="693318"/>
                    </a:lnTo>
                    <a:lnTo>
                      <a:pt x="6504019" y="830192"/>
                    </a:lnTo>
                    <a:lnTo>
                      <a:pt x="6504019" y="898582"/>
                    </a:lnTo>
                    <a:lnTo>
                      <a:pt x="6504019" y="935062"/>
                    </a:lnTo>
                    <a:lnTo>
                      <a:pt x="6504019" y="972686"/>
                    </a:lnTo>
                    <a:lnTo>
                      <a:pt x="6503162" y="1047838"/>
                    </a:lnTo>
                    <a:lnTo>
                      <a:pt x="6500590" y="1122991"/>
                    </a:lnTo>
                    <a:cubicBezTo>
                      <a:pt x="6499447" y="1173187"/>
                      <a:pt x="6495351" y="1223194"/>
                      <a:pt x="6492589" y="1273295"/>
                    </a:cubicBezTo>
                    <a:cubicBezTo>
                      <a:pt x="6464691" y="1674860"/>
                      <a:pt x="6386156" y="2071290"/>
                      <a:pt x="6258846" y="2453157"/>
                    </a:cubicBezTo>
                    <a:cubicBezTo>
                      <a:pt x="5408339" y="4977215"/>
                      <a:pt x="2672711" y="6333909"/>
                      <a:pt x="148653" y="5483402"/>
                    </a:cubicBezTo>
                    <a:cubicBezTo>
                      <a:pt x="99066" y="5466696"/>
                      <a:pt x="49745" y="5449179"/>
                      <a:pt x="730" y="543086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3F17240C-A7F1-47EE-AE40-C8B302D3D668}"/>
                  </a:ext>
                </a:extLst>
              </p:cNvPr>
              <p:cNvSpPr/>
              <p:nvPr/>
            </p:nvSpPr>
            <p:spPr>
              <a:xfrm>
                <a:off x="5360966" y="810130"/>
                <a:ext cx="5302662" cy="4820983"/>
              </a:xfrm>
              <a:custGeom>
                <a:avLst/>
                <a:gdLst>
                  <a:gd name="connsiteX0" fmla="*/ -128 w 5302662"/>
                  <a:gd name="connsiteY0" fmla="*/ 4564087 h 4820983"/>
                  <a:gd name="connsiteX1" fmla="*/ 4784756 w 5302662"/>
                  <a:gd name="connsiteY1" fmla="*/ 2850444 h 4820983"/>
                  <a:gd name="connsiteX2" fmla="*/ 5090985 w 5302662"/>
                  <a:gd name="connsiteY2" fmla="*/ 2169788 h 4820983"/>
                  <a:gd name="connsiteX3" fmla="*/ 5219573 w 5302662"/>
                  <a:gd name="connsiteY3" fmla="*/ 1695634 h 4820983"/>
                  <a:gd name="connsiteX4" fmla="*/ 5287771 w 5302662"/>
                  <a:gd name="connsiteY4" fmla="*/ 1208430 h 4820983"/>
                  <a:gd name="connsiteX5" fmla="*/ 5295106 w 5302662"/>
                  <a:gd name="connsiteY5" fmla="*/ 1085462 h 4820983"/>
                  <a:gd name="connsiteX6" fmla="*/ 5297678 w 5302662"/>
                  <a:gd name="connsiteY6" fmla="*/ 1023835 h 4820983"/>
                  <a:gd name="connsiteX7" fmla="*/ 5298821 w 5302662"/>
                  <a:gd name="connsiteY7" fmla="*/ 962209 h 4820983"/>
                  <a:gd name="connsiteX8" fmla="*/ 5299392 w 5302662"/>
                  <a:gd name="connsiteY8" fmla="*/ 931347 h 4820983"/>
                  <a:gd name="connsiteX9" fmla="*/ 5299392 w 5302662"/>
                  <a:gd name="connsiteY9" fmla="*/ 915727 h 4820983"/>
                  <a:gd name="connsiteX10" fmla="*/ 5299392 w 5302662"/>
                  <a:gd name="connsiteY10" fmla="*/ 898581 h 4820983"/>
                  <a:gd name="connsiteX11" fmla="*/ 5299392 w 5302662"/>
                  <a:gd name="connsiteY11" fmla="*/ 830192 h 4820983"/>
                  <a:gd name="connsiteX12" fmla="*/ 5299964 w 5302662"/>
                  <a:gd name="connsiteY12" fmla="*/ 693318 h 4820983"/>
                  <a:gd name="connsiteX13" fmla="*/ 5302536 w 5302662"/>
                  <a:gd name="connsiteY13" fmla="*/ 145916 h 4820983"/>
                  <a:gd name="connsiteX14" fmla="*/ 5273199 w 5302662"/>
                  <a:gd name="connsiteY14" fmla="*/ -293 h 4820983"/>
                  <a:gd name="connsiteX15" fmla="*/ 5243861 w 5302662"/>
                  <a:gd name="connsiteY15" fmla="*/ 145916 h 4820983"/>
                  <a:gd name="connsiteX16" fmla="*/ 5246433 w 5302662"/>
                  <a:gd name="connsiteY16" fmla="*/ 693318 h 4820983"/>
                  <a:gd name="connsiteX17" fmla="*/ 5247005 w 5302662"/>
                  <a:gd name="connsiteY17" fmla="*/ 830192 h 4820983"/>
                  <a:gd name="connsiteX18" fmla="*/ 5247005 w 5302662"/>
                  <a:gd name="connsiteY18" fmla="*/ 898581 h 4820983"/>
                  <a:gd name="connsiteX19" fmla="*/ 5247005 w 5302662"/>
                  <a:gd name="connsiteY19" fmla="*/ 931157 h 4820983"/>
                  <a:gd name="connsiteX20" fmla="*/ 5247005 w 5302662"/>
                  <a:gd name="connsiteY20" fmla="*/ 961637 h 4820983"/>
                  <a:gd name="connsiteX21" fmla="*/ 5246433 w 5302662"/>
                  <a:gd name="connsiteY21" fmla="*/ 1022502 h 4820983"/>
                  <a:gd name="connsiteX22" fmla="*/ 5244337 w 5302662"/>
                  <a:gd name="connsiteY22" fmla="*/ 1083367 h 4820983"/>
                  <a:gd name="connsiteX23" fmla="*/ 5238051 w 5302662"/>
                  <a:gd name="connsiteY23" fmla="*/ 1204905 h 4820983"/>
                  <a:gd name="connsiteX24" fmla="*/ 5050218 w 5302662"/>
                  <a:gd name="connsiteY24" fmla="*/ 2156167 h 4820983"/>
                  <a:gd name="connsiteX25" fmla="*/ 117573 w 5302662"/>
                  <a:gd name="connsiteY25" fmla="*/ 4603245 h 4820983"/>
                  <a:gd name="connsiteX26" fmla="*/ 444 w 5302662"/>
                  <a:gd name="connsiteY26" fmla="*/ 4561706 h 4820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302662" h="4820983">
                    <a:moveTo>
                      <a:pt x="-128" y="4564087"/>
                    </a:moveTo>
                    <a:cubicBezTo>
                      <a:pt x="1799202" y="5249601"/>
                      <a:pt x="3829723" y="4522396"/>
                      <a:pt x="4784756" y="2850444"/>
                    </a:cubicBezTo>
                    <a:cubicBezTo>
                      <a:pt x="4908505" y="2633951"/>
                      <a:pt x="5011061" y="2406008"/>
                      <a:pt x="5090985" y="2169788"/>
                    </a:cubicBezTo>
                    <a:cubicBezTo>
                      <a:pt x="5143592" y="2014540"/>
                      <a:pt x="5186531" y="1856187"/>
                      <a:pt x="5219573" y="1695634"/>
                    </a:cubicBezTo>
                    <a:cubicBezTo>
                      <a:pt x="5252263" y="1534785"/>
                      <a:pt x="5275037" y="1372079"/>
                      <a:pt x="5287771" y="1208430"/>
                    </a:cubicBezTo>
                    <a:cubicBezTo>
                      <a:pt x="5290153" y="1167472"/>
                      <a:pt x="5293963" y="1126515"/>
                      <a:pt x="5295106" y="1085462"/>
                    </a:cubicBezTo>
                    <a:lnTo>
                      <a:pt x="5297678" y="1023835"/>
                    </a:lnTo>
                    <a:lnTo>
                      <a:pt x="5298821" y="962209"/>
                    </a:lnTo>
                    <a:lnTo>
                      <a:pt x="5299392" y="931347"/>
                    </a:lnTo>
                    <a:lnTo>
                      <a:pt x="5299392" y="915727"/>
                    </a:lnTo>
                    <a:lnTo>
                      <a:pt x="5299392" y="898581"/>
                    </a:lnTo>
                    <a:lnTo>
                      <a:pt x="5299392" y="830192"/>
                    </a:lnTo>
                    <a:lnTo>
                      <a:pt x="5299964" y="693318"/>
                    </a:lnTo>
                    <a:lnTo>
                      <a:pt x="5302536" y="145916"/>
                    </a:lnTo>
                    <a:cubicBezTo>
                      <a:pt x="5302536" y="66001"/>
                      <a:pt x="5285009" y="-293"/>
                      <a:pt x="5273199" y="-293"/>
                    </a:cubicBezTo>
                    <a:cubicBezTo>
                      <a:pt x="5261388" y="-293"/>
                      <a:pt x="5243385" y="66382"/>
                      <a:pt x="5243861" y="145916"/>
                    </a:cubicBezTo>
                    <a:lnTo>
                      <a:pt x="5246433" y="693318"/>
                    </a:lnTo>
                    <a:lnTo>
                      <a:pt x="5247005" y="830192"/>
                    </a:lnTo>
                    <a:lnTo>
                      <a:pt x="5247005" y="898581"/>
                    </a:lnTo>
                    <a:lnTo>
                      <a:pt x="5247005" y="931157"/>
                    </a:lnTo>
                    <a:lnTo>
                      <a:pt x="5247005" y="961637"/>
                    </a:lnTo>
                    <a:lnTo>
                      <a:pt x="5246433" y="1022502"/>
                    </a:lnTo>
                    <a:lnTo>
                      <a:pt x="5244337" y="1083367"/>
                    </a:lnTo>
                    <a:cubicBezTo>
                      <a:pt x="5243481" y="1123943"/>
                      <a:pt x="5240052" y="1164329"/>
                      <a:pt x="5238051" y="1204905"/>
                    </a:cubicBezTo>
                    <a:cubicBezTo>
                      <a:pt x="5215725" y="1528632"/>
                      <a:pt x="5152612" y="1848252"/>
                      <a:pt x="5050218" y="2156167"/>
                    </a:cubicBezTo>
                    <a:cubicBezTo>
                      <a:pt x="4363846" y="4194022"/>
                      <a:pt x="2155428" y="5289616"/>
                      <a:pt x="117573" y="4603245"/>
                    </a:cubicBezTo>
                    <a:cubicBezTo>
                      <a:pt x="78311" y="4590024"/>
                      <a:pt x="39258" y="4576175"/>
                      <a:pt x="444" y="456170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C6E4BA76-6EEC-40AA-828F-61F3E02A933C}"/>
                  </a:ext>
                </a:extLst>
              </p:cNvPr>
              <p:cNvSpPr/>
              <p:nvPr/>
            </p:nvSpPr>
            <p:spPr>
              <a:xfrm>
                <a:off x="5324199" y="810130"/>
                <a:ext cx="5441917" cy="4922572"/>
              </a:xfrm>
              <a:custGeom>
                <a:avLst/>
                <a:gdLst>
                  <a:gd name="connsiteX0" fmla="*/ -128 w 5441917"/>
                  <a:gd name="connsiteY0" fmla="*/ 4660671 h 4922572"/>
                  <a:gd name="connsiteX1" fmla="*/ 739013 w 5441917"/>
                  <a:gd name="connsiteY1" fmla="*/ 4863077 h 4922572"/>
                  <a:gd name="connsiteX2" fmla="*/ 1132776 w 5441917"/>
                  <a:gd name="connsiteY2" fmla="*/ 4911464 h 4922572"/>
                  <a:gd name="connsiteX3" fmla="*/ 1536731 w 5441917"/>
                  <a:gd name="connsiteY3" fmla="*/ 4920989 h 4922572"/>
                  <a:gd name="connsiteX4" fmla="*/ 5225574 w 5441917"/>
                  <a:gd name="connsiteY4" fmla="*/ 2202744 h 4922572"/>
                  <a:gd name="connsiteX5" fmla="*/ 5357399 w 5441917"/>
                  <a:gd name="connsiteY5" fmla="*/ 1716017 h 4922572"/>
                  <a:gd name="connsiteX6" fmla="*/ 5427218 w 5441917"/>
                  <a:gd name="connsiteY6" fmla="*/ 1215954 h 4922572"/>
                  <a:gd name="connsiteX7" fmla="*/ 5434838 w 5441917"/>
                  <a:gd name="connsiteY7" fmla="*/ 1089748 h 4922572"/>
                  <a:gd name="connsiteX8" fmla="*/ 5437505 w 5441917"/>
                  <a:gd name="connsiteY8" fmla="*/ 1026597 h 4922572"/>
                  <a:gd name="connsiteX9" fmla="*/ 5438648 w 5441917"/>
                  <a:gd name="connsiteY9" fmla="*/ 963352 h 4922572"/>
                  <a:gd name="connsiteX10" fmla="*/ 5439124 w 5441917"/>
                  <a:gd name="connsiteY10" fmla="*/ 931728 h 4922572"/>
                  <a:gd name="connsiteX11" fmla="*/ 5439124 w 5441917"/>
                  <a:gd name="connsiteY11" fmla="*/ 915727 h 4922572"/>
                  <a:gd name="connsiteX12" fmla="*/ 5439124 w 5441917"/>
                  <a:gd name="connsiteY12" fmla="*/ 898581 h 4922572"/>
                  <a:gd name="connsiteX13" fmla="*/ 5439124 w 5441917"/>
                  <a:gd name="connsiteY13" fmla="*/ 830192 h 4922572"/>
                  <a:gd name="connsiteX14" fmla="*/ 5439124 w 5441917"/>
                  <a:gd name="connsiteY14" fmla="*/ 693318 h 4922572"/>
                  <a:gd name="connsiteX15" fmla="*/ 5441791 w 5441917"/>
                  <a:gd name="connsiteY15" fmla="*/ 145916 h 4922572"/>
                  <a:gd name="connsiteX16" fmla="*/ 5412359 w 5441917"/>
                  <a:gd name="connsiteY16" fmla="*/ -293 h 4922572"/>
                  <a:gd name="connsiteX17" fmla="*/ 5383022 w 5441917"/>
                  <a:gd name="connsiteY17" fmla="*/ 145916 h 4922572"/>
                  <a:gd name="connsiteX18" fmla="*/ 5385594 w 5441917"/>
                  <a:gd name="connsiteY18" fmla="*/ 693318 h 4922572"/>
                  <a:gd name="connsiteX19" fmla="*/ 5386165 w 5441917"/>
                  <a:gd name="connsiteY19" fmla="*/ 830192 h 4922572"/>
                  <a:gd name="connsiteX20" fmla="*/ 5386165 w 5441917"/>
                  <a:gd name="connsiteY20" fmla="*/ 898581 h 4922572"/>
                  <a:gd name="connsiteX21" fmla="*/ 5386165 w 5441917"/>
                  <a:gd name="connsiteY21" fmla="*/ 915345 h 4922572"/>
                  <a:gd name="connsiteX22" fmla="*/ 5386165 w 5441917"/>
                  <a:gd name="connsiteY22" fmla="*/ 931157 h 4922572"/>
                  <a:gd name="connsiteX23" fmla="*/ 5386165 w 5441917"/>
                  <a:gd name="connsiteY23" fmla="*/ 962399 h 4922572"/>
                  <a:gd name="connsiteX24" fmla="*/ 5385498 w 5441917"/>
                  <a:gd name="connsiteY24" fmla="*/ 1024883 h 4922572"/>
                  <a:gd name="connsiteX25" fmla="*/ 5383308 w 5441917"/>
                  <a:gd name="connsiteY25" fmla="*/ 1087272 h 4922572"/>
                  <a:gd name="connsiteX26" fmla="*/ 5376831 w 5441917"/>
                  <a:gd name="connsiteY26" fmla="*/ 1212049 h 4922572"/>
                  <a:gd name="connsiteX27" fmla="*/ 5183949 w 5441917"/>
                  <a:gd name="connsiteY27" fmla="*/ 2188743 h 4922572"/>
                  <a:gd name="connsiteX28" fmla="*/ 119468 w 5441917"/>
                  <a:gd name="connsiteY28" fmla="*/ 4700771 h 4922572"/>
                  <a:gd name="connsiteX29" fmla="*/ 730 w 5441917"/>
                  <a:gd name="connsiteY29" fmla="*/ 4658671 h 4922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5441917" h="4922572">
                    <a:moveTo>
                      <a:pt x="-128" y="4660671"/>
                    </a:moveTo>
                    <a:cubicBezTo>
                      <a:pt x="239217" y="4751616"/>
                      <a:pt x="486724" y="4819396"/>
                      <a:pt x="739013" y="4863077"/>
                    </a:cubicBezTo>
                    <a:cubicBezTo>
                      <a:pt x="868076" y="4885366"/>
                      <a:pt x="999617" y="4901177"/>
                      <a:pt x="1132776" y="4911464"/>
                    </a:cubicBezTo>
                    <a:cubicBezTo>
                      <a:pt x="1265936" y="4921751"/>
                      <a:pt x="1401095" y="4924132"/>
                      <a:pt x="1536731" y="4920989"/>
                    </a:cubicBezTo>
                    <a:cubicBezTo>
                      <a:pt x="3214379" y="4877155"/>
                      <a:pt x="4686830" y="3792134"/>
                      <a:pt x="5225574" y="2202744"/>
                    </a:cubicBezTo>
                    <a:cubicBezTo>
                      <a:pt x="5279533" y="2043382"/>
                      <a:pt x="5323557" y="1880828"/>
                      <a:pt x="5357399" y="1716017"/>
                    </a:cubicBezTo>
                    <a:cubicBezTo>
                      <a:pt x="5390861" y="1550911"/>
                      <a:pt x="5414178" y="1383909"/>
                      <a:pt x="5427218" y="1215954"/>
                    </a:cubicBezTo>
                    <a:cubicBezTo>
                      <a:pt x="5429694" y="1173949"/>
                      <a:pt x="5433599" y="1131944"/>
                      <a:pt x="5434838" y="1089748"/>
                    </a:cubicBezTo>
                    <a:lnTo>
                      <a:pt x="5437505" y="1026597"/>
                    </a:lnTo>
                    <a:lnTo>
                      <a:pt x="5438648" y="963352"/>
                    </a:lnTo>
                    <a:lnTo>
                      <a:pt x="5439124" y="931728"/>
                    </a:lnTo>
                    <a:lnTo>
                      <a:pt x="5439124" y="915727"/>
                    </a:lnTo>
                    <a:lnTo>
                      <a:pt x="5439124" y="898581"/>
                    </a:lnTo>
                    <a:lnTo>
                      <a:pt x="5439124" y="830192"/>
                    </a:lnTo>
                    <a:lnTo>
                      <a:pt x="5439124" y="693318"/>
                    </a:lnTo>
                    <a:lnTo>
                      <a:pt x="5441791" y="145916"/>
                    </a:lnTo>
                    <a:cubicBezTo>
                      <a:pt x="5441791" y="66001"/>
                      <a:pt x="5424170" y="-293"/>
                      <a:pt x="5412359" y="-293"/>
                    </a:cubicBezTo>
                    <a:cubicBezTo>
                      <a:pt x="5400548" y="-293"/>
                      <a:pt x="5382545" y="66382"/>
                      <a:pt x="5383022" y="145916"/>
                    </a:cubicBezTo>
                    <a:lnTo>
                      <a:pt x="5385594" y="693318"/>
                    </a:lnTo>
                    <a:lnTo>
                      <a:pt x="5386165" y="830192"/>
                    </a:lnTo>
                    <a:lnTo>
                      <a:pt x="5386165" y="898581"/>
                    </a:lnTo>
                    <a:lnTo>
                      <a:pt x="5386165" y="915345"/>
                    </a:lnTo>
                    <a:lnTo>
                      <a:pt x="5386165" y="931157"/>
                    </a:lnTo>
                    <a:lnTo>
                      <a:pt x="5386165" y="962399"/>
                    </a:lnTo>
                    <a:lnTo>
                      <a:pt x="5385498" y="1024883"/>
                    </a:lnTo>
                    <a:lnTo>
                      <a:pt x="5383308" y="1087272"/>
                    </a:lnTo>
                    <a:cubicBezTo>
                      <a:pt x="5382545" y="1128991"/>
                      <a:pt x="5379021" y="1170425"/>
                      <a:pt x="5376831" y="1212049"/>
                    </a:cubicBezTo>
                    <a:cubicBezTo>
                      <a:pt x="5353904" y="1544434"/>
                      <a:pt x="5289096" y="1872598"/>
                      <a:pt x="5183949" y="2188743"/>
                    </a:cubicBezTo>
                    <a:cubicBezTo>
                      <a:pt x="4479109" y="4280938"/>
                      <a:pt x="2211663" y="5405612"/>
                      <a:pt x="119468" y="4700771"/>
                    </a:cubicBezTo>
                    <a:cubicBezTo>
                      <a:pt x="79673" y="4687360"/>
                      <a:pt x="40087" y="4673330"/>
                      <a:pt x="730" y="465867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A69E9865-C093-46C2-9140-1223A816A486}"/>
                  </a:ext>
                </a:extLst>
              </p:cNvPr>
              <p:cNvSpPr/>
              <p:nvPr/>
            </p:nvSpPr>
            <p:spPr>
              <a:xfrm>
                <a:off x="5287718" y="810130"/>
                <a:ext cx="5581754" cy="5025616"/>
              </a:xfrm>
              <a:custGeom>
                <a:avLst/>
                <a:gdLst>
                  <a:gd name="connsiteX0" fmla="*/ -128 w 5581754"/>
                  <a:gd name="connsiteY0" fmla="*/ 4757159 h 5025616"/>
                  <a:gd name="connsiteX1" fmla="*/ 758253 w 5581754"/>
                  <a:gd name="connsiteY1" fmla="*/ 4964804 h 5025616"/>
                  <a:gd name="connsiteX2" fmla="*/ 1162113 w 5581754"/>
                  <a:gd name="connsiteY2" fmla="*/ 5014429 h 5025616"/>
                  <a:gd name="connsiteX3" fmla="*/ 1576260 w 5581754"/>
                  <a:gd name="connsiteY3" fmla="*/ 5023954 h 5025616"/>
                  <a:gd name="connsiteX4" fmla="*/ 5359495 w 5581754"/>
                  <a:gd name="connsiteY4" fmla="*/ 2235606 h 5025616"/>
                  <a:gd name="connsiteX5" fmla="*/ 5494655 w 5581754"/>
                  <a:gd name="connsiteY5" fmla="*/ 1736305 h 5025616"/>
                  <a:gd name="connsiteX6" fmla="*/ 5566283 w 5581754"/>
                  <a:gd name="connsiteY6" fmla="*/ 1223479 h 5025616"/>
                  <a:gd name="connsiteX7" fmla="*/ 5573998 w 5581754"/>
                  <a:gd name="connsiteY7" fmla="*/ 1094130 h 5025616"/>
                  <a:gd name="connsiteX8" fmla="*/ 5576760 w 5581754"/>
                  <a:gd name="connsiteY8" fmla="*/ 1029360 h 5025616"/>
                  <a:gd name="connsiteX9" fmla="*/ 5577903 w 5581754"/>
                  <a:gd name="connsiteY9" fmla="*/ 964494 h 5025616"/>
                  <a:gd name="connsiteX10" fmla="*/ 5578475 w 5581754"/>
                  <a:gd name="connsiteY10" fmla="*/ 932014 h 5025616"/>
                  <a:gd name="connsiteX11" fmla="*/ 5578475 w 5581754"/>
                  <a:gd name="connsiteY11" fmla="*/ 915727 h 5025616"/>
                  <a:gd name="connsiteX12" fmla="*/ 5578475 w 5581754"/>
                  <a:gd name="connsiteY12" fmla="*/ 898581 h 5025616"/>
                  <a:gd name="connsiteX13" fmla="*/ 5578475 w 5581754"/>
                  <a:gd name="connsiteY13" fmla="*/ 830192 h 5025616"/>
                  <a:gd name="connsiteX14" fmla="*/ 5579046 w 5581754"/>
                  <a:gd name="connsiteY14" fmla="*/ 693318 h 5025616"/>
                  <a:gd name="connsiteX15" fmla="*/ 5581618 w 5581754"/>
                  <a:gd name="connsiteY15" fmla="*/ 145916 h 5025616"/>
                  <a:gd name="connsiteX16" fmla="*/ 5552281 w 5581754"/>
                  <a:gd name="connsiteY16" fmla="*/ -293 h 5025616"/>
                  <a:gd name="connsiteX17" fmla="*/ 5522849 w 5581754"/>
                  <a:gd name="connsiteY17" fmla="*/ 145916 h 5025616"/>
                  <a:gd name="connsiteX18" fmla="*/ 5525516 w 5581754"/>
                  <a:gd name="connsiteY18" fmla="*/ 693318 h 5025616"/>
                  <a:gd name="connsiteX19" fmla="*/ 5526087 w 5581754"/>
                  <a:gd name="connsiteY19" fmla="*/ 830192 h 5025616"/>
                  <a:gd name="connsiteX20" fmla="*/ 5526087 w 5581754"/>
                  <a:gd name="connsiteY20" fmla="*/ 898581 h 5025616"/>
                  <a:gd name="connsiteX21" fmla="*/ 5526087 w 5581754"/>
                  <a:gd name="connsiteY21" fmla="*/ 931824 h 5025616"/>
                  <a:gd name="connsiteX22" fmla="*/ 5526087 w 5581754"/>
                  <a:gd name="connsiteY22" fmla="*/ 963923 h 5025616"/>
                  <a:gd name="connsiteX23" fmla="*/ 5525420 w 5581754"/>
                  <a:gd name="connsiteY23" fmla="*/ 1027931 h 5025616"/>
                  <a:gd name="connsiteX24" fmla="*/ 5523230 w 5581754"/>
                  <a:gd name="connsiteY24" fmla="*/ 1092034 h 5025616"/>
                  <a:gd name="connsiteX25" fmla="*/ 5516562 w 5581754"/>
                  <a:gd name="connsiteY25" fmla="*/ 1219955 h 5025616"/>
                  <a:gd name="connsiteX26" fmla="*/ 5318538 w 5581754"/>
                  <a:gd name="connsiteY26" fmla="*/ 2221985 h 5025616"/>
                  <a:gd name="connsiteX27" fmla="*/ 123745 w 5581754"/>
                  <a:gd name="connsiteY27" fmla="*/ 4798384 h 5025616"/>
                  <a:gd name="connsiteX28" fmla="*/ 825 w 5581754"/>
                  <a:gd name="connsiteY28" fmla="*/ 4754778 h 5025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581754" h="5025616">
                    <a:moveTo>
                      <a:pt x="-128" y="4757159"/>
                    </a:moveTo>
                    <a:cubicBezTo>
                      <a:pt x="245427" y="4850504"/>
                      <a:pt x="499392" y="4920037"/>
                      <a:pt x="758253" y="4964804"/>
                    </a:cubicBezTo>
                    <a:cubicBezTo>
                      <a:pt x="890651" y="4987664"/>
                      <a:pt x="1025524" y="5004428"/>
                      <a:pt x="1162113" y="5014429"/>
                    </a:cubicBezTo>
                    <a:cubicBezTo>
                      <a:pt x="1298702" y="5024431"/>
                      <a:pt x="1437195" y="5027384"/>
                      <a:pt x="1576260" y="5023954"/>
                    </a:cubicBezTo>
                    <a:cubicBezTo>
                      <a:pt x="3296904" y="4978701"/>
                      <a:pt x="4806960" y="3865743"/>
                      <a:pt x="5359495" y="2235606"/>
                    </a:cubicBezTo>
                    <a:cubicBezTo>
                      <a:pt x="5414807" y="2072119"/>
                      <a:pt x="5459946" y="1905364"/>
                      <a:pt x="5494655" y="1736305"/>
                    </a:cubicBezTo>
                    <a:cubicBezTo>
                      <a:pt x="5528964" y="1566979"/>
                      <a:pt x="5552881" y="1395720"/>
                      <a:pt x="5566283" y="1223479"/>
                    </a:cubicBezTo>
                    <a:cubicBezTo>
                      <a:pt x="5568854" y="1180331"/>
                      <a:pt x="5572760" y="1137278"/>
                      <a:pt x="5573998" y="1094130"/>
                    </a:cubicBezTo>
                    <a:lnTo>
                      <a:pt x="5576760" y="1029360"/>
                    </a:lnTo>
                    <a:lnTo>
                      <a:pt x="5577903" y="964494"/>
                    </a:lnTo>
                    <a:lnTo>
                      <a:pt x="5578475" y="932014"/>
                    </a:lnTo>
                    <a:lnTo>
                      <a:pt x="5578475" y="915727"/>
                    </a:lnTo>
                    <a:lnTo>
                      <a:pt x="5578475" y="898581"/>
                    </a:lnTo>
                    <a:lnTo>
                      <a:pt x="5578475" y="830192"/>
                    </a:lnTo>
                    <a:lnTo>
                      <a:pt x="5579046" y="693318"/>
                    </a:lnTo>
                    <a:lnTo>
                      <a:pt x="5581618" y="145916"/>
                    </a:lnTo>
                    <a:cubicBezTo>
                      <a:pt x="5582094" y="66001"/>
                      <a:pt x="5564092" y="-293"/>
                      <a:pt x="5552281" y="-293"/>
                    </a:cubicBezTo>
                    <a:cubicBezTo>
                      <a:pt x="5540470" y="-293"/>
                      <a:pt x="5522468" y="66382"/>
                      <a:pt x="5522849" y="145916"/>
                    </a:cubicBezTo>
                    <a:lnTo>
                      <a:pt x="5525516" y="693318"/>
                    </a:lnTo>
                    <a:lnTo>
                      <a:pt x="5526087" y="830192"/>
                    </a:lnTo>
                    <a:lnTo>
                      <a:pt x="5526087" y="898581"/>
                    </a:lnTo>
                    <a:lnTo>
                      <a:pt x="5526087" y="931824"/>
                    </a:lnTo>
                    <a:lnTo>
                      <a:pt x="5526087" y="963923"/>
                    </a:lnTo>
                    <a:lnTo>
                      <a:pt x="5525420" y="1027931"/>
                    </a:lnTo>
                    <a:lnTo>
                      <a:pt x="5523230" y="1092034"/>
                    </a:lnTo>
                    <a:cubicBezTo>
                      <a:pt x="5522372" y="1134706"/>
                      <a:pt x="5518753" y="1177283"/>
                      <a:pt x="5516562" y="1219955"/>
                    </a:cubicBezTo>
                    <a:cubicBezTo>
                      <a:pt x="5492921" y="1560960"/>
                      <a:pt x="5426389" y="1897621"/>
                      <a:pt x="5318538" y="2221985"/>
                    </a:cubicBezTo>
                    <a:cubicBezTo>
                      <a:pt x="4595485" y="4367939"/>
                      <a:pt x="2269699" y="5521435"/>
                      <a:pt x="123745" y="4798384"/>
                    </a:cubicBezTo>
                    <a:cubicBezTo>
                      <a:pt x="82540" y="4784496"/>
                      <a:pt x="41563" y="4769961"/>
                      <a:pt x="825" y="475477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765BAE56-D14A-425E-B11B-92C74522C374}"/>
                  </a:ext>
                </a:extLst>
              </p:cNvPr>
              <p:cNvSpPr/>
              <p:nvPr/>
            </p:nvSpPr>
            <p:spPr>
              <a:xfrm>
                <a:off x="5251237" y="809464"/>
                <a:ext cx="5722429" cy="5129417"/>
              </a:xfrm>
              <a:custGeom>
                <a:avLst/>
                <a:gdLst>
                  <a:gd name="connsiteX0" fmla="*/ -128 w 5722429"/>
                  <a:gd name="connsiteY0" fmla="*/ 4854409 h 5129417"/>
                  <a:gd name="connsiteX1" fmla="*/ 777494 w 5722429"/>
                  <a:gd name="connsiteY1" fmla="*/ 5067198 h 5129417"/>
                  <a:gd name="connsiteX2" fmla="*/ 1191450 w 5722429"/>
                  <a:gd name="connsiteY2" fmla="*/ 5118061 h 5129417"/>
                  <a:gd name="connsiteX3" fmla="*/ 1615884 w 5722429"/>
                  <a:gd name="connsiteY3" fmla="*/ 5127586 h 5129417"/>
                  <a:gd name="connsiteX4" fmla="*/ 5494178 w 5722429"/>
                  <a:gd name="connsiteY4" fmla="*/ 2269134 h 5129417"/>
                  <a:gd name="connsiteX5" fmla="*/ 5706014 w 5722429"/>
                  <a:gd name="connsiteY5" fmla="*/ 1231576 h 5129417"/>
                  <a:gd name="connsiteX6" fmla="*/ 5713920 w 5722429"/>
                  <a:gd name="connsiteY6" fmla="*/ 1098987 h 5129417"/>
                  <a:gd name="connsiteX7" fmla="*/ 5716778 w 5722429"/>
                  <a:gd name="connsiteY7" fmla="*/ 1032312 h 5129417"/>
                  <a:gd name="connsiteX8" fmla="*/ 5717921 w 5722429"/>
                  <a:gd name="connsiteY8" fmla="*/ 965637 h 5129417"/>
                  <a:gd name="connsiteX9" fmla="*/ 5719064 w 5722429"/>
                  <a:gd name="connsiteY9" fmla="*/ 830192 h 5129417"/>
                  <a:gd name="connsiteX10" fmla="*/ 5719635 w 5722429"/>
                  <a:gd name="connsiteY10" fmla="*/ 693318 h 5129417"/>
                  <a:gd name="connsiteX11" fmla="*/ 5722302 w 5722429"/>
                  <a:gd name="connsiteY11" fmla="*/ 145916 h 5129417"/>
                  <a:gd name="connsiteX12" fmla="*/ 5692870 w 5722429"/>
                  <a:gd name="connsiteY12" fmla="*/ -293 h 5129417"/>
                  <a:gd name="connsiteX13" fmla="*/ 5663533 w 5722429"/>
                  <a:gd name="connsiteY13" fmla="*/ 145916 h 5129417"/>
                  <a:gd name="connsiteX14" fmla="*/ 5666105 w 5722429"/>
                  <a:gd name="connsiteY14" fmla="*/ 693318 h 5129417"/>
                  <a:gd name="connsiteX15" fmla="*/ 5666676 w 5722429"/>
                  <a:gd name="connsiteY15" fmla="*/ 830192 h 5129417"/>
                  <a:gd name="connsiteX16" fmla="*/ 5666676 w 5722429"/>
                  <a:gd name="connsiteY16" fmla="*/ 965066 h 5129417"/>
                  <a:gd name="connsiteX17" fmla="*/ 5666009 w 5722429"/>
                  <a:gd name="connsiteY17" fmla="*/ 1030693 h 5129417"/>
                  <a:gd name="connsiteX18" fmla="*/ 5663628 w 5722429"/>
                  <a:gd name="connsiteY18" fmla="*/ 1096987 h 5129417"/>
                  <a:gd name="connsiteX19" fmla="*/ 5656770 w 5722429"/>
                  <a:gd name="connsiteY19" fmla="*/ 1228051 h 5129417"/>
                  <a:gd name="connsiteX20" fmla="*/ 5453697 w 5722429"/>
                  <a:gd name="connsiteY20" fmla="*/ 2255609 h 5129417"/>
                  <a:gd name="connsiteX21" fmla="*/ 128641 w 5722429"/>
                  <a:gd name="connsiteY21" fmla="*/ 4897386 h 5129417"/>
                  <a:gd name="connsiteX22" fmla="*/ 825 w 5722429"/>
                  <a:gd name="connsiteY22" fmla="*/ 4852028 h 5129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722429" h="5129417">
                    <a:moveTo>
                      <a:pt x="-128" y="4854409"/>
                    </a:moveTo>
                    <a:cubicBezTo>
                      <a:pt x="251685" y="4950031"/>
                      <a:pt x="512079" y="5021287"/>
                      <a:pt x="777494" y="5067198"/>
                    </a:cubicBezTo>
                    <a:cubicBezTo>
                      <a:pt x="913253" y="5090630"/>
                      <a:pt x="1051242" y="5107584"/>
                      <a:pt x="1191450" y="5118061"/>
                    </a:cubicBezTo>
                    <a:cubicBezTo>
                      <a:pt x="1331563" y="5128348"/>
                      <a:pt x="1473295" y="5131301"/>
                      <a:pt x="1615884" y="5127586"/>
                    </a:cubicBezTo>
                    <a:cubicBezTo>
                      <a:pt x="3379790" y="5081238"/>
                      <a:pt x="4927822" y="3940285"/>
                      <a:pt x="5494178" y="2269134"/>
                    </a:cubicBezTo>
                    <a:cubicBezTo>
                      <a:pt x="5607983" y="1933521"/>
                      <a:pt x="5679154" y="1584934"/>
                      <a:pt x="5706014" y="1231576"/>
                    </a:cubicBezTo>
                    <a:cubicBezTo>
                      <a:pt x="5708682" y="1187379"/>
                      <a:pt x="5712682" y="1143279"/>
                      <a:pt x="5713920" y="1098987"/>
                    </a:cubicBezTo>
                    <a:lnTo>
                      <a:pt x="5716778" y="1032312"/>
                    </a:lnTo>
                    <a:lnTo>
                      <a:pt x="5717921" y="965637"/>
                    </a:lnTo>
                    <a:cubicBezTo>
                      <a:pt x="5718968" y="921918"/>
                      <a:pt x="5718874" y="875721"/>
                      <a:pt x="5719064" y="830192"/>
                    </a:cubicBezTo>
                    <a:lnTo>
                      <a:pt x="5719635" y="693318"/>
                    </a:lnTo>
                    <a:lnTo>
                      <a:pt x="5722302" y="145916"/>
                    </a:lnTo>
                    <a:cubicBezTo>
                      <a:pt x="5722302" y="66001"/>
                      <a:pt x="5704681" y="-293"/>
                      <a:pt x="5692870" y="-293"/>
                    </a:cubicBezTo>
                    <a:cubicBezTo>
                      <a:pt x="5681059" y="-293"/>
                      <a:pt x="5663057" y="66382"/>
                      <a:pt x="5663533" y="145916"/>
                    </a:cubicBezTo>
                    <a:lnTo>
                      <a:pt x="5666105" y="693318"/>
                    </a:lnTo>
                    <a:lnTo>
                      <a:pt x="5666676" y="830192"/>
                    </a:lnTo>
                    <a:cubicBezTo>
                      <a:pt x="5666676" y="875721"/>
                      <a:pt x="5667248" y="922108"/>
                      <a:pt x="5666676" y="965066"/>
                    </a:cubicBezTo>
                    <a:lnTo>
                      <a:pt x="5666009" y="1030693"/>
                    </a:lnTo>
                    <a:lnTo>
                      <a:pt x="5663628" y="1096987"/>
                    </a:lnTo>
                    <a:cubicBezTo>
                      <a:pt x="5662771" y="1140802"/>
                      <a:pt x="5659056" y="1184427"/>
                      <a:pt x="5656770" y="1228051"/>
                    </a:cubicBezTo>
                    <a:cubicBezTo>
                      <a:pt x="5632519" y="1577743"/>
                      <a:pt x="5564292" y="1922986"/>
                      <a:pt x="5453697" y="2255609"/>
                    </a:cubicBezTo>
                    <a:cubicBezTo>
                      <a:pt x="4712729" y="4455588"/>
                      <a:pt x="2328621" y="5638355"/>
                      <a:pt x="128641" y="4897386"/>
                    </a:cubicBezTo>
                    <a:cubicBezTo>
                      <a:pt x="85788" y="4882956"/>
                      <a:pt x="43183" y="4867830"/>
                      <a:pt x="825" y="485202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07AE0B79-207E-4F58-B898-63A33DF27051}"/>
                  </a:ext>
                </a:extLst>
              </p:cNvPr>
              <p:cNvSpPr/>
              <p:nvPr/>
            </p:nvSpPr>
            <p:spPr>
              <a:xfrm>
                <a:off x="5214852" y="810130"/>
                <a:ext cx="5861970" cy="5231888"/>
              </a:xfrm>
              <a:custGeom>
                <a:avLst/>
                <a:gdLst>
                  <a:gd name="connsiteX0" fmla="*/ -128 w 5861970"/>
                  <a:gd name="connsiteY0" fmla="*/ 4950326 h 5231888"/>
                  <a:gd name="connsiteX1" fmla="*/ 796639 w 5861970"/>
                  <a:gd name="connsiteY1" fmla="*/ 5168258 h 5231888"/>
                  <a:gd name="connsiteX2" fmla="*/ 1220787 w 5861970"/>
                  <a:gd name="connsiteY2" fmla="*/ 5220360 h 5231888"/>
                  <a:gd name="connsiteX3" fmla="*/ 1655317 w 5861970"/>
                  <a:gd name="connsiteY3" fmla="*/ 5229885 h 5231888"/>
                  <a:gd name="connsiteX4" fmla="*/ 5628386 w 5861970"/>
                  <a:gd name="connsiteY4" fmla="*/ 2301424 h 5231888"/>
                  <a:gd name="connsiteX5" fmla="*/ 5845365 w 5861970"/>
                  <a:gd name="connsiteY5" fmla="*/ 1238529 h 5231888"/>
                  <a:gd name="connsiteX6" fmla="*/ 5853462 w 5861970"/>
                  <a:gd name="connsiteY6" fmla="*/ 1102797 h 5231888"/>
                  <a:gd name="connsiteX7" fmla="*/ 5856319 w 5861970"/>
                  <a:gd name="connsiteY7" fmla="*/ 1034789 h 5231888"/>
                  <a:gd name="connsiteX8" fmla="*/ 5857557 w 5861970"/>
                  <a:gd name="connsiteY8" fmla="*/ 966780 h 5231888"/>
                  <a:gd name="connsiteX9" fmla="*/ 5858700 w 5861970"/>
                  <a:gd name="connsiteY9" fmla="*/ 830192 h 5231888"/>
                  <a:gd name="connsiteX10" fmla="*/ 5859272 w 5861970"/>
                  <a:gd name="connsiteY10" fmla="*/ 693318 h 5231888"/>
                  <a:gd name="connsiteX11" fmla="*/ 5861844 w 5861970"/>
                  <a:gd name="connsiteY11" fmla="*/ 145916 h 5231888"/>
                  <a:gd name="connsiteX12" fmla="*/ 5832507 w 5861970"/>
                  <a:gd name="connsiteY12" fmla="*/ -293 h 5231888"/>
                  <a:gd name="connsiteX13" fmla="*/ 5803074 w 5861970"/>
                  <a:gd name="connsiteY13" fmla="*/ 145916 h 5231888"/>
                  <a:gd name="connsiteX14" fmla="*/ 5805741 w 5861970"/>
                  <a:gd name="connsiteY14" fmla="*/ 693318 h 5231888"/>
                  <a:gd name="connsiteX15" fmla="*/ 5806313 w 5861970"/>
                  <a:gd name="connsiteY15" fmla="*/ 830192 h 5231888"/>
                  <a:gd name="connsiteX16" fmla="*/ 5806313 w 5861970"/>
                  <a:gd name="connsiteY16" fmla="*/ 966209 h 5231888"/>
                  <a:gd name="connsiteX17" fmla="*/ 5805551 w 5861970"/>
                  <a:gd name="connsiteY17" fmla="*/ 1033455 h 5231888"/>
                  <a:gd name="connsiteX18" fmla="*/ 5803265 w 5861970"/>
                  <a:gd name="connsiteY18" fmla="*/ 1100607 h 5231888"/>
                  <a:gd name="connsiteX19" fmla="*/ 5796216 w 5861970"/>
                  <a:gd name="connsiteY19" fmla="*/ 1234909 h 5231888"/>
                  <a:gd name="connsiteX20" fmla="*/ 5587905 w 5861970"/>
                  <a:gd name="connsiteY20" fmla="*/ 2287803 h 5231888"/>
                  <a:gd name="connsiteX21" fmla="*/ 132575 w 5861970"/>
                  <a:gd name="connsiteY21" fmla="*/ 4994646 h 5231888"/>
                  <a:gd name="connsiteX22" fmla="*/ 730 w 5861970"/>
                  <a:gd name="connsiteY22" fmla="*/ 4947850 h 5231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61970" h="5231888">
                    <a:moveTo>
                      <a:pt x="-128" y="4950326"/>
                    </a:moveTo>
                    <a:cubicBezTo>
                      <a:pt x="257876" y="5048281"/>
                      <a:pt x="524690" y="5121262"/>
                      <a:pt x="796639" y="5168258"/>
                    </a:cubicBezTo>
                    <a:cubicBezTo>
                      <a:pt x="935608" y="5192357"/>
                      <a:pt x="1077340" y="5209787"/>
                      <a:pt x="1220787" y="5220360"/>
                    </a:cubicBezTo>
                    <a:cubicBezTo>
                      <a:pt x="1364233" y="5230933"/>
                      <a:pt x="1509395" y="5233886"/>
                      <a:pt x="1655317" y="5229885"/>
                    </a:cubicBezTo>
                    <a:cubicBezTo>
                      <a:pt x="3462353" y="5182346"/>
                      <a:pt x="5048208" y="4013447"/>
                      <a:pt x="5628386" y="2301424"/>
                    </a:cubicBezTo>
                    <a:cubicBezTo>
                      <a:pt x="5744924" y="1957609"/>
                      <a:pt x="5817828" y="1600517"/>
                      <a:pt x="5845365" y="1238529"/>
                    </a:cubicBezTo>
                    <a:cubicBezTo>
                      <a:pt x="5848032" y="1193285"/>
                      <a:pt x="5852128" y="1148137"/>
                      <a:pt x="5853462" y="1102797"/>
                    </a:cubicBezTo>
                    <a:lnTo>
                      <a:pt x="5856319" y="1034789"/>
                    </a:lnTo>
                    <a:lnTo>
                      <a:pt x="5857557" y="966780"/>
                    </a:lnTo>
                    <a:cubicBezTo>
                      <a:pt x="5858510" y="921537"/>
                      <a:pt x="5858510" y="875817"/>
                      <a:pt x="5858700" y="830192"/>
                    </a:cubicBezTo>
                    <a:lnTo>
                      <a:pt x="5859272" y="693318"/>
                    </a:lnTo>
                    <a:lnTo>
                      <a:pt x="5861844" y="145916"/>
                    </a:lnTo>
                    <a:cubicBezTo>
                      <a:pt x="5861844" y="66001"/>
                      <a:pt x="5844317" y="-293"/>
                      <a:pt x="5832507" y="-293"/>
                    </a:cubicBezTo>
                    <a:cubicBezTo>
                      <a:pt x="5820696" y="-293"/>
                      <a:pt x="5802693" y="66382"/>
                      <a:pt x="5803074" y="145916"/>
                    </a:cubicBezTo>
                    <a:lnTo>
                      <a:pt x="5805741" y="693318"/>
                    </a:lnTo>
                    <a:lnTo>
                      <a:pt x="5806313" y="830192"/>
                    </a:lnTo>
                    <a:cubicBezTo>
                      <a:pt x="5806313" y="875817"/>
                      <a:pt x="5806313" y="921727"/>
                      <a:pt x="5806313" y="966209"/>
                    </a:cubicBezTo>
                    <a:lnTo>
                      <a:pt x="5805551" y="1033455"/>
                    </a:lnTo>
                    <a:lnTo>
                      <a:pt x="5803265" y="1100607"/>
                    </a:lnTo>
                    <a:cubicBezTo>
                      <a:pt x="5802312" y="1145470"/>
                      <a:pt x="5798598" y="1190142"/>
                      <a:pt x="5796216" y="1234909"/>
                    </a:cubicBezTo>
                    <a:cubicBezTo>
                      <a:pt x="5771318" y="1593240"/>
                      <a:pt x="5701328" y="1946989"/>
                      <a:pt x="5587905" y="2287803"/>
                    </a:cubicBezTo>
                    <a:cubicBezTo>
                      <a:pt x="4828933" y="4541723"/>
                      <a:pt x="2386495" y="5753617"/>
                      <a:pt x="132575" y="4994646"/>
                    </a:cubicBezTo>
                    <a:cubicBezTo>
                      <a:pt x="88379" y="4979759"/>
                      <a:pt x="44421" y="4964157"/>
                      <a:pt x="730" y="49478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1985FFDC-FA17-44E3-9ABC-859B3F5AFEAB}"/>
                  </a:ext>
                </a:extLst>
              </p:cNvPr>
              <p:cNvSpPr/>
              <p:nvPr/>
            </p:nvSpPr>
            <p:spPr>
              <a:xfrm>
                <a:off x="5178371" y="810321"/>
                <a:ext cx="6001702" cy="5334997"/>
              </a:xfrm>
              <a:custGeom>
                <a:avLst/>
                <a:gdLst>
                  <a:gd name="connsiteX0" fmla="*/ -128 w 6001702"/>
                  <a:gd name="connsiteY0" fmla="*/ 5046624 h 5334997"/>
                  <a:gd name="connsiteX1" fmla="*/ 815784 w 6001702"/>
                  <a:gd name="connsiteY1" fmla="*/ 5269794 h 5334997"/>
                  <a:gd name="connsiteX2" fmla="*/ 1250124 w 6001702"/>
                  <a:gd name="connsiteY2" fmla="*/ 5323135 h 5334997"/>
                  <a:gd name="connsiteX3" fmla="*/ 1694846 w 6001702"/>
                  <a:gd name="connsiteY3" fmla="*/ 5333136 h 5334997"/>
                  <a:gd name="connsiteX4" fmla="*/ 5762688 w 6001702"/>
                  <a:gd name="connsiteY4" fmla="*/ 2334380 h 5334997"/>
                  <a:gd name="connsiteX5" fmla="*/ 5984716 w 6001702"/>
                  <a:gd name="connsiteY5" fmla="*/ 1246053 h 5334997"/>
                  <a:gd name="connsiteX6" fmla="*/ 5993003 w 6001702"/>
                  <a:gd name="connsiteY6" fmla="*/ 1107083 h 5334997"/>
                  <a:gd name="connsiteX7" fmla="*/ 5995956 w 6001702"/>
                  <a:gd name="connsiteY7" fmla="*/ 1037551 h 5334997"/>
                  <a:gd name="connsiteX8" fmla="*/ 5997193 w 6001702"/>
                  <a:gd name="connsiteY8" fmla="*/ 967923 h 5334997"/>
                  <a:gd name="connsiteX9" fmla="*/ 5998337 w 6001702"/>
                  <a:gd name="connsiteY9" fmla="*/ 830192 h 5334997"/>
                  <a:gd name="connsiteX10" fmla="*/ 5998908 w 6001702"/>
                  <a:gd name="connsiteY10" fmla="*/ 693317 h 5334997"/>
                  <a:gd name="connsiteX11" fmla="*/ 6001575 w 6001702"/>
                  <a:gd name="connsiteY11" fmla="*/ 145916 h 5334997"/>
                  <a:gd name="connsiteX12" fmla="*/ 5972143 w 6001702"/>
                  <a:gd name="connsiteY12" fmla="*/ -293 h 5334997"/>
                  <a:gd name="connsiteX13" fmla="*/ 5942806 w 6001702"/>
                  <a:gd name="connsiteY13" fmla="*/ 145916 h 5334997"/>
                  <a:gd name="connsiteX14" fmla="*/ 5945378 w 6001702"/>
                  <a:gd name="connsiteY14" fmla="*/ 693317 h 5334997"/>
                  <a:gd name="connsiteX15" fmla="*/ 5945949 w 6001702"/>
                  <a:gd name="connsiteY15" fmla="*/ 830192 h 5334997"/>
                  <a:gd name="connsiteX16" fmla="*/ 5945949 w 6001702"/>
                  <a:gd name="connsiteY16" fmla="*/ 967352 h 5334997"/>
                  <a:gd name="connsiteX17" fmla="*/ 5945187 w 6001702"/>
                  <a:gd name="connsiteY17" fmla="*/ 1036122 h 5334997"/>
                  <a:gd name="connsiteX18" fmla="*/ 5942806 w 6001702"/>
                  <a:gd name="connsiteY18" fmla="*/ 1104988 h 5334997"/>
                  <a:gd name="connsiteX19" fmla="*/ 5935567 w 6001702"/>
                  <a:gd name="connsiteY19" fmla="*/ 1242434 h 5334997"/>
                  <a:gd name="connsiteX20" fmla="*/ 5722207 w 6001702"/>
                  <a:gd name="connsiteY20" fmla="*/ 2320759 h 5334997"/>
                  <a:gd name="connsiteX21" fmla="*/ 135223 w 6001702"/>
                  <a:gd name="connsiteY21" fmla="*/ 5092610 h 5334997"/>
                  <a:gd name="connsiteX22" fmla="*/ 825 w 6001702"/>
                  <a:gd name="connsiteY22" fmla="*/ 5044909 h 5334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01702" h="5334997">
                    <a:moveTo>
                      <a:pt x="-128" y="5046624"/>
                    </a:moveTo>
                    <a:cubicBezTo>
                      <a:pt x="264058" y="5147008"/>
                      <a:pt x="537283" y="5221741"/>
                      <a:pt x="815784" y="5269794"/>
                    </a:cubicBezTo>
                    <a:cubicBezTo>
                      <a:pt x="958183" y="5294464"/>
                      <a:pt x="1103249" y="5312371"/>
                      <a:pt x="1250124" y="5323135"/>
                    </a:cubicBezTo>
                    <a:cubicBezTo>
                      <a:pt x="1397000" y="5333897"/>
                      <a:pt x="1545399" y="5336946"/>
                      <a:pt x="1694846" y="5333136"/>
                    </a:cubicBezTo>
                    <a:cubicBezTo>
                      <a:pt x="3545020" y="5284168"/>
                      <a:pt x="5168614" y="4087275"/>
                      <a:pt x="5762688" y="2334380"/>
                    </a:cubicBezTo>
                    <a:cubicBezTo>
                      <a:pt x="5881960" y="1982326"/>
                      <a:pt x="5956551" y="1616690"/>
                      <a:pt x="5984716" y="1246053"/>
                    </a:cubicBezTo>
                    <a:cubicBezTo>
                      <a:pt x="5987574" y="1199762"/>
                      <a:pt x="5991669" y="1153470"/>
                      <a:pt x="5993003" y="1107083"/>
                    </a:cubicBezTo>
                    <a:lnTo>
                      <a:pt x="5995956" y="1037551"/>
                    </a:lnTo>
                    <a:lnTo>
                      <a:pt x="5997193" y="967923"/>
                    </a:lnTo>
                    <a:cubicBezTo>
                      <a:pt x="5998242" y="921156"/>
                      <a:pt x="5998146" y="875816"/>
                      <a:pt x="5998337" y="830192"/>
                    </a:cubicBezTo>
                    <a:lnTo>
                      <a:pt x="5998908" y="693317"/>
                    </a:lnTo>
                    <a:lnTo>
                      <a:pt x="6001575" y="145916"/>
                    </a:lnTo>
                    <a:cubicBezTo>
                      <a:pt x="6001575" y="66001"/>
                      <a:pt x="5983954" y="-293"/>
                      <a:pt x="5972143" y="-293"/>
                    </a:cubicBezTo>
                    <a:cubicBezTo>
                      <a:pt x="5960332" y="-293"/>
                      <a:pt x="5942330" y="66382"/>
                      <a:pt x="5942806" y="145916"/>
                    </a:cubicBezTo>
                    <a:lnTo>
                      <a:pt x="5945378" y="693317"/>
                    </a:lnTo>
                    <a:lnTo>
                      <a:pt x="5945949" y="830192"/>
                    </a:lnTo>
                    <a:cubicBezTo>
                      <a:pt x="5945949" y="875816"/>
                      <a:pt x="5946521" y="921346"/>
                      <a:pt x="5945949" y="967352"/>
                    </a:cubicBezTo>
                    <a:lnTo>
                      <a:pt x="5945187" y="1036122"/>
                    </a:lnTo>
                    <a:lnTo>
                      <a:pt x="5942806" y="1104988"/>
                    </a:lnTo>
                    <a:cubicBezTo>
                      <a:pt x="5941853" y="1150899"/>
                      <a:pt x="5938044" y="1196618"/>
                      <a:pt x="5935567" y="1242434"/>
                    </a:cubicBezTo>
                    <a:cubicBezTo>
                      <a:pt x="5910164" y="1609432"/>
                      <a:pt x="5838479" y="1971744"/>
                      <a:pt x="5722207" y="2320759"/>
                    </a:cubicBezTo>
                    <a:cubicBezTo>
                      <a:pt x="4944824" y="4628991"/>
                      <a:pt x="2443454" y="5869984"/>
                      <a:pt x="135223" y="5092610"/>
                    </a:cubicBezTo>
                    <a:cubicBezTo>
                      <a:pt x="90169" y="5077428"/>
                      <a:pt x="45364" y="5061530"/>
                      <a:pt x="825" y="504490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F40C4D51-2F44-4D46-B124-BB76B80F5373}"/>
                  </a:ext>
                </a:extLst>
              </p:cNvPr>
              <p:cNvSpPr/>
              <p:nvPr/>
            </p:nvSpPr>
            <p:spPr>
              <a:xfrm>
                <a:off x="5141891" y="810130"/>
                <a:ext cx="6141624" cy="5438683"/>
              </a:xfrm>
              <a:custGeom>
                <a:avLst/>
                <a:gdLst>
                  <a:gd name="connsiteX0" fmla="*/ -128 w 6141624"/>
                  <a:gd name="connsiteY0" fmla="*/ 5143398 h 5438683"/>
                  <a:gd name="connsiteX1" fmla="*/ 835024 w 6141624"/>
                  <a:gd name="connsiteY1" fmla="*/ 5371998 h 5438683"/>
                  <a:gd name="connsiteX2" fmla="*/ 1279461 w 6141624"/>
                  <a:gd name="connsiteY2" fmla="*/ 5426576 h 5438683"/>
                  <a:gd name="connsiteX3" fmla="*/ 1734375 w 6141624"/>
                  <a:gd name="connsiteY3" fmla="*/ 5436768 h 5438683"/>
                  <a:gd name="connsiteX4" fmla="*/ 5896800 w 6141624"/>
                  <a:gd name="connsiteY4" fmla="*/ 2367622 h 5438683"/>
                  <a:gd name="connsiteX5" fmla="*/ 6045486 w 6141624"/>
                  <a:gd name="connsiteY5" fmla="*/ 1817839 h 5438683"/>
                  <a:gd name="connsiteX6" fmla="*/ 6124448 w 6141624"/>
                  <a:gd name="connsiteY6" fmla="*/ 1253578 h 5438683"/>
                  <a:gd name="connsiteX7" fmla="*/ 6132925 w 6141624"/>
                  <a:gd name="connsiteY7" fmla="*/ 1111370 h 5438683"/>
                  <a:gd name="connsiteX8" fmla="*/ 6135878 w 6141624"/>
                  <a:gd name="connsiteY8" fmla="*/ 1040218 h 5438683"/>
                  <a:gd name="connsiteX9" fmla="*/ 6137116 w 6141624"/>
                  <a:gd name="connsiteY9" fmla="*/ 969067 h 5438683"/>
                  <a:gd name="connsiteX10" fmla="*/ 6138354 w 6141624"/>
                  <a:gd name="connsiteY10" fmla="*/ 830192 h 5438683"/>
                  <a:gd name="connsiteX11" fmla="*/ 6138926 w 6141624"/>
                  <a:gd name="connsiteY11" fmla="*/ 693318 h 5438683"/>
                  <a:gd name="connsiteX12" fmla="*/ 6141497 w 6141624"/>
                  <a:gd name="connsiteY12" fmla="*/ 145916 h 5438683"/>
                  <a:gd name="connsiteX13" fmla="*/ 6112161 w 6141624"/>
                  <a:gd name="connsiteY13" fmla="*/ -293 h 5438683"/>
                  <a:gd name="connsiteX14" fmla="*/ 6082728 w 6141624"/>
                  <a:gd name="connsiteY14" fmla="*/ 145916 h 5438683"/>
                  <a:gd name="connsiteX15" fmla="*/ 6085395 w 6141624"/>
                  <a:gd name="connsiteY15" fmla="*/ 693318 h 5438683"/>
                  <a:gd name="connsiteX16" fmla="*/ 6085395 w 6141624"/>
                  <a:gd name="connsiteY16" fmla="*/ 830192 h 5438683"/>
                  <a:gd name="connsiteX17" fmla="*/ 6085395 w 6141624"/>
                  <a:gd name="connsiteY17" fmla="*/ 968495 h 5438683"/>
                  <a:gd name="connsiteX18" fmla="*/ 6084633 w 6141624"/>
                  <a:gd name="connsiteY18" fmla="*/ 1038885 h 5438683"/>
                  <a:gd name="connsiteX19" fmla="*/ 6082252 w 6141624"/>
                  <a:gd name="connsiteY19" fmla="*/ 1109274 h 5438683"/>
                  <a:gd name="connsiteX20" fmla="*/ 6074822 w 6141624"/>
                  <a:gd name="connsiteY20" fmla="*/ 1249959 h 5438683"/>
                  <a:gd name="connsiteX21" fmla="*/ 5856414 w 6141624"/>
                  <a:gd name="connsiteY21" fmla="*/ 2353621 h 5438683"/>
                  <a:gd name="connsiteX22" fmla="*/ 138385 w 6141624"/>
                  <a:gd name="connsiteY22" fmla="*/ 5189889 h 5438683"/>
                  <a:gd name="connsiteX23" fmla="*/ 730 w 6141624"/>
                  <a:gd name="connsiteY23" fmla="*/ 5141017 h 5438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6141624" h="5438683">
                    <a:moveTo>
                      <a:pt x="-128" y="5143398"/>
                    </a:moveTo>
                    <a:cubicBezTo>
                      <a:pt x="270297" y="5246144"/>
                      <a:pt x="549970" y="5322696"/>
                      <a:pt x="835024" y="5371998"/>
                    </a:cubicBezTo>
                    <a:cubicBezTo>
                      <a:pt x="980757" y="5397239"/>
                      <a:pt x="1129252" y="5415527"/>
                      <a:pt x="1279461" y="5426576"/>
                    </a:cubicBezTo>
                    <a:cubicBezTo>
                      <a:pt x="1429670" y="5437625"/>
                      <a:pt x="1581594" y="5440673"/>
                      <a:pt x="1734375" y="5436768"/>
                    </a:cubicBezTo>
                    <a:cubicBezTo>
                      <a:pt x="3627735" y="5386543"/>
                      <a:pt x="5289134" y="4161523"/>
                      <a:pt x="5896800" y="2367622"/>
                    </a:cubicBezTo>
                    <a:cubicBezTo>
                      <a:pt x="5957703" y="2187619"/>
                      <a:pt x="6007357" y="2004005"/>
                      <a:pt x="6045486" y="1817839"/>
                    </a:cubicBezTo>
                    <a:cubicBezTo>
                      <a:pt x="6083357" y="1631549"/>
                      <a:pt x="6109732" y="1443107"/>
                      <a:pt x="6124448" y="1253578"/>
                    </a:cubicBezTo>
                    <a:cubicBezTo>
                      <a:pt x="6127305" y="1205953"/>
                      <a:pt x="6131496" y="1158900"/>
                      <a:pt x="6132925" y="1111370"/>
                    </a:cubicBezTo>
                    <a:lnTo>
                      <a:pt x="6135878" y="1040218"/>
                    </a:lnTo>
                    <a:lnTo>
                      <a:pt x="6137116" y="969067"/>
                    </a:lnTo>
                    <a:cubicBezTo>
                      <a:pt x="6138164" y="920775"/>
                      <a:pt x="6138068" y="875912"/>
                      <a:pt x="6138354" y="830192"/>
                    </a:cubicBezTo>
                    <a:lnTo>
                      <a:pt x="6138926" y="693318"/>
                    </a:lnTo>
                    <a:lnTo>
                      <a:pt x="6141497" y="145916"/>
                    </a:lnTo>
                    <a:cubicBezTo>
                      <a:pt x="6141497" y="66001"/>
                      <a:pt x="6123876" y="-293"/>
                      <a:pt x="6112161" y="-293"/>
                    </a:cubicBezTo>
                    <a:cubicBezTo>
                      <a:pt x="6100445" y="-293"/>
                      <a:pt x="6082347" y="66382"/>
                      <a:pt x="6082728" y="145916"/>
                    </a:cubicBezTo>
                    <a:lnTo>
                      <a:pt x="6085395" y="693318"/>
                    </a:lnTo>
                    <a:lnTo>
                      <a:pt x="6085395" y="830192"/>
                    </a:lnTo>
                    <a:cubicBezTo>
                      <a:pt x="6085395" y="875817"/>
                      <a:pt x="6085967" y="920965"/>
                      <a:pt x="6085395" y="968495"/>
                    </a:cubicBezTo>
                    <a:lnTo>
                      <a:pt x="6084633" y="1038885"/>
                    </a:lnTo>
                    <a:lnTo>
                      <a:pt x="6082252" y="1109274"/>
                    </a:lnTo>
                    <a:cubicBezTo>
                      <a:pt x="6081204" y="1156233"/>
                      <a:pt x="6077299" y="1203096"/>
                      <a:pt x="6074822" y="1249959"/>
                    </a:cubicBezTo>
                    <a:cubicBezTo>
                      <a:pt x="6048743" y="1625568"/>
                      <a:pt x="5975363" y="1996385"/>
                      <a:pt x="5856414" y="2353621"/>
                    </a:cubicBezTo>
                    <a:cubicBezTo>
                      <a:pt x="5060639" y="4715821"/>
                      <a:pt x="2500585" y="5985665"/>
                      <a:pt x="138385" y="5189889"/>
                    </a:cubicBezTo>
                    <a:cubicBezTo>
                      <a:pt x="92236" y="5174335"/>
                      <a:pt x="46345" y="5158047"/>
                      <a:pt x="730" y="514101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93B4AE3F-06D1-40FE-9539-9CCAD51A542B}"/>
                  </a:ext>
                </a:extLst>
              </p:cNvPr>
              <p:cNvSpPr/>
              <p:nvPr/>
            </p:nvSpPr>
            <p:spPr>
              <a:xfrm>
                <a:off x="5105410" y="810226"/>
                <a:ext cx="6281261" cy="5541287"/>
              </a:xfrm>
              <a:custGeom>
                <a:avLst/>
                <a:gdLst>
                  <a:gd name="connsiteX0" fmla="*/ -128 w 6281261"/>
                  <a:gd name="connsiteY0" fmla="*/ 5239600 h 5541287"/>
                  <a:gd name="connsiteX1" fmla="*/ 854265 w 6281261"/>
                  <a:gd name="connsiteY1" fmla="*/ 5473249 h 5541287"/>
                  <a:gd name="connsiteX2" fmla="*/ 1308798 w 6281261"/>
                  <a:gd name="connsiteY2" fmla="*/ 5528875 h 5541287"/>
                  <a:gd name="connsiteX3" fmla="*/ 1773999 w 6281261"/>
                  <a:gd name="connsiteY3" fmla="*/ 5539352 h 5541287"/>
                  <a:gd name="connsiteX4" fmla="*/ 6031674 w 6281261"/>
                  <a:gd name="connsiteY4" fmla="*/ 2399912 h 5541287"/>
                  <a:gd name="connsiteX5" fmla="*/ 6184074 w 6281261"/>
                  <a:gd name="connsiteY5" fmla="*/ 1837937 h 5541287"/>
                  <a:gd name="connsiteX6" fmla="*/ 6264465 w 6281261"/>
                  <a:gd name="connsiteY6" fmla="*/ 1261103 h 5541287"/>
                  <a:gd name="connsiteX7" fmla="*/ 6273038 w 6281261"/>
                  <a:gd name="connsiteY7" fmla="*/ 1115751 h 5541287"/>
                  <a:gd name="connsiteX8" fmla="*/ 6276086 w 6281261"/>
                  <a:gd name="connsiteY8" fmla="*/ 1042980 h 5541287"/>
                  <a:gd name="connsiteX9" fmla="*/ 6277419 w 6281261"/>
                  <a:gd name="connsiteY9" fmla="*/ 970209 h 5541287"/>
                  <a:gd name="connsiteX10" fmla="*/ 6277991 w 6281261"/>
                  <a:gd name="connsiteY10" fmla="*/ 933824 h 5541287"/>
                  <a:gd name="connsiteX11" fmla="*/ 6277991 w 6281261"/>
                  <a:gd name="connsiteY11" fmla="*/ 915726 h 5541287"/>
                  <a:gd name="connsiteX12" fmla="*/ 6277991 w 6281261"/>
                  <a:gd name="connsiteY12" fmla="*/ 898581 h 5541287"/>
                  <a:gd name="connsiteX13" fmla="*/ 6277991 w 6281261"/>
                  <a:gd name="connsiteY13" fmla="*/ 830192 h 5541287"/>
                  <a:gd name="connsiteX14" fmla="*/ 6278562 w 6281261"/>
                  <a:gd name="connsiteY14" fmla="*/ 693318 h 5541287"/>
                  <a:gd name="connsiteX15" fmla="*/ 6281134 w 6281261"/>
                  <a:gd name="connsiteY15" fmla="*/ 145916 h 5541287"/>
                  <a:gd name="connsiteX16" fmla="*/ 6251797 w 6281261"/>
                  <a:gd name="connsiteY16" fmla="*/ -293 h 5541287"/>
                  <a:gd name="connsiteX17" fmla="*/ 6222460 w 6281261"/>
                  <a:gd name="connsiteY17" fmla="*/ 145916 h 5541287"/>
                  <a:gd name="connsiteX18" fmla="*/ 6225032 w 6281261"/>
                  <a:gd name="connsiteY18" fmla="*/ 693318 h 5541287"/>
                  <a:gd name="connsiteX19" fmla="*/ 6225603 w 6281261"/>
                  <a:gd name="connsiteY19" fmla="*/ 830192 h 5541287"/>
                  <a:gd name="connsiteX20" fmla="*/ 6225603 w 6281261"/>
                  <a:gd name="connsiteY20" fmla="*/ 898581 h 5541287"/>
                  <a:gd name="connsiteX21" fmla="*/ 6225603 w 6281261"/>
                  <a:gd name="connsiteY21" fmla="*/ 933633 h 5541287"/>
                  <a:gd name="connsiteX22" fmla="*/ 6225603 w 6281261"/>
                  <a:gd name="connsiteY22" fmla="*/ 969638 h 5541287"/>
                  <a:gd name="connsiteX23" fmla="*/ 6224746 w 6281261"/>
                  <a:gd name="connsiteY23" fmla="*/ 1041647 h 5541287"/>
                  <a:gd name="connsiteX24" fmla="*/ 6222270 w 6281261"/>
                  <a:gd name="connsiteY24" fmla="*/ 1113656 h 5541287"/>
                  <a:gd name="connsiteX25" fmla="*/ 6214650 w 6281261"/>
                  <a:gd name="connsiteY25" fmla="*/ 1257483 h 5541287"/>
                  <a:gd name="connsiteX26" fmla="*/ 5991098 w 6281261"/>
                  <a:gd name="connsiteY26" fmla="*/ 2386577 h 5541287"/>
                  <a:gd name="connsiteX27" fmla="*/ 143119 w 6281261"/>
                  <a:gd name="connsiteY27" fmla="*/ 5287940 h 5541287"/>
                  <a:gd name="connsiteX28" fmla="*/ 825 w 6281261"/>
                  <a:gd name="connsiteY28" fmla="*/ 5237410 h 5541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6281261" h="5541287">
                    <a:moveTo>
                      <a:pt x="-128" y="5239600"/>
                    </a:moveTo>
                    <a:cubicBezTo>
                      <a:pt x="276545" y="5344632"/>
                      <a:pt x="562648" y="5422871"/>
                      <a:pt x="854265" y="5473249"/>
                    </a:cubicBezTo>
                    <a:cubicBezTo>
                      <a:pt x="1003331" y="5498966"/>
                      <a:pt x="1155160" y="5517635"/>
                      <a:pt x="1308798" y="5528875"/>
                    </a:cubicBezTo>
                    <a:cubicBezTo>
                      <a:pt x="1462436" y="5540114"/>
                      <a:pt x="1617789" y="5543353"/>
                      <a:pt x="1773999" y="5539352"/>
                    </a:cubicBezTo>
                    <a:cubicBezTo>
                      <a:pt x="3710717" y="5488003"/>
                      <a:pt x="5410149" y="4234913"/>
                      <a:pt x="6031674" y="2399912"/>
                    </a:cubicBezTo>
                    <a:cubicBezTo>
                      <a:pt x="6094034" y="2215917"/>
                      <a:pt x="6144936" y="2028227"/>
                      <a:pt x="6184074" y="1837937"/>
                    </a:cubicBezTo>
                    <a:cubicBezTo>
                      <a:pt x="6222650" y="1647485"/>
                      <a:pt x="6249492" y="1454841"/>
                      <a:pt x="6264465" y="1261103"/>
                    </a:cubicBezTo>
                    <a:cubicBezTo>
                      <a:pt x="6267418" y="1212621"/>
                      <a:pt x="6271609" y="1164234"/>
                      <a:pt x="6273038" y="1115751"/>
                    </a:cubicBezTo>
                    <a:lnTo>
                      <a:pt x="6276086" y="1042980"/>
                    </a:lnTo>
                    <a:lnTo>
                      <a:pt x="6277419" y="970209"/>
                    </a:lnTo>
                    <a:lnTo>
                      <a:pt x="6277991" y="933824"/>
                    </a:lnTo>
                    <a:lnTo>
                      <a:pt x="6277991" y="915726"/>
                    </a:lnTo>
                    <a:lnTo>
                      <a:pt x="6277991" y="898581"/>
                    </a:lnTo>
                    <a:lnTo>
                      <a:pt x="6277991" y="830192"/>
                    </a:lnTo>
                    <a:lnTo>
                      <a:pt x="6278562" y="693318"/>
                    </a:lnTo>
                    <a:lnTo>
                      <a:pt x="6281134" y="145916"/>
                    </a:lnTo>
                    <a:cubicBezTo>
                      <a:pt x="6281134" y="66001"/>
                      <a:pt x="6263608" y="-293"/>
                      <a:pt x="6251797" y="-293"/>
                    </a:cubicBezTo>
                    <a:cubicBezTo>
                      <a:pt x="6239986" y="-293"/>
                      <a:pt x="6221983" y="66382"/>
                      <a:pt x="6222460" y="145916"/>
                    </a:cubicBezTo>
                    <a:lnTo>
                      <a:pt x="6225032" y="693318"/>
                    </a:lnTo>
                    <a:lnTo>
                      <a:pt x="6225603" y="830192"/>
                    </a:lnTo>
                    <a:lnTo>
                      <a:pt x="6225603" y="898581"/>
                    </a:lnTo>
                    <a:lnTo>
                      <a:pt x="6225603" y="933633"/>
                    </a:lnTo>
                    <a:lnTo>
                      <a:pt x="6225603" y="969638"/>
                    </a:lnTo>
                    <a:lnTo>
                      <a:pt x="6224746" y="1041647"/>
                    </a:lnTo>
                    <a:lnTo>
                      <a:pt x="6222270" y="1113656"/>
                    </a:lnTo>
                    <a:cubicBezTo>
                      <a:pt x="6221222" y="1161281"/>
                      <a:pt x="6217316" y="1209573"/>
                      <a:pt x="6214650" y="1257483"/>
                    </a:cubicBezTo>
                    <a:cubicBezTo>
                      <a:pt x="6187941" y="1641751"/>
                      <a:pt x="6112827" y="2021122"/>
                      <a:pt x="5991098" y="2386577"/>
                    </a:cubicBezTo>
                    <a:cubicBezTo>
                      <a:pt x="5177415" y="4802641"/>
                      <a:pt x="2559183" y="6101622"/>
                      <a:pt x="143119" y="5287940"/>
                    </a:cubicBezTo>
                    <a:cubicBezTo>
                      <a:pt x="95418" y="5271871"/>
                      <a:pt x="47974" y="5255031"/>
                      <a:pt x="825" y="52374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6840ABEA-D5D5-4764-A07D-DAA692286323}"/>
                  </a:ext>
                </a:extLst>
              </p:cNvPr>
              <p:cNvSpPr/>
              <p:nvPr/>
            </p:nvSpPr>
            <p:spPr>
              <a:xfrm>
                <a:off x="5068929" y="810321"/>
                <a:ext cx="6419278" cy="5644861"/>
              </a:xfrm>
              <a:custGeom>
                <a:avLst/>
                <a:gdLst>
                  <a:gd name="connsiteX0" fmla="*/ -128 w 6419278"/>
                  <a:gd name="connsiteY0" fmla="*/ 5336279 h 5644861"/>
                  <a:gd name="connsiteX1" fmla="*/ 873506 w 6419278"/>
                  <a:gd name="connsiteY1" fmla="*/ 5575071 h 5644861"/>
                  <a:gd name="connsiteX2" fmla="*/ 1338135 w 6419278"/>
                  <a:gd name="connsiteY2" fmla="*/ 5632221 h 5644861"/>
                  <a:gd name="connsiteX3" fmla="*/ 1813528 w 6419278"/>
                  <a:gd name="connsiteY3" fmla="*/ 5642889 h 5644861"/>
                  <a:gd name="connsiteX4" fmla="*/ 3700812 w 6419278"/>
                  <a:gd name="connsiteY4" fmla="*/ 5195214 h 5644861"/>
                  <a:gd name="connsiteX5" fmla="*/ 4540059 w 6419278"/>
                  <a:gd name="connsiteY5" fmla="*/ 4686484 h 5644861"/>
                  <a:gd name="connsiteX6" fmla="*/ 5794692 w 6419278"/>
                  <a:gd name="connsiteY6" fmla="*/ 3258305 h 5644861"/>
                  <a:gd name="connsiteX7" fmla="*/ 6165501 w 6419278"/>
                  <a:gd name="connsiteY7" fmla="*/ 2433154 h 5644861"/>
                  <a:gd name="connsiteX8" fmla="*/ 6321234 w 6419278"/>
                  <a:gd name="connsiteY8" fmla="*/ 1858130 h 5644861"/>
                  <a:gd name="connsiteX9" fmla="*/ 6403340 w 6419278"/>
                  <a:gd name="connsiteY9" fmla="*/ 1268532 h 5644861"/>
                  <a:gd name="connsiteX10" fmla="*/ 6412198 w 6419278"/>
                  <a:gd name="connsiteY10" fmla="*/ 1119942 h 5644861"/>
                  <a:gd name="connsiteX11" fmla="*/ 6415246 w 6419278"/>
                  <a:gd name="connsiteY11" fmla="*/ 1045647 h 5644861"/>
                  <a:gd name="connsiteX12" fmla="*/ 6416580 w 6419278"/>
                  <a:gd name="connsiteY12" fmla="*/ 971257 h 5644861"/>
                  <a:gd name="connsiteX13" fmla="*/ 6416484 w 6419278"/>
                  <a:gd name="connsiteY13" fmla="*/ 934205 h 5644861"/>
                  <a:gd name="connsiteX14" fmla="*/ 6416484 w 6419278"/>
                  <a:gd name="connsiteY14" fmla="*/ 898581 h 5644861"/>
                  <a:gd name="connsiteX15" fmla="*/ 6416484 w 6419278"/>
                  <a:gd name="connsiteY15" fmla="*/ 830192 h 5644861"/>
                  <a:gd name="connsiteX16" fmla="*/ 6416484 w 6419278"/>
                  <a:gd name="connsiteY16" fmla="*/ 693317 h 5644861"/>
                  <a:gd name="connsiteX17" fmla="*/ 6419152 w 6419278"/>
                  <a:gd name="connsiteY17" fmla="*/ 145916 h 5644861"/>
                  <a:gd name="connsiteX18" fmla="*/ 6389719 w 6419278"/>
                  <a:gd name="connsiteY18" fmla="*/ -293 h 5644861"/>
                  <a:gd name="connsiteX19" fmla="*/ 6360382 w 6419278"/>
                  <a:gd name="connsiteY19" fmla="*/ 145916 h 5644861"/>
                  <a:gd name="connsiteX20" fmla="*/ 6362954 w 6419278"/>
                  <a:gd name="connsiteY20" fmla="*/ 693317 h 5644861"/>
                  <a:gd name="connsiteX21" fmla="*/ 6363525 w 6419278"/>
                  <a:gd name="connsiteY21" fmla="*/ 830192 h 5644861"/>
                  <a:gd name="connsiteX22" fmla="*/ 6363525 w 6419278"/>
                  <a:gd name="connsiteY22" fmla="*/ 898581 h 5644861"/>
                  <a:gd name="connsiteX23" fmla="*/ 6363525 w 6419278"/>
                  <a:gd name="connsiteY23" fmla="*/ 915155 h 5644861"/>
                  <a:gd name="connsiteX24" fmla="*/ 6363525 w 6419278"/>
                  <a:gd name="connsiteY24" fmla="*/ 933443 h 5644861"/>
                  <a:gd name="connsiteX25" fmla="*/ 6363525 w 6419278"/>
                  <a:gd name="connsiteY25" fmla="*/ 970209 h 5644861"/>
                  <a:gd name="connsiteX26" fmla="*/ 6362668 w 6419278"/>
                  <a:gd name="connsiteY26" fmla="*/ 1043742 h 5644861"/>
                  <a:gd name="connsiteX27" fmla="*/ 6360192 w 6419278"/>
                  <a:gd name="connsiteY27" fmla="*/ 1117371 h 5644861"/>
                  <a:gd name="connsiteX28" fmla="*/ 6352381 w 6419278"/>
                  <a:gd name="connsiteY28" fmla="*/ 1264437 h 5644861"/>
                  <a:gd name="connsiteX29" fmla="*/ 6275800 w 6419278"/>
                  <a:gd name="connsiteY29" fmla="*/ 1848605 h 5644861"/>
                  <a:gd name="connsiteX30" fmla="*/ 6125019 w 6419278"/>
                  <a:gd name="connsiteY30" fmla="*/ 2418962 h 5644861"/>
                  <a:gd name="connsiteX31" fmla="*/ 145605 w 6419278"/>
                  <a:gd name="connsiteY31" fmla="*/ 5385161 h 5644861"/>
                  <a:gd name="connsiteX32" fmla="*/ 444 w 6419278"/>
                  <a:gd name="connsiteY32" fmla="*/ 5333612 h 5644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419278" h="5644861">
                    <a:moveTo>
                      <a:pt x="-128" y="5336279"/>
                    </a:moveTo>
                    <a:cubicBezTo>
                      <a:pt x="282775" y="5443636"/>
                      <a:pt x="575325" y="5523598"/>
                      <a:pt x="873506" y="5575071"/>
                    </a:cubicBezTo>
                    <a:cubicBezTo>
                      <a:pt x="1025906" y="5601360"/>
                      <a:pt x="1180782" y="5620410"/>
                      <a:pt x="1338135" y="5632221"/>
                    </a:cubicBezTo>
                    <a:cubicBezTo>
                      <a:pt x="1495107" y="5643651"/>
                      <a:pt x="1653889" y="5646985"/>
                      <a:pt x="1813528" y="5642889"/>
                    </a:cubicBezTo>
                    <a:cubicBezTo>
                      <a:pt x="2466829" y="5625915"/>
                      <a:pt x="3109490" y="5473477"/>
                      <a:pt x="3700812" y="5195214"/>
                    </a:cubicBezTo>
                    <a:cubicBezTo>
                      <a:pt x="3997553" y="5055396"/>
                      <a:pt x="4278836" y="4884889"/>
                      <a:pt x="4540059" y="4686484"/>
                    </a:cubicBezTo>
                    <a:cubicBezTo>
                      <a:pt x="5050475" y="4300093"/>
                      <a:pt x="5477281" y="3814251"/>
                      <a:pt x="5794692" y="3258305"/>
                    </a:cubicBezTo>
                    <a:cubicBezTo>
                      <a:pt x="5944425" y="2995758"/>
                      <a:pt x="6068603" y="2719438"/>
                      <a:pt x="6165501" y="2433154"/>
                    </a:cubicBezTo>
                    <a:cubicBezTo>
                      <a:pt x="6229270" y="2244892"/>
                      <a:pt x="6281277" y="2052840"/>
                      <a:pt x="6321234" y="1858130"/>
                    </a:cubicBezTo>
                    <a:cubicBezTo>
                      <a:pt x="6360668" y="1663467"/>
                      <a:pt x="6388081" y="1466566"/>
                      <a:pt x="6403340" y="1268532"/>
                    </a:cubicBezTo>
                    <a:cubicBezTo>
                      <a:pt x="6406388" y="1219002"/>
                      <a:pt x="6410674" y="1169567"/>
                      <a:pt x="6412198" y="1119942"/>
                    </a:cubicBezTo>
                    <a:lnTo>
                      <a:pt x="6415246" y="1045647"/>
                    </a:lnTo>
                    <a:lnTo>
                      <a:pt x="6416580" y="971257"/>
                    </a:lnTo>
                    <a:lnTo>
                      <a:pt x="6416484" y="934205"/>
                    </a:lnTo>
                    <a:lnTo>
                      <a:pt x="6416484" y="898581"/>
                    </a:lnTo>
                    <a:lnTo>
                      <a:pt x="6416484" y="830192"/>
                    </a:lnTo>
                    <a:lnTo>
                      <a:pt x="6416484" y="693317"/>
                    </a:lnTo>
                    <a:lnTo>
                      <a:pt x="6419152" y="145916"/>
                    </a:lnTo>
                    <a:cubicBezTo>
                      <a:pt x="6419152" y="66001"/>
                      <a:pt x="6401530" y="-293"/>
                      <a:pt x="6389719" y="-293"/>
                    </a:cubicBezTo>
                    <a:cubicBezTo>
                      <a:pt x="6377908" y="-293"/>
                      <a:pt x="6359906" y="66382"/>
                      <a:pt x="6360382" y="145916"/>
                    </a:cubicBezTo>
                    <a:lnTo>
                      <a:pt x="6362954" y="693317"/>
                    </a:lnTo>
                    <a:lnTo>
                      <a:pt x="6363525" y="830192"/>
                    </a:lnTo>
                    <a:lnTo>
                      <a:pt x="6363525" y="898581"/>
                    </a:lnTo>
                    <a:lnTo>
                      <a:pt x="6363525" y="915155"/>
                    </a:lnTo>
                    <a:lnTo>
                      <a:pt x="6363525" y="933443"/>
                    </a:lnTo>
                    <a:lnTo>
                      <a:pt x="6363525" y="970209"/>
                    </a:lnTo>
                    <a:lnTo>
                      <a:pt x="6362668" y="1043742"/>
                    </a:lnTo>
                    <a:lnTo>
                      <a:pt x="6360192" y="1117371"/>
                    </a:lnTo>
                    <a:cubicBezTo>
                      <a:pt x="6359048" y="1166424"/>
                      <a:pt x="6355048" y="1215383"/>
                      <a:pt x="6352381" y="1264437"/>
                    </a:cubicBezTo>
                    <a:cubicBezTo>
                      <a:pt x="6338903" y="1460547"/>
                      <a:pt x="6313328" y="1655647"/>
                      <a:pt x="6275800" y="1848605"/>
                    </a:cubicBezTo>
                    <a:cubicBezTo>
                      <a:pt x="6237424" y="2041667"/>
                      <a:pt x="6187065" y="2232158"/>
                      <a:pt x="6125019" y="2418962"/>
                    </a:cubicBezTo>
                    <a:cubicBezTo>
                      <a:pt x="5292944" y="4889223"/>
                      <a:pt x="2615866" y="6217237"/>
                      <a:pt x="145605" y="5385161"/>
                    </a:cubicBezTo>
                    <a:cubicBezTo>
                      <a:pt x="96942" y="5368769"/>
                      <a:pt x="48545" y="5351586"/>
                      <a:pt x="444" y="53336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</p:grpSp>
      </p:grpSp>
      <p:sp>
        <p:nvSpPr>
          <p:cNvPr id="45" name="Rectangle 25">
            <a:extLst>
              <a:ext uri="{FF2B5EF4-FFF2-40B4-BE49-F238E27FC236}">
                <a16:creationId xmlns:a16="http://schemas.microsoft.com/office/drawing/2014/main" id="{1E26F92D-334E-495F-8B23-5F7AF7CC14C3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112627" y="1907355"/>
            <a:ext cx="9821512" cy="2732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44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Short Title Here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C0304DCA-BA1C-4C34-9F19-B099CA9DFE48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47" name="Freeform 8">
              <a:extLst>
                <a:ext uri="{FF2B5EF4-FFF2-40B4-BE49-F238E27FC236}">
                  <a16:creationId xmlns:a16="http://schemas.microsoft.com/office/drawing/2014/main" id="{05943A87-9BBD-41D4-90D8-CDED69906E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8" name="Freeform 9">
              <a:extLst>
                <a:ext uri="{FF2B5EF4-FFF2-40B4-BE49-F238E27FC236}">
                  <a16:creationId xmlns:a16="http://schemas.microsoft.com/office/drawing/2014/main" id="{8C04B8DC-D8E9-4538-971C-11784D8E63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9" name="Rectangle 10">
              <a:extLst>
                <a:ext uri="{FF2B5EF4-FFF2-40B4-BE49-F238E27FC236}">
                  <a16:creationId xmlns:a16="http://schemas.microsoft.com/office/drawing/2014/main" id="{C833B04A-F2CA-483A-8C5F-0DE17664F24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0" name="Freeform 11">
              <a:extLst>
                <a:ext uri="{FF2B5EF4-FFF2-40B4-BE49-F238E27FC236}">
                  <a16:creationId xmlns:a16="http://schemas.microsoft.com/office/drawing/2014/main" id="{508A447D-D7EA-4223-B725-D0637078C7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1" name="Rectangle 12">
              <a:extLst>
                <a:ext uri="{FF2B5EF4-FFF2-40B4-BE49-F238E27FC236}">
                  <a16:creationId xmlns:a16="http://schemas.microsoft.com/office/drawing/2014/main" id="{7423F6FE-27C3-4777-8BAF-FD85FF64814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2" name="Rectangle 13">
              <a:extLst>
                <a:ext uri="{FF2B5EF4-FFF2-40B4-BE49-F238E27FC236}">
                  <a16:creationId xmlns:a16="http://schemas.microsoft.com/office/drawing/2014/main" id="{FFA84D3E-FAD4-44A8-9597-0DFF8138503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3" name="Rectangle 14">
              <a:extLst>
                <a:ext uri="{FF2B5EF4-FFF2-40B4-BE49-F238E27FC236}">
                  <a16:creationId xmlns:a16="http://schemas.microsoft.com/office/drawing/2014/main" id="{F20E038B-07F0-4EFD-81AD-957017522E8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7C113182-7A58-41E9-A96F-01DDFC428AF4}"/>
              </a:ext>
            </a:extLst>
          </p:cNvPr>
          <p:cNvGrpSpPr/>
          <p:nvPr/>
        </p:nvGrpSpPr>
        <p:grpSpPr>
          <a:xfrm>
            <a:off x="11217203" y="6437490"/>
            <a:ext cx="549385" cy="213656"/>
            <a:chOff x="17092245" y="9730154"/>
            <a:chExt cx="833634" cy="356946"/>
          </a:xfrm>
        </p:grpSpPr>
        <p:sp>
          <p:nvSpPr>
            <p:cNvPr id="55" name="Freeform 8">
              <a:extLst>
                <a:ext uri="{FF2B5EF4-FFF2-40B4-BE49-F238E27FC236}">
                  <a16:creationId xmlns:a16="http://schemas.microsoft.com/office/drawing/2014/main" id="{F2206A34-38B0-4E10-9054-FA1B08B23C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6" name="Freeform 9">
              <a:extLst>
                <a:ext uri="{FF2B5EF4-FFF2-40B4-BE49-F238E27FC236}">
                  <a16:creationId xmlns:a16="http://schemas.microsoft.com/office/drawing/2014/main" id="{2FE2E19C-194A-4CD5-9B12-297D4E05F8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7" name="Rectangle 10">
              <a:extLst>
                <a:ext uri="{FF2B5EF4-FFF2-40B4-BE49-F238E27FC236}">
                  <a16:creationId xmlns:a16="http://schemas.microsoft.com/office/drawing/2014/main" id="{3F7DD1F5-71CA-48EE-965E-5A7FB45501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8" name="Freeform 11">
              <a:extLst>
                <a:ext uri="{FF2B5EF4-FFF2-40B4-BE49-F238E27FC236}">
                  <a16:creationId xmlns:a16="http://schemas.microsoft.com/office/drawing/2014/main" id="{805F371F-EC84-4854-A3C0-851D19BA1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9" name="Rectangle 12">
              <a:extLst>
                <a:ext uri="{FF2B5EF4-FFF2-40B4-BE49-F238E27FC236}">
                  <a16:creationId xmlns:a16="http://schemas.microsoft.com/office/drawing/2014/main" id="{1A58B993-EAA2-4A51-AE54-F2BDF6F836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0" name="Rectangle 13">
              <a:extLst>
                <a:ext uri="{FF2B5EF4-FFF2-40B4-BE49-F238E27FC236}">
                  <a16:creationId xmlns:a16="http://schemas.microsoft.com/office/drawing/2014/main" id="{13C23562-2F86-43D3-88AC-35E8785BBA3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1" name="Rectangle 14">
              <a:extLst>
                <a:ext uri="{FF2B5EF4-FFF2-40B4-BE49-F238E27FC236}">
                  <a16:creationId xmlns:a16="http://schemas.microsoft.com/office/drawing/2014/main" id="{E25377C3-B2E3-47D1-A041-7586590816B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35925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7F9BC7B-3CD4-4DF8-ACA7-248607D450B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687" t="17457"/>
          <a:stretch/>
        </p:blipFill>
        <p:spPr>
          <a:xfrm>
            <a:off x="4908256" y="0"/>
            <a:ext cx="7283744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1B644A6-FB65-4F2D-9F39-AA081BADE1AB}"/>
              </a:ext>
            </a:extLst>
          </p:cNvPr>
          <p:cNvSpPr/>
          <p:nvPr/>
        </p:nvSpPr>
        <p:spPr>
          <a:xfrm>
            <a:off x="0" y="0"/>
            <a:ext cx="5510717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8" name="AutoShape 3"/>
          <p:cNvSpPr>
            <a:spLocks noChangeAspect="1" noChangeArrowheads="1" noTextEdit="1"/>
          </p:cNvSpPr>
          <p:nvPr/>
        </p:nvSpPr>
        <p:spPr bwMode="auto">
          <a:xfrm>
            <a:off x="36732" y="0"/>
            <a:ext cx="12155268" cy="6841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894" tIns="30447" rIns="60894" bIns="30447" numCol="1" anchor="t" anchorCtr="0" compatLnSpc="1">
            <a:prstTxWarp prst="textNoShape">
              <a:avLst/>
            </a:prstTxWarp>
          </a:bodyPr>
          <a:lstStyle/>
          <a:p>
            <a:endParaRPr lang="en-US" sz="1199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4BDB438-7F11-4EC6-9226-CC9B46F99EC9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F8F72F32-0A1B-4A9F-8030-C0EB3B2FDE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2DD629BE-1733-4D4B-82E3-870C191315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08C8C39E-198F-4216-ADEF-C521E7FC76F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E5D0DFE8-80DC-4D13-B08B-36064EC58C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6" name="Rectangle 12">
              <a:extLst>
                <a:ext uri="{FF2B5EF4-FFF2-40B4-BE49-F238E27FC236}">
                  <a16:creationId xmlns:a16="http://schemas.microsoft.com/office/drawing/2014/main" id="{B446B7AD-FA29-4235-BDB2-E5784FA1716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7" name="Rectangle 13">
              <a:extLst>
                <a:ext uri="{FF2B5EF4-FFF2-40B4-BE49-F238E27FC236}">
                  <a16:creationId xmlns:a16="http://schemas.microsoft.com/office/drawing/2014/main" id="{14DD5E20-5527-4380-BCF8-D7B8DC0BD0F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8" name="Rectangle 14">
              <a:extLst>
                <a:ext uri="{FF2B5EF4-FFF2-40B4-BE49-F238E27FC236}">
                  <a16:creationId xmlns:a16="http://schemas.microsoft.com/office/drawing/2014/main" id="{FF9E4FC7-525D-4D51-A852-CAAD3FC7ED7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B0DE102B-9C49-45B5-ACFA-ED654A7917AE}"/>
              </a:ext>
            </a:extLst>
          </p:cNvPr>
          <p:cNvSpPr txBox="1">
            <a:spLocks/>
          </p:cNvSpPr>
          <p:nvPr/>
        </p:nvSpPr>
        <p:spPr>
          <a:xfrm>
            <a:off x="255595" y="6394658"/>
            <a:ext cx="857032" cy="365125"/>
          </a:xfrm>
          <a:prstGeom prst="rect">
            <a:avLst/>
          </a:prstGeom>
        </p:spPr>
        <p:txBody>
          <a:bodyPr vert="horz" wrap="square" lIns="163229" tIns="81610" rIns="163229" bIns="81610" numCol="1" anchor="ctr" anchorCtr="0" compatLnSpc="1">
            <a:prstTxWarp prst="textNoShape">
              <a:avLst/>
            </a:prstTxWarp>
          </a:bodyPr>
          <a:lstStyle>
            <a:defPPr>
              <a:defRPr lang="he-IL"/>
            </a:defPPr>
            <a:lvl1pPr marL="0" algn="l" defTabSz="914400" rtl="0" eaLnBrk="1" latinLnBrk="0" hangingPunct="1">
              <a:defRPr sz="1332" kern="1200">
                <a:solidFill>
                  <a:schemeClr val="bg1"/>
                </a:solidFill>
                <a:latin typeface="Arial MT Std Light" panose="020B0302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A3982E0-2161-4F1E-B714-5F8847C908CC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FD1BE81F-192E-4D3C-B025-7234DF0E02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29C9B649-FB45-4553-9110-1E1209C832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9" name="Rectangle 10">
              <a:extLst>
                <a:ext uri="{FF2B5EF4-FFF2-40B4-BE49-F238E27FC236}">
                  <a16:creationId xmlns:a16="http://schemas.microsoft.com/office/drawing/2014/main" id="{C4EFF128-9EE8-4AE0-883A-8FB9E7D89C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B5AFE8B6-3BB2-4DA5-8B32-87A4BE227C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1" name="Rectangle 12">
              <a:extLst>
                <a:ext uri="{FF2B5EF4-FFF2-40B4-BE49-F238E27FC236}">
                  <a16:creationId xmlns:a16="http://schemas.microsoft.com/office/drawing/2014/main" id="{B1639544-8DC0-40D6-8E0F-081C0EFE4D1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2" name="Rectangle 13">
              <a:extLst>
                <a:ext uri="{FF2B5EF4-FFF2-40B4-BE49-F238E27FC236}">
                  <a16:creationId xmlns:a16="http://schemas.microsoft.com/office/drawing/2014/main" id="{8C3139C1-7A67-4F1D-8DCB-4C193A12316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3" name="Rectangle 14">
              <a:extLst>
                <a:ext uri="{FF2B5EF4-FFF2-40B4-BE49-F238E27FC236}">
                  <a16:creationId xmlns:a16="http://schemas.microsoft.com/office/drawing/2014/main" id="{8B9B5AC2-DF49-4B2A-B0E2-F33FB50E418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10" name="Title 9">
            <a:extLst>
              <a:ext uri="{FF2B5EF4-FFF2-40B4-BE49-F238E27FC236}">
                <a16:creationId xmlns:a16="http://schemas.microsoft.com/office/drawing/2014/main" id="{A9762C66-29D9-4250-9DD3-5BB32E79F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651" y="443620"/>
            <a:ext cx="4768051" cy="5622202"/>
          </a:xfrm>
        </p:spPr>
        <p:txBody>
          <a:bodyPr/>
          <a:lstStyle>
            <a:lvl1pPr>
              <a:defRPr lang="aa-ET" sz="40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lvl="0" indent="0" algn="l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</a:pPr>
            <a:r>
              <a:rPr lang="en-US"/>
              <a:t>Click to edit Master title style</a:t>
            </a:r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2492770247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utoShape 3"/>
          <p:cNvSpPr>
            <a:spLocks noChangeAspect="1" noChangeArrowheads="1" noTextEdit="1"/>
          </p:cNvSpPr>
          <p:nvPr/>
        </p:nvSpPr>
        <p:spPr bwMode="auto">
          <a:xfrm>
            <a:off x="36732" y="0"/>
            <a:ext cx="12155268" cy="6841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894" tIns="30447" rIns="60894" bIns="30447" numCol="1" anchor="t" anchorCtr="0" compatLnSpc="1">
            <a:prstTxWarp prst="textNoShape">
              <a:avLst/>
            </a:prstTxWarp>
          </a:bodyPr>
          <a:lstStyle/>
          <a:p>
            <a:endParaRPr lang="en-US" sz="1199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4BDB438-7F11-4EC6-9226-CC9B46F99EC9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F8F72F32-0A1B-4A9F-8030-C0EB3B2FDE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2DD629BE-1733-4D4B-82E3-870C191315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08C8C39E-198F-4216-ADEF-C521E7FC76F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E5D0DFE8-80DC-4D13-B08B-36064EC58C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6" name="Rectangle 12">
              <a:extLst>
                <a:ext uri="{FF2B5EF4-FFF2-40B4-BE49-F238E27FC236}">
                  <a16:creationId xmlns:a16="http://schemas.microsoft.com/office/drawing/2014/main" id="{B446B7AD-FA29-4235-BDB2-E5784FA1716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7" name="Rectangle 13">
              <a:extLst>
                <a:ext uri="{FF2B5EF4-FFF2-40B4-BE49-F238E27FC236}">
                  <a16:creationId xmlns:a16="http://schemas.microsoft.com/office/drawing/2014/main" id="{14DD5E20-5527-4380-BCF8-D7B8DC0BD0F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8" name="Rectangle 14">
              <a:extLst>
                <a:ext uri="{FF2B5EF4-FFF2-40B4-BE49-F238E27FC236}">
                  <a16:creationId xmlns:a16="http://schemas.microsoft.com/office/drawing/2014/main" id="{FF9E4FC7-525D-4D51-A852-CAAD3FC7ED7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F7F9BC7B-3CD4-4DF8-ACA7-248607D450B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8" r="37370"/>
          <a:stretch/>
        </p:blipFill>
        <p:spPr>
          <a:xfrm>
            <a:off x="4908256" y="0"/>
            <a:ext cx="7283744" cy="6858000"/>
          </a:xfrm>
          <a:prstGeom prst="rect">
            <a:avLst/>
          </a:prstGeom>
        </p:spPr>
      </p:pic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B0DE102B-9C49-45B5-ACFA-ED654A7917AE}"/>
              </a:ext>
            </a:extLst>
          </p:cNvPr>
          <p:cNvSpPr txBox="1">
            <a:spLocks/>
          </p:cNvSpPr>
          <p:nvPr/>
        </p:nvSpPr>
        <p:spPr>
          <a:xfrm>
            <a:off x="255595" y="6394658"/>
            <a:ext cx="857032" cy="365125"/>
          </a:xfrm>
          <a:prstGeom prst="rect">
            <a:avLst/>
          </a:prstGeom>
        </p:spPr>
        <p:txBody>
          <a:bodyPr vert="horz" wrap="square" lIns="163229" tIns="81610" rIns="163229" bIns="81610" numCol="1" anchor="ctr" anchorCtr="0" compatLnSpc="1">
            <a:prstTxWarp prst="textNoShape">
              <a:avLst/>
            </a:prstTxWarp>
          </a:bodyPr>
          <a:lstStyle>
            <a:defPPr>
              <a:defRPr lang="he-IL"/>
            </a:defPPr>
            <a:lvl1pPr marL="0" algn="l" defTabSz="914400" rtl="0" eaLnBrk="1" latinLnBrk="0" hangingPunct="1">
              <a:defRPr sz="1332" kern="1200">
                <a:solidFill>
                  <a:schemeClr val="bg1"/>
                </a:solidFill>
                <a:latin typeface="Arial MT Std Light" panose="020B0302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A3982E0-2161-4F1E-B714-5F8847C908CC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FD1BE81F-192E-4D3C-B025-7234DF0E02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29C9B649-FB45-4553-9110-1E1209C832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9" name="Rectangle 10">
              <a:extLst>
                <a:ext uri="{FF2B5EF4-FFF2-40B4-BE49-F238E27FC236}">
                  <a16:creationId xmlns:a16="http://schemas.microsoft.com/office/drawing/2014/main" id="{C4EFF128-9EE8-4AE0-883A-8FB9E7D89C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B5AFE8B6-3BB2-4DA5-8B32-87A4BE227C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1" name="Rectangle 12">
              <a:extLst>
                <a:ext uri="{FF2B5EF4-FFF2-40B4-BE49-F238E27FC236}">
                  <a16:creationId xmlns:a16="http://schemas.microsoft.com/office/drawing/2014/main" id="{B1639544-8DC0-40D6-8E0F-081C0EFE4D1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2" name="Rectangle 13">
              <a:extLst>
                <a:ext uri="{FF2B5EF4-FFF2-40B4-BE49-F238E27FC236}">
                  <a16:creationId xmlns:a16="http://schemas.microsoft.com/office/drawing/2014/main" id="{8C3139C1-7A67-4F1D-8DCB-4C193A12316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3" name="Rectangle 14">
              <a:extLst>
                <a:ext uri="{FF2B5EF4-FFF2-40B4-BE49-F238E27FC236}">
                  <a16:creationId xmlns:a16="http://schemas.microsoft.com/office/drawing/2014/main" id="{8B9B5AC2-DF49-4B2A-B0E2-F33FB50E418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7671FD3D-580D-4557-970E-A7FD5A6B8074}"/>
              </a:ext>
            </a:extLst>
          </p:cNvPr>
          <p:cNvSpPr/>
          <p:nvPr/>
        </p:nvSpPr>
        <p:spPr>
          <a:xfrm>
            <a:off x="0" y="0"/>
            <a:ext cx="5510717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35" name="Title 9">
            <a:extLst>
              <a:ext uri="{FF2B5EF4-FFF2-40B4-BE49-F238E27FC236}">
                <a16:creationId xmlns:a16="http://schemas.microsoft.com/office/drawing/2014/main" id="{06044200-8373-45DD-880D-9D71010A7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651" y="443620"/>
            <a:ext cx="4768051" cy="5622202"/>
          </a:xfrm>
        </p:spPr>
        <p:txBody>
          <a:bodyPr/>
          <a:lstStyle>
            <a:lvl1pPr>
              <a:defRPr lang="aa-ET" sz="40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lvl="0" indent="0" algn="l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</a:pPr>
            <a:r>
              <a:rPr lang="en-US"/>
              <a:t>Click to edit Master title style</a:t>
            </a:r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3167558933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54555E14-22CA-4D8C-B245-BE40EAD5928D}"/>
              </a:ext>
            </a:extLst>
          </p:cNvPr>
          <p:cNvSpPr/>
          <p:nvPr/>
        </p:nvSpPr>
        <p:spPr>
          <a:xfrm>
            <a:off x="1715306" y="3430613"/>
            <a:ext cx="1715306" cy="13447"/>
          </a:xfrm>
          <a:custGeom>
            <a:avLst/>
            <a:gdLst>
              <a:gd name="connsiteX0" fmla="*/ 0 w 1715306"/>
              <a:gd name="connsiteY0" fmla="*/ 0 h 13447"/>
              <a:gd name="connsiteX1" fmla="*/ 1715307 w 1715306"/>
              <a:gd name="connsiteY1" fmla="*/ 0 h 13447"/>
              <a:gd name="connsiteX2" fmla="*/ 1715307 w 1715306"/>
              <a:gd name="connsiteY2" fmla="*/ 0 h 13447"/>
              <a:gd name="connsiteX3" fmla="*/ 0 w 1715306"/>
              <a:gd name="connsiteY3" fmla="*/ 0 h 13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15306" h="13447">
                <a:moveTo>
                  <a:pt x="0" y="0"/>
                </a:moveTo>
                <a:lnTo>
                  <a:pt x="1715307" y="0"/>
                </a:lnTo>
                <a:lnTo>
                  <a:pt x="1715307" y="0"/>
                </a:lnTo>
                <a:lnTo>
                  <a:pt x="0" y="0"/>
                </a:lnTo>
                <a:close/>
              </a:path>
            </a:pathLst>
          </a:custGeom>
          <a:solidFill>
            <a:srgbClr val="ED3493"/>
          </a:solidFill>
          <a:ln w="13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E438FB1-9588-4BAD-99C1-7B154D484B64}"/>
              </a:ext>
            </a:extLst>
          </p:cNvPr>
          <p:cNvSpPr/>
          <p:nvPr/>
        </p:nvSpPr>
        <p:spPr>
          <a:xfrm>
            <a:off x="0" y="3430613"/>
            <a:ext cx="1072537" cy="13447"/>
          </a:xfrm>
          <a:custGeom>
            <a:avLst/>
            <a:gdLst>
              <a:gd name="connsiteX0" fmla="*/ 0 w 1072537"/>
              <a:gd name="connsiteY0" fmla="*/ 0 h 13447"/>
              <a:gd name="connsiteX1" fmla="*/ 1072538 w 1072537"/>
              <a:gd name="connsiteY1" fmla="*/ 0 h 13447"/>
              <a:gd name="connsiteX2" fmla="*/ 1072538 w 1072537"/>
              <a:gd name="connsiteY2" fmla="*/ 0 h 13447"/>
              <a:gd name="connsiteX3" fmla="*/ 0 w 1072537"/>
              <a:gd name="connsiteY3" fmla="*/ 0 h 13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2537" h="13447">
                <a:moveTo>
                  <a:pt x="0" y="0"/>
                </a:moveTo>
                <a:lnTo>
                  <a:pt x="1072538" y="0"/>
                </a:lnTo>
                <a:lnTo>
                  <a:pt x="1072538" y="0"/>
                </a:lnTo>
                <a:lnTo>
                  <a:pt x="0" y="0"/>
                </a:lnTo>
                <a:close/>
              </a:path>
            </a:pathLst>
          </a:custGeom>
          <a:solidFill>
            <a:srgbClr val="ED3493"/>
          </a:solidFill>
          <a:ln w="13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931D5B2-4909-447A-8B0A-D5EEB60BE25A}"/>
              </a:ext>
            </a:extLst>
          </p:cNvPr>
          <p:cNvSpPr/>
          <p:nvPr/>
        </p:nvSpPr>
        <p:spPr>
          <a:xfrm>
            <a:off x="0" y="0"/>
            <a:ext cx="3242511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grpSp>
        <p:nvGrpSpPr>
          <p:cNvPr id="17" name="Graphic 6">
            <a:extLst>
              <a:ext uri="{FF2B5EF4-FFF2-40B4-BE49-F238E27FC236}">
                <a16:creationId xmlns:a16="http://schemas.microsoft.com/office/drawing/2014/main" id="{1E5A3F77-29C1-46A5-BBF3-B204477C48AD}"/>
              </a:ext>
            </a:extLst>
          </p:cNvPr>
          <p:cNvGrpSpPr/>
          <p:nvPr/>
        </p:nvGrpSpPr>
        <p:grpSpPr>
          <a:xfrm>
            <a:off x="682806" y="4537956"/>
            <a:ext cx="1876897" cy="1568143"/>
            <a:chOff x="675385" y="4919794"/>
            <a:chExt cx="1876897" cy="1568143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AA16130E-9E57-4324-A058-BE89CCFC34EF}"/>
                </a:ext>
              </a:extLst>
            </p:cNvPr>
            <p:cNvSpPr/>
            <p:nvPr/>
          </p:nvSpPr>
          <p:spPr>
            <a:xfrm>
              <a:off x="881654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solidFill>
              <a:schemeClr val="accent1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77201AA-D6C3-41DB-A3AE-E9444A012CE1}"/>
                </a:ext>
              </a:extLst>
            </p:cNvPr>
            <p:cNvSpPr/>
            <p:nvPr/>
          </p:nvSpPr>
          <p:spPr>
            <a:xfrm>
              <a:off x="1473513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solidFill>
              <a:schemeClr val="accent1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23A3D84-B5BE-46B2-824F-ACE46EA723FF}"/>
                </a:ext>
              </a:extLst>
            </p:cNvPr>
            <p:cNvSpPr/>
            <p:nvPr/>
          </p:nvSpPr>
          <p:spPr>
            <a:xfrm>
              <a:off x="673859" y="4919793"/>
              <a:ext cx="1879452" cy="1570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adFill flip="none" rotWithShape="1">
              <a:gsLst>
                <a:gs pos="27000">
                  <a:schemeClr val="accent1"/>
                </a:gs>
                <a:gs pos="100000">
                  <a:schemeClr val="accent6"/>
                </a:gs>
              </a:gsLst>
              <a:lin ang="10800000" scaled="1"/>
              <a:tileRect/>
            </a:gra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1974642" y="633046"/>
            <a:ext cx="839458" cy="3013984"/>
            <a:chOff x="3796071" y="1627814"/>
            <a:chExt cx="992307" cy="3562771"/>
          </a:xfrm>
          <a:solidFill>
            <a:schemeClr val="bg1"/>
          </a:solidFill>
        </p:grpSpPr>
        <p:sp>
          <p:nvSpPr>
            <p:cNvPr id="13" name="Freeform 14"/>
            <p:cNvSpPr>
              <a:spLocks noEditPoints="1"/>
            </p:cNvSpPr>
            <p:nvPr userDrawn="1"/>
          </p:nvSpPr>
          <p:spPr bwMode="auto">
            <a:xfrm rot="16200000">
              <a:off x="3885964" y="4522027"/>
              <a:ext cx="620650" cy="716466"/>
            </a:xfrm>
            <a:custGeom>
              <a:avLst/>
              <a:gdLst>
                <a:gd name="T0" fmla="*/ 97 w 226"/>
                <a:gd name="T1" fmla="*/ 0 h 254"/>
                <a:gd name="T2" fmla="*/ 0 w 226"/>
                <a:gd name="T3" fmla="*/ 254 h 254"/>
                <a:gd name="T4" fmla="*/ 29 w 226"/>
                <a:gd name="T5" fmla="*/ 254 h 254"/>
                <a:gd name="T6" fmla="*/ 55 w 226"/>
                <a:gd name="T7" fmla="*/ 184 h 254"/>
                <a:gd name="T8" fmla="*/ 169 w 226"/>
                <a:gd name="T9" fmla="*/ 184 h 254"/>
                <a:gd name="T10" fmla="*/ 195 w 226"/>
                <a:gd name="T11" fmla="*/ 254 h 254"/>
                <a:gd name="T12" fmla="*/ 226 w 226"/>
                <a:gd name="T13" fmla="*/ 254 h 254"/>
                <a:gd name="T14" fmla="*/ 129 w 226"/>
                <a:gd name="T15" fmla="*/ 0 h 254"/>
                <a:gd name="T16" fmla="*/ 97 w 226"/>
                <a:gd name="T17" fmla="*/ 0 h 254"/>
                <a:gd name="T18" fmla="*/ 158 w 226"/>
                <a:gd name="T19" fmla="*/ 156 h 254"/>
                <a:gd name="T20" fmla="*/ 66 w 226"/>
                <a:gd name="T21" fmla="*/ 156 h 254"/>
                <a:gd name="T22" fmla="*/ 91 w 226"/>
                <a:gd name="T23" fmla="*/ 91 h 254"/>
                <a:gd name="T24" fmla="*/ 97 w 226"/>
                <a:gd name="T25" fmla="*/ 73 h 254"/>
                <a:gd name="T26" fmla="*/ 104 w 226"/>
                <a:gd name="T27" fmla="*/ 54 h 254"/>
                <a:gd name="T28" fmla="*/ 110 w 226"/>
                <a:gd name="T29" fmla="*/ 36 h 254"/>
                <a:gd name="T30" fmla="*/ 112 w 226"/>
                <a:gd name="T31" fmla="*/ 28 h 254"/>
                <a:gd name="T32" fmla="*/ 114 w 226"/>
                <a:gd name="T33" fmla="*/ 34 h 254"/>
                <a:gd name="T34" fmla="*/ 121 w 226"/>
                <a:gd name="T35" fmla="*/ 54 h 254"/>
                <a:gd name="T36" fmla="*/ 127 w 226"/>
                <a:gd name="T37" fmla="*/ 73 h 254"/>
                <a:gd name="T38" fmla="*/ 133 w 226"/>
                <a:gd name="T39" fmla="*/ 89 h 254"/>
                <a:gd name="T40" fmla="*/ 158 w 226"/>
                <a:gd name="T41" fmla="*/ 156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6" h="254">
                  <a:moveTo>
                    <a:pt x="97" y="0"/>
                  </a:moveTo>
                  <a:cubicBezTo>
                    <a:pt x="0" y="254"/>
                    <a:pt x="0" y="254"/>
                    <a:pt x="0" y="254"/>
                  </a:cubicBezTo>
                  <a:cubicBezTo>
                    <a:pt x="29" y="254"/>
                    <a:pt x="29" y="254"/>
                    <a:pt x="29" y="254"/>
                  </a:cubicBezTo>
                  <a:cubicBezTo>
                    <a:pt x="55" y="184"/>
                    <a:pt x="55" y="184"/>
                    <a:pt x="55" y="184"/>
                  </a:cubicBezTo>
                  <a:cubicBezTo>
                    <a:pt x="169" y="184"/>
                    <a:pt x="169" y="184"/>
                    <a:pt x="169" y="184"/>
                  </a:cubicBezTo>
                  <a:cubicBezTo>
                    <a:pt x="195" y="254"/>
                    <a:pt x="195" y="254"/>
                    <a:pt x="195" y="254"/>
                  </a:cubicBezTo>
                  <a:cubicBezTo>
                    <a:pt x="226" y="254"/>
                    <a:pt x="226" y="254"/>
                    <a:pt x="226" y="254"/>
                  </a:cubicBezTo>
                  <a:cubicBezTo>
                    <a:pt x="129" y="0"/>
                    <a:pt x="129" y="0"/>
                    <a:pt x="129" y="0"/>
                  </a:cubicBezTo>
                  <a:lnTo>
                    <a:pt x="97" y="0"/>
                  </a:lnTo>
                  <a:close/>
                  <a:moveTo>
                    <a:pt x="158" y="156"/>
                  </a:moveTo>
                  <a:cubicBezTo>
                    <a:pt x="66" y="156"/>
                    <a:pt x="66" y="156"/>
                    <a:pt x="66" y="156"/>
                  </a:cubicBezTo>
                  <a:cubicBezTo>
                    <a:pt x="91" y="91"/>
                    <a:pt x="91" y="91"/>
                    <a:pt x="91" y="91"/>
                  </a:cubicBezTo>
                  <a:cubicBezTo>
                    <a:pt x="93" y="85"/>
                    <a:pt x="95" y="79"/>
                    <a:pt x="97" y="73"/>
                  </a:cubicBezTo>
                  <a:cubicBezTo>
                    <a:pt x="99" y="67"/>
                    <a:pt x="101" y="60"/>
                    <a:pt x="104" y="54"/>
                  </a:cubicBezTo>
                  <a:cubicBezTo>
                    <a:pt x="106" y="48"/>
                    <a:pt x="108" y="42"/>
                    <a:pt x="110" y="36"/>
                  </a:cubicBezTo>
                  <a:cubicBezTo>
                    <a:pt x="111" y="33"/>
                    <a:pt x="112" y="31"/>
                    <a:pt x="112" y="28"/>
                  </a:cubicBezTo>
                  <a:cubicBezTo>
                    <a:pt x="113" y="30"/>
                    <a:pt x="114" y="32"/>
                    <a:pt x="114" y="34"/>
                  </a:cubicBezTo>
                  <a:cubicBezTo>
                    <a:pt x="116" y="40"/>
                    <a:pt x="119" y="47"/>
                    <a:pt x="121" y="54"/>
                  </a:cubicBezTo>
                  <a:cubicBezTo>
                    <a:pt x="123" y="60"/>
                    <a:pt x="125" y="67"/>
                    <a:pt x="127" y="73"/>
                  </a:cubicBezTo>
                  <a:cubicBezTo>
                    <a:pt x="129" y="79"/>
                    <a:pt x="131" y="84"/>
                    <a:pt x="133" y="89"/>
                  </a:cubicBezTo>
                  <a:lnTo>
                    <a:pt x="158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4" name="Freeform 15"/>
            <p:cNvSpPr>
              <a:spLocks noEditPoints="1"/>
            </p:cNvSpPr>
            <p:nvPr userDrawn="1"/>
          </p:nvSpPr>
          <p:spPr bwMode="auto">
            <a:xfrm rot="16200000">
              <a:off x="4138267" y="3872081"/>
              <a:ext cx="519198" cy="781025"/>
            </a:xfrm>
            <a:custGeom>
              <a:avLst/>
              <a:gdLst>
                <a:gd name="T0" fmla="*/ 161 w 189"/>
                <a:gd name="T1" fmla="*/ 36 h 277"/>
                <a:gd name="T2" fmla="*/ 149 w 189"/>
                <a:gd name="T3" fmla="*/ 22 h 277"/>
                <a:gd name="T4" fmla="*/ 133 w 189"/>
                <a:gd name="T5" fmla="*/ 11 h 277"/>
                <a:gd name="T6" fmla="*/ 114 w 189"/>
                <a:gd name="T7" fmla="*/ 3 h 277"/>
                <a:gd name="T8" fmla="*/ 92 w 189"/>
                <a:gd name="T9" fmla="*/ 0 h 277"/>
                <a:gd name="T10" fmla="*/ 45 w 189"/>
                <a:gd name="T11" fmla="*/ 13 h 277"/>
                <a:gd name="T12" fmla="*/ 13 w 189"/>
                <a:gd name="T13" fmla="*/ 48 h 277"/>
                <a:gd name="T14" fmla="*/ 0 w 189"/>
                <a:gd name="T15" fmla="*/ 99 h 277"/>
                <a:gd name="T16" fmla="*/ 12 w 189"/>
                <a:gd name="T17" fmla="*/ 150 h 277"/>
                <a:gd name="T18" fmla="*/ 45 w 189"/>
                <a:gd name="T19" fmla="*/ 185 h 277"/>
                <a:gd name="T20" fmla="*/ 93 w 189"/>
                <a:gd name="T21" fmla="*/ 197 h 277"/>
                <a:gd name="T22" fmla="*/ 126 w 189"/>
                <a:gd name="T23" fmla="*/ 190 h 277"/>
                <a:gd name="T24" fmla="*/ 152 w 189"/>
                <a:gd name="T25" fmla="*/ 171 h 277"/>
                <a:gd name="T26" fmla="*/ 162 w 189"/>
                <a:gd name="T27" fmla="*/ 157 h 277"/>
                <a:gd name="T28" fmla="*/ 162 w 189"/>
                <a:gd name="T29" fmla="*/ 183 h 277"/>
                <a:gd name="T30" fmla="*/ 154 w 189"/>
                <a:gd name="T31" fmla="*/ 221 h 277"/>
                <a:gd name="T32" fmla="*/ 132 w 189"/>
                <a:gd name="T33" fmla="*/ 244 h 277"/>
                <a:gd name="T34" fmla="*/ 96 w 189"/>
                <a:gd name="T35" fmla="*/ 252 h 277"/>
                <a:gd name="T36" fmla="*/ 73 w 189"/>
                <a:gd name="T37" fmla="*/ 249 h 277"/>
                <a:gd name="T38" fmla="*/ 52 w 189"/>
                <a:gd name="T39" fmla="*/ 242 h 277"/>
                <a:gd name="T40" fmla="*/ 35 w 189"/>
                <a:gd name="T41" fmla="*/ 231 h 277"/>
                <a:gd name="T42" fmla="*/ 24 w 189"/>
                <a:gd name="T43" fmla="*/ 254 h 277"/>
                <a:gd name="T44" fmla="*/ 56 w 189"/>
                <a:gd name="T45" fmla="*/ 271 h 277"/>
                <a:gd name="T46" fmla="*/ 95 w 189"/>
                <a:gd name="T47" fmla="*/ 277 h 277"/>
                <a:gd name="T48" fmla="*/ 134 w 189"/>
                <a:gd name="T49" fmla="*/ 271 h 277"/>
                <a:gd name="T50" fmla="*/ 163 w 189"/>
                <a:gd name="T51" fmla="*/ 252 h 277"/>
                <a:gd name="T52" fmla="*/ 183 w 189"/>
                <a:gd name="T53" fmla="*/ 222 h 277"/>
                <a:gd name="T54" fmla="*/ 189 w 189"/>
                <a:gd name="T55" fmla="*/ 182 h 277"/>
                <a:gd name="T56" fmla="*/ 189 w 189"/>
                <a:gd name="T57" fmla="*/ 4 h 277"/>
                <a:gd name="T58" fmla="*/ 162 w 189"/>
                <a:gd name="T59" fmla="*/ 4 h 277"/>
                <a:gd name="T60" fmla="*/ 161 w 189"/>
                <a:gd name="T61" fmla="*/ 36 h 277"/>
                <a:gd name="T62" fmla="*/ 130 w 189"/>
                <a:gd name="T63" fmla="*/ 162 h 277"/>
                <a:gd name="T64" fmla="*/ 96 w 189"/>
                <a:gd name="T65" fmla="*/ 171 h 277"/>
                <a:gd name="T66" fmla="*/ 61 w 189"/>
                <a:gd name="T67" fmla="*/ 162 h 277"/>
                <a:gd name="T68" fmla="*/ 37 w 189"/>
                <a:gd name="T69" fmla="*/ 136 h 277"/>
                <a:gd name="T70" fmla="*/ 29 w 189"/>
                <a:gd name="T71" fmla="*/ 99 h 277"/>
                <a:gd name="T72" fmla="*/ 37 w 189"/>
                <a:gd name="T73" fmla="*/ 61 h 277"/>
                <a:gd name="T74" fmla="*/ 61 w 189"/>
                <a:gd name="T75" fmla="*/ 35 h 277"/>
                <a:gd name="T76" fmla="*/ 96 w 189"/>
                <a:gd name="T77" fmla="*/ 26 h 277"/>
                <a:gd name="T78" fmla="*/ 130 w 189"/>
                <a:gd name="T79" fmla="*/ 35 h 277"/>
                <a:gd name="T80" fmla="*/ 154 w 189"/>
                <a:gd name="T81" fmla="*/ 61 h 277"/>
                <a:gd name="T82" fmla="*/ 163 w 189"/>
                <a:gd name="T83" fmla="*/ 99 h 277"/>
                <a:gd name="T84" fmla="*/ 154 w 189"/>
                <a:gd name="T85" fmla="*/ 136 h 277"/>
                <a:gd name="T86" fmla="*/ 130 w 189"/>
                <a:gd name="T87" fmla="*/ 162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9" h="277">
                  <a:moveTo>
                    <a:pt x="161" y="36"/>
                  </a:moveTo>
                  <a:cubicBezTo>
                    <a:pt x="158" y="31"/>
                    <a:pt x="154" y="27"/>
                    <a:pt x="149" y="22"/>
                  </a:cubicBezTo>
                  <a:cubicBezTo>
                    <a:pt x="144" y="18"/>
                    <a:pt x="139" y="14"/>
                    <a:pt x="133" y="11"/>
                  </a:cubicBezTo>
                  <a:cubicBezTo>
                    <a:pt x="127" y="7"/>
                    <a:pt x="121" y="5"/>
                    <a:pt x="114" y="3"/>
                  </a:cubicBezTo>
                  <a:cubicBezTo>
                    <a:pt x="107" y="1"/>
                    <a:pt x="99" y="0"/>
                    <a:pt x="92" y="0"/>
                  </a:cubicBezTo>
                  <a:cubicBezTo>
                    <a:pt x="75" y="0"/>
                    <a:pt x="59" y="4"/>
                    <a:pt x="45" y="13"/>
                  </a:cubicBezTo>
                  <a:cubicBezTo>
                    <a:pt x="32" y="21"/>
                    <a:pt x="21" y="33"/>
                    <a:pt x="13" y="48"/>
                  </a:cubicBezTo>
                  <a:cubicBezTo>
                    <a:pt x="4" y="63"/>
                    <a:pt x="0" y="80"/>
                    <a:pt x="0" y="99"/>
                  </a:cubicBezTo>
                  <a:cubicBezTo>
                    <a:pt x="0" y="118"/>
                    <a:pt x="4" y="135"/>
                    <a:pt x="12" y="150"/>
                  </a:cubicBezTo>
                  <a:cubicBezTo>
                    <a:pt x="20" y="164"/>
                    <a:pt x="31" y="176"/>
                    <a:pt x="45" y="185"/>
                  </a:cubicBezTo>
                  <a:cubicBezTo>
                    <a:pt x="59" y="193"/>
                    <a:pt x="75" y="197"/>
                    <a:pt x="93" y="197"/>
                  </a:cubicBezTo>
                  <a:cubicBezTo>
                    <a:pt x="104" y="197"/>
                    <a:pt x="115" y="195"/>
                    <a:pt x="126" y="190"/>
                  </a:cubicBezTo>
                  <a:cubicBezTo>
                    <a:pt x="136" y="185"/>
                    <a:pt x="145" y="179"/>
                    <a:pt x="152" y="171"/>
                  </a:cubicBezTo>
                  <a:cubicBezTo>
                    <a:pt x="156" y="167"/>
                    <a:pt x="159" y="162"/>
                    <a:pt x="162" y="157"/>
                  </a:cubicBezTo>
                  <a:cubicBezTo>
                    <a:pt x="162" y="183"/>
                    <a:pt x="162" y="183"/>
                    <a:pt x="162" y="183"/>
                  </a:cubicBezTo>
                  <a:cubicBezTo>
                    <a:pt x="162" y="198"/>
                    <a:pt x="159" y="211"/>
                    <a:pt x="154" y="221"/>
                  </a:cubicBezTo>
                  <a:cubicBezTo>
                    <a:pt x="149" y="231"/>
                    <a:pt x="141" y="239"/>
                    <a:pt x="132" y="244"/>
                  </a:cubicBezTo>
                  <a:cubicBezTo>
                    <a:pt x="122" y="249"/>
                    <a:pt x="110" y="252"/>
                    <a:pt x="96" y="252"/>
                  </a:cubicBezTo>
                  <a:cubicBezTo>
                    <a:pt x="88" y="252"/>
                    <a:pt x="80" y="251"/>
                    <a:pt x="73" y="249"/>
                  </a:cubicBezTo>
                  <a:cubicBezTo>
                    <a:pt x="65" y="247"/>
                    <a:pt x="59" y="245"/>
                    <a:pt x="52" y="242"/>
                  </a:cubicBezTo>
                  <a:cubicBezTo>
                    <a:pt x="46" y="239"/>
                    <a:pt x="40" y="235"/>
                    <a:pt x="35" y="231"/>
                  </a:cubicBezTo>
                  <a:cubicBezTo>
                    <a:pt x="24" y="254"/>
                    <a:pt x="24" y="254"/>
                    <a:pt x="24" y="254"/>
                  </a:cubicBezTo>
                  <a:cubicBezTo>
                    <a:pt x="33" y="261"/>
                    <a:pt x="43" y="266"/>
                    <a:pt x="56" y="271"/>
                  </a:cubicBezTo>
                  <a:cubicBezTo>
                    <a:pt x="68" y="275"/>
                    <a:pt x="81" y="277"/>
                    <a:pt x="95" y="277"/>
                  </a:cubicBezTo>
                  <a:cubicBezTo>
                    <a:pt x="109" y="277"/>
                    <a:pt x="122" y="275"/>
                    <a:pt x="134" y="271"/>
                  </a:cubicBezTo>
                  <a:cubicBezTo>
                    <a:pt x="145" y="267"/>
                    <a:pt x="155" y="260"/>
                    <a:pt x="163" y="252"/>
                  </a:cubicBezTo>
                  <a:cubicBezTo>
                    <a:pt x="172" y="244"/>
                    <a:pt x="178" y="234"/>
                    <a:pt x="183" y="222"/>
                  </a:cubicBezTo>
                  <a:cubicBezTo>
                    <a:pt x="187" y="211"/>
                    <a:pt x="189" y="197"/>
                    <a:pt x="189" y="182"/>
                  </a:cubicBezTo>
                  <a:cubicBezTo>
                    <a:pt x="189" y="4"/>
                    <a:pt x="189" y="4"/>
                    <a:pt x="189" y="4"/>
                  </a:cubicBezTo>
                  <a:cubicBezTo>
                    <a:pt x="162" y="4"/>
                    <a:pt x="162" y="4"/>
                    <a:pt x="162" y="4"/>
                  </a:cubicBezTo>
                  <a:lnTo>
                    <a:pt x="161" y="36"/>
                  </a:lnTo>
                  <a:close/>
                  <a:moveTo>
                    <a:pt x="130" y="162"/>
                  </a:moveTo>
                  <a:cubicBezTo>
                    <a:pt x="120" y="168"/>
                    <a:pt x="109" y="171"/>
                    <a:pt x="96" y="171"/>
                  </a:cubicBezTo>
                  <a:cubicBezTo>
                    <a:pt x="83" y="171"/>
                    <a:pt x="71" y="168"/>
                    <a:pt x="61" y="162"/>
                  </a:cubicBezTo>
                  <a:cubicBezTo>
                    <a:pt x="51" y="155"/>
                    <a:pt x="43" y="147"/>
                    <a:pt x="37" y="136"/>
                  </a:cubicBezTo>
                  <a:cubicBezTo>
                    <a:pt x="32" y="125"/>
                    <a:pt x="29" y="112"/>
                    <a:pt x="29" y="99"/>
                  </a:cubicBezTo>
                  <a:cubicBezTo>
                    <a:pt x="29" y="85"/>
                    <a:pt x="32" y="72"/>
                    <a:pt x="37" y="61"/>
                  </a:cubicBezTo>
                  <a:cubicBezTo>
                    <a:pt x="43" y="50"/>
                    <a:pt x="51" y="42"/>
                    <a:pt x="61" y="35"/>
                  </a:cubicBezTo>
                  <a:cubicBezTo>
                    <a:pt x="71" y="29"/>
                    <a:pt x="83" y="26"/>
                    <a:pt x="96" y="26"/>
                  </a:cubicBezTo>
                  <a:cubicBezTo>
                    <a:pt x="109" y="26"/>
                    <a:pt x="120" y="29"/>
                    <a:pt x="130" y="35"/>
                  </a:cubicBezTo>
                  <a:cubicBezTo>
                    <a:pt x="140" y="42"/>
                    <a:pt x="148" y="50"/>
                    <a:pt x="154" y="61"/>
                  </a:cubicBezTo>
                  <a:cubicBezTo>
                    <a:pt x="160" y="72"/>
                    <a:pt x="163" y="85"/>
                    <a:pt x="163" y="99"/>
                  </a:cubicBezTo>
                  <a:cubicBezTo>
                    <a:pt x="163" y="113"/>
                    <a:pt x="160" y="125"/>
                    <a:pt x="154" y="136"/>
                  </a:cubicBezTo>
                  <a:cubicBezTo>
                    <a:pt x="148" y="147"/>
                    <a:pt x="140" y="156"/>
                    <a:pt x="130" y="1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5" name="Freeform 16"/>
            <p:cNvSpPr>
              <a:spLocks noEditPoints="1"/>
            </p:cNvSpPr>
            <p:nvPr userDrawn="1"/>
          </p:nvSpPr>
          <p:spPr bwMode="auto">
            <a:xfrm rot="16200000">
              <a:off x="4037338" y="3370264"/>
              <a:ext cx="495327" cy="555295"/>
            </a:xfrm>
            <a:custGeom>
              <a:avLst/>
              <a:gdLst>
                <a:gd name="T0" fmla="*/ 156 w 179"/>
                <a:gd name="T1" fmla="*/ 26 h 197"/>
                <a:gd name="T2" fmla="*/ 129 w 179"/>
                <a:gd name="T3" fmla="*/ 7 h 197"/>
                <a:gd name="T4" fmla="*/ 94 w 179"/>
                <a:gd name="T5" fmla="*/ 0 h 197"/>
                <a:gd name="T6" fmla="*/ 56 w 179"/>
                <a:gd name="T7" fmla="*/ 7 h 197"/>
                <a:gd name="T8" fmla="*/ 26 w 179"/>
                <a:gd name="T9" fmla="*/ 28 h 197"/>
                <a:gd name="T10" fmla="*/ 7 w 179"/>
                <a:gd name="T11" fmla="*/ 60 h 197"/>
                <a:gd name="T12" fmla="*/ 0 w 179"/>
                <a:gd name="T13" fmla="*/ 100 h 197"/>
                <a:gd name="T14" fmla="*/ 12 w 179"/>
                <a:gd name="T15" fmla="*/ 150 h 197"/>
                <a:gd name="T16" fmla="*/ 46 w 179"/>
                <a:gd name="T17" fmla="*/ 185 h 197"/>
                <a:gd name="T18" fmla="*/ 97 w 179"/>
                <a:gd name="T19" fmla="*/ 197 h 197"/>
                <a:gd name="T20" fmla="*/ 125 w 179"/>
                <a:gd name="T21" fmla="*/ 193 h 197"/>
                <a:gd name="T22" fmla="*/ 150 w 179"/>
                <a:gd name="T23" fmla="*/ 183 h 197"/>
                <a:gd name="T24" fmla="*/ 170 w 179"/>
                <a:gd name="T25" fmla="*/ 169 h 197"/>
                <a:gd name="T26" fmla="*/ 156 w 179"/>
                <a:gd name="T27" fmla="*/ 149 h 197"/>
                <a:gd name="T28" fmla="*/ 127 w 179"/>
                <a:gd name="T29" fmla="*/ 167 h 197"/>
                <a:gd name="T30" fmla="*/ 100 w 179"/>
                <a:gd name="T31" fmla="*/ 172 h 197"/>
                <a:gd name="T32" fmla="*/ 61 w 179"/>
                <a:gd name="T33" fmla="*/ 162 h 197"/>
                <a:gd name="T34" fmla="*/ 36 w 179"/>
                <a:gd name="T35" fmla="*/ 137 h 197"/>
                <a:gd name="T36" fmla="*/ 28 w 179"/>
                <a:gd name="T37" fmla="*/ 104 h 197"/>
                <a:gd name="T38" fmla="*/ 178 w 179"/>
                <a:gd name="T39" fmla="*/ 104 h 197"/>
                <a:gd name="T40" fmla="*/ 178 w 179"/>
                <a:gd name="T41" fmla="*/ 91 h 197"/>
                <a:gd name="T42" fmla="*/ 173 w 179"/>
                <a:gd name="T43" fmla="*/ 55 h 197"/>
                <a:gd name="T44" fmla="*/ 156 w 179"/>
                <a:gd name="T45" fmla="*/ 26 h 197"/>
                <a:gd name="T46" fmla="*/ 58 w 179"/>
                <a:gd name="T47" fmla="*/ 34 h 197"/>
                <a:gd name="T48" fmla="*/ 94 w 179"/>
                <a:gd name="T49" fmla="*/ 26 h 197"/>
                <a:gd name="T50" fmla="*/ 124 w 179"/>
                <a:gd name="T51" fmla="*/ 34 h 197"/>
                <a:gd name="T52" fmla="*/ 143 w 179"/>
                <a:gd name="T53" fmla="*/ 53 h 197"/>
                <a:gd name="T54" fmla="*/ 151 w 179"/>
                <a:gd name="T55" fmla="*/ 79 h 197"/>
                <a:gd name="T56" fmla="*/ 151 w 179"/>
                <a:gd name="T57" fmla="*/ 81 h 197"/>
                <a:gd name="T58" fmla="*/ 29 w 179"/>
                <a:gd name="T59" fmla="*/ 81 h 197"/>
                <a:gd name="T60" fmla="*/ 36 w 179"/>
                <a:gd name="T61" fmla="*/ 58 h 197"/>
                <a:gd name="T62" fmla="*/ 58 w 179"/>
                <a:gd name="T63" fmla="*/ 34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9" h="197">
                  <a:moveTo>
                    <a:pt x="156" y="26"/>
                  </a:moveTo>
                  <a:cubicBezTo>
                    <a:pt x="148" y="18"/>
                    <a:pt x="139" y="11"/>
                    <a:pt x="129" y="7"/>
                  </a:cubicBezTo>
                  <a:cubicBezTo>
                    <a:pt x="118" y="2"/>
                    <a:pt x="106" y="0"/>
                    <a:pt x="94" y="0"/>
                  </a:cubicBezTo>
                  <a:cubicBezTo>
                    <a:pt x="80" y="0"/>
                    <a:pt x="67" y="2"/>
                    <a:pt x="56" y="7"/>
                  </a:cubicBezTo>
                  <a:cubicBezTo>
                    <a:pt x="44" y="12"/>
                    <a:pt x="34" y="19"/>
                    <a:pt x="26" y="28"/>
                  </a:cubicBezTo>
                  <a:cubicBezTo>
                    <a:pt x="18" y="37"/>
                    <a:pt x="11" y="48"/>
                    <a:pt x="7" y="60"/>
                  </a:cubicBezTo>
                  <a:cubicBezTo>
                    <a:pt x="2" y="72"/>
                    <a:pt x="0" y="85"/>
                    <a:pt x="0" y="100"/>
                  </a:cubicBezTo>
                  <a:cubicBezTo>
                    <a:pt x="0" y="119"/>
                    <a:pt x="4" y="136"/>
                    <a:pt x="12" y="150"/>
                  </a:cubicBezTo>
                  <a:cubicBezTo>
                    <a:pt x="20" y="165"/>
                    <a:pt x="32" y="177"/>
                    <a:pt x="46" y="185"/>
                  </a:cubicBezTo>
                  <a:cubicBezTo>
                    <a:pt x="61" y="193"/>
                    <a:pt x="78" y="197"/>
                    <a:pt x="97" y="197"/>
                  </a:cubicBezTo>
                  <a:cubicBezTo>
                    <a:pt x="106" y="197"/>
                    <a:pt x="116" y="196"/>
                    <a:pt x="125" y="193"/>
                  </a:cubicBezTo>
                  <a:cubicBezTo>
                    <a:pt x="134" y="191"/>
                    <a:pt x="142" y="188"/>
                    <a:pt x="150" y="183"/>
                  </a:cubicBezTo>
                  <a:cubicBezTo>
                    <a:pt x="158" y="179"/>
                    <a:pt x="165" y="174"/>
                    <a:pt x="170" y="169"/>
                  </a:cubicBezTo>
                  <a:cubicBezTo>
                    <a:pt x="156" y="149"/>
                    <a:pt x="156" y="149"/>
                    <a:pt x="156" y="149"/>
                  </a:cubicBezTo>
                  <a:cubicBezTo>
                    <a:pt x="145" y="158"/>
                    <a:pt x="136" y="164"/>
                    <a:pt x="127" y="167"/>
                  </a:cubicBezTo>
                  <a:cubicBezTo>
                    <a:pt x="118" y="170"/>
                    <a:pt x="109" y="172"/>
                    <a:pt x="100" y="172"/>
                  </a:cubicBezTo>
                  <a:cubicBezTo>
                    <a:pt x="85" y="172"/>
                    <a:pt x="72" y="168"/>
                    <a:pt x="61" y="162"/>
                  </a:cubicBezTo>
                  <a:cubicBezTo>
                    <a:pt x="50" y="156"/>
                    <a:pt x="42" y="148"/>
                    <a:pt x="36" y="137"/>
                  </a:cubicBezTo>
                  <a:cubicBezTo>
                    <a:pt x="31" y="127"/>
                    <a:pt x="28" y="116"/>
                    <a:pt x="28" y="104"/>
                  </a:cubicBezTo>
                  <a:cubicBezTo>
                    <a:pt x="178" y="104"/>
                    <a:pt x="178" y="104"/>
                    <a:pt x="178" y="104"/>
                  </a:cubicBezTo>
                  <a:cubicBezTo>
                    <a:pt x="178" y="91"/>
                    <a:pt x="178" y="91"/>
                    <a:pt x="178" y="91"/>
                  </a:cubicBezTo>
                  <a:cubicBezTo>
                    <a:pt x="179" y="78"/>
                    <a:pt x="177" y="66"/>
                    <a:pt x="173" y="55"/>
                  </a:cubicBezTo>
                  <a:cubicBezTo>
                    <a:pt x="169" y="44"/>
                    <a:pt x="163" y="34"/>
                    <a:pt x="156" y="26"/>
                  </a:cubicBezTo>
                  <a:close/>
                  <a:moveTo>
                    <a:pt x="58" y="34"/>
                  </a:moveTo>
                  <a:cubicBezTo>
                    <a:pt x="68" y="29"/>
                    <a:pt x="80" y="26"/>
                    <a:pt x="94" y="26"/>
                  </a:cubicBezTo>
                  <a:cubicBezTo>
                    <a:pt x="105" y="26"/>
                    <a:pt x="115" y="29"/>
                    <a:pt x="124" y="34"/>
                  </a:cubicBezTo>
                  <a:cubicBezTo>
                    <a:pt x="132" y="39"/>
                    <a:pt x="138" y="45"/>
                    <a:pt x="143" y="53"/>
                  </a:cubicBezTo>
                  <a:cubicBezTo>
                    <a:pt x="148" y="62"/>
                    <a:pt x="150" y="70"/>
                    <a:pt x="151" y="79"/>
                  </a:cubicBezTo>
                  <a:cubicBezTo>
                    <a:pt x="151" y="81"/>
                    <a:pt x="151" y="81"/>
                    <a:pt x="151" y="81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30" y="73"/>
                    <a:pt x="32" y="65"/>
                    <a:pt x="36" y="58"/>
                  </a:cubicBezTo>
                  <a:cubicBezTo>
                    <a:pt x="41" y="48"/>
                    <a:pt x="48" y="40"/>
                    <a:pt x="58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 17"/>
            <p:cNvSpPr>
              <a:spLocks/>
            </p:cNvSpPr>
            <p:nvPr userDrawn="1"/>
          </p:nvSpPr>
          <p:spPr bwMode="auto">
            <a:xfrm rot="16200000">
              <a:off x="4063114" y="2807387"/>
              <a:ext cx="435649" cy="547169"/>
            </a:xfrm>
            <a:custGeom>
              <a:avLst/>
              <a:gdLst>
                <a:gd name="T0" fmla="*/ 128 w 157"/>
                <a:gd name="T1" fmla="*/ 9 h 194"/>
                <a:gd name="T2" fmla="*/ 93 w 157"/>
                <a:gd name="T3" fmla="*/ 0 h 194"/>
                <a:gd name="T4" fmla="*/ 63 w 157"/>
                <a:gd name="T5" fmla="*/ 7 h 194"/>
                <a:gd name="T6" fmla="*/ 38 w 157"/>
                <a:gd name="T7" fmla="*/ 23 h 194"/>
                <a:gd name="T8" fmla="*/ 28 w 157"/>
                <a:gd name="T9" fmla="*/ 36 h 194"/>
                <a:gd name="T10" fmla="*/ 27 w 157"/>
                <a:gd name="T11" fmla="*/ 4 h 194"/>
                <a:gd name="T12" fmla="*/ 0 w 157"/>
                <a:gd name="T13" fmla="*/ 4 h 194"/>
                <a:gd name="T14" fmla="*/ 0 w 157"/>
                <a:gd name="T15" fmla="*/ 194 h 194"/>
                <a:gd name="T16" fmla="*/ 8 w 157"/>
                <a:gd name="T17" fmla="*/ 194 h 194"/>
                <a:gd name="T18" fmla="*/ 14 w 157"/>
                <a:gd name="T19" fmla="*/ 194 h 194"/>
                <a:gd name="T20" fmla="*/ 27 w 157"/>
                <a:gd name="T21" fmla="*/ 194 h 194"/>
                <a:gd name="T22" fmla="*/ 27 w 157"/>
                <a:gd name="T23" fmla="*/ 78 h 194"/>
                <a:gd name="T24" fmla="*/ 32 w 157"/>
                <a:gd name="T25" fmla="*/ 58 h 194"/>
                <a:gd name="T26" fmla="*/ 44 w 157"/>
                <a:gd name="T27" fmla="*/ 41 h 194"/>
                <a:gd name="T28" fmla="*/ 62 w 157"/>
                <a:gd name="T29" fmla="*/ 30 h 194"/>
                <a:gd name="T30" fmla="*/ 85 w 157"/>
                <a:gd name="T31" fmla="*/ 26 h 194"/>
                <a:gd name="T32" fmla="*/ 110 w 157"/>
                <a:gd name="T33" fmla="*/ 31 h 194"/>
                <a:gd name="T34" fmla="*/ 125 w 157"/>
                <a:gd name="T35" fmla="*/ 49 h 194"/>
                <a:gd name="T36" fmla="*/ 129 w 157"/>
                <a:gd name="T37" fmla="*/ 80 h 194"/>
                <a:gd name="T38" fmla="*/ 129 w 157"/>
                <a:gd name="T39" fmla="*/ 194 h 194"/>
                <a:gd name="T40" fmla="*/ 157 w 157"/>
                <a:gd name="T41" fmla="*/ 194 h 194"/>
                <a:gd name="T42" fmla="*/ 157 w 157"/>
                <a:gd name="T43" fmla="*/ 79 h 194"/>
                <a:gd name="T44" fmla="*/ 150 w 157"/>
                <a:gd name="T45" fmla="*/ 34 h 194"/>
                <a:gd name="T46" fmla="*/ 128 w 157"/>
                <a:gd name="T47" fmla="*/ 9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7" h="194">
                  <a:moveTo>
                    <a:pt x="128" y="9"/>
                  </a:moveTo>
                  <a:cubicBezTo>
                    <a:pt x="119" y="3"/>
                    <a:pt x="107" y="0"/>
                    <a:pt x="93" y="0"/>
                  </a:cubicBezTo>
                  <a:cubicBezTo>
                    <a:pt x="83" y="0"/>
                    <a:pt x="73" y="2"/>
                    <a:pt x="63" y="7"/>
                  </a:cubicBezTo>
                  <a:cubicBezTo>
                    <a:pt x="53" y="11"/>
                    <a:pt x="45" y="16"/>
                    <a:pt x="38" y="23"/>
                  </a:cubicBezTo>
                  <a:cubicBezTo>
                    <a:pt x="34" y="27"/>
                    <a:pt x="30" y="31"/>
                    <a:pt x="28" y="36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3" y="194"/>
                    <a:pt x="6" y="194"/>
                    <a:pt x="8" y="194"/>
                  </a:cubicBezTo>
                  <a:cubicBezTo>
                    <a:pt x="10" y="194"/>
                    <a:pt x="12" y="194"/>
                    <a:pt x="14" y="194"/>
                  </a:cubicBezTo>
                  <a:cubicBezTo>
                    <a:pt x="27" y="194"/>
                    <a:pt x="27" y="194"/>
                    <a:pt x="27" y="194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1"/>
                    <a:pt x="29" y="64"/>
                    <a:pt x="32" y="58"/>
                  </a:cubicBezTo>
                  <a:cubicBezTo>
                    <a:pt x="34" y="52"/>
                    <a:pt x="38" y="46"/>
                    <a:pt x="44" y="41"/>
                  </a:cubicBezTo>
                  <a:cubicBezTo>
                    <a:pt x="49" y="36"/>
                    <a:pt x="55" y="33"/>
                    <a:pt x="62" y="30"/>
                  </a:cubicBezTo>
                  <a:cubicBezTo>
                    <a:pt x="69" y="27"/>
                    <a:pt x="76" y="26"/>
                    <a:pt x="85" y="26"/>
                  </a:cubicBezTo>
                  <a:cubicBezTo>
                    <a:pt x="94" y="25"/>
                    <a:pt x="103" y="27"/>
                    <a:pt x="110" y="31"/>
                  </a:cubicBezTo>
                  <a:cubicBezTo>
                    <a:pt x="116" y="35"/>
                    <a:pt x="121" y="41"/>
                    <a:pt x="125" y="49"/>
                  </a:cubicBezTo>
                  <a:cubicBezTo>
                    <a:pt x="128" y="57"/>
                    <a:pt x="129" y="67"/>
                    <a:pt x="129" y="80"/>
                  </a:cubicBezTo>
                  <a:cubicBezTo>
                    <a:pt x="129" y="194"/>
                    <a:pt x="129" y="194"/>
                    <a:pt x="129" y="194"/>
                  </a:cubicBezTo>
                  <a:cubicBezTo>
                    <a:pt x="157" y="194"/>
                    <a:pt x="157" y="194"/>
                    <a:pt x="157" y="194"/>
                  </a:cubicBezTo>
                  <a:cubicBezTo>
                    <a:pt x="157" y="79"/>
                    <a:pt x="157" y="79"/>
                    <a:pt x="157" y="79"/>
                  </a:cubicBezTo>
                  <a:cubicBezTo>
                    <a:pt x="157" y="61"/>
                    <a:pt x="155" y="46"/>
                    <a:pt x="150" y="34"/>
                  </a:cubicBezTo>
                  <a:cubicBezTo>
                    <a:pt x="145" y="23"/>
                    <a:pt x="138" y="14"/>
                    <a:pt x="128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 userDrawn="1"/>
          </p:nvSpPr>
          <p:spPr bwMode="auto">
            <a:xfrm rot="16200000">
              <a:off x="3925729" y="2118806"/>
              <a:ext cx="507262" cy="766578"/>
            </a:xfrm>
            <a:custGeom>
              <a:avLst/>
              <a:gdLst>
                <a:gd name="T0" fmla="*/ 158 w 185"/>
                <a:gd name="T1" fmla="*/ 110 h 272"/>
                <a:gd name="T2" fmla="*/ 141 w 185"/>
                <a:gd name="T3" fmla="*/ 92 h 272"/>
                <a:gd name="T4" fmla="*/ 117 w 185"/>
                <a:gd name="T5" fmla="*/ 80 h 272"/>
                <a:gd name="T6" fmla="*/ 90 w 185"/>
                <a:gd name="T7" fmla="*/ 75 h 272"/>
                <a:gd name="T8" fmla="*/ 44 w 185"/>
                <a:gd name="T9" fmla="*/ 88 h 272"/>
                <a:gd name="T10" fmla="*/ 11 w 185"/>
                <a:gd name="T11" fmla="*/ 123 h 272"/>
                <a:gd name="T12" fmla="*/ 0 w 185"/>
                <a:gd name="T13" fmla="*/ 174 h 272"/>
                <a:gd name="T14" fmla="*/ 11 w 185"/>
                <a:gd name="T15" fmla="*/ 225 h 272"/>
                <a:gd name="T16" fmla="*/ 44 w 185"/>
                <a:gd name="T17" fmla="*/ 260 h 272"/>
                <a:gd name="T18" fmla="*/ 90 w 185"/>
                <a:gd name="T19" fmla="*/ 272 h 272"/>
                <a:gd name="T20" fmla="*/ 117 w 185"/>
                <a:gd name="T21" fmla="*/ 268 h 272"/>
                <a:gd name="T22" fmla="*/ 140 w 185"/>
                <a:gd name="T23" fmla="*/ 256 h 272"/>
                <a:gd name="T24" fmla="*/ 156 w 185"/>
                <a:gd name="T25" fmla="*/ 239 h 272"/>
                <a:gd name="T26" fmla="*/ 158 w 185"/>
                <a:gd name="T27" fmla="*/ 236 h 272"/>
                <a:gd name="T28" fmla="*/ 158 w 185"/>
                <a:gd name="T29" fmla="*/ 269 h 272"/>
                <a:gd name="T30" fmla="*/ 185 w 185"/>
                <a:gd name="T31" fmla="*/ 269 h 272"/>
                <a:gd name="T32" fmla="*/ 185 w 185"/>
                <a:gd name="T33" fmla="*/ 0 h 272"/>
                <a:gd name="T34" fmla="*/ 158 w 185"/>
                <a:gd name="T35" fmla="*/ 0 h 272"/>
                <a:gd name="T36" fmla="*/ 158 w 185"/>
                <a:gd name="T37" fmla="*/ 110 h 272"/>
                <a:gd name="T38" fmla="*/ 151 w 185"/>
                <a:gd name="T39" fmla="*/ 212 h 272"/>
                <a:gd name="T40" fmla="*/ 128 w 185"/>
                <a:gd name="T41" fmla="*/ 238 h 272"/>
                <a:gd name="T42" fmla="*/ 94 w 185"/>
                <a:gd name="T43" fmla="*/ 247 h 272"/>
                <a:gd name="T44" fmla="*/ 59 w 185"/>
                <a:gd name="T45" fmla="*/ 238 h 272"/>
                <a:gd name="T46" fmla="*/ 36 w 185"/>
                <a:gd name="T47" fmla="*/ 211 h 272"/>
                <a:gd name="T48" fmla="*/ 28 w 185"/>
                <a:gd name="T49" fmla="*/ 174 h 272"/>
                <a:gd name="T50" fmla="*/ 36 w 185"/>
                <a:gd name="T51" fmla="*/ 136 h 272"/>
                <a:gd name="T52" fmla="*/ 60 w 185"/>
                <a:gd name="T53" fmla="*/ 110 h 272"/>
                <a:gd name="T54" fmla="*/ 94 w 185"/>
                <a:gd name="T55" fmla="*/ 100 h 272"/>
                <a:gd name="T56" fmla="*/ 128 w 185"/>
                <a:gd name="T57" fmla="*/ 110 h 272"/>
                <a:gd name="T58" fmla="*/ 151 w 185"/>
                <a:gd name="T59" fmla="*/ 136 h 272"/>
                <a:gd name="T60" fmla="*/ 160 w 185"/>
                <a:gd name="T61" fmla="*/ 174 h 272"/>
                <a:gd name="T62" fmla="*/ 151 w 185"/>
                <a:gd name="T63" fmla="*/ 21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5" h="272">
                  <a:moveTo>
                    <a:pt x="158" y="110"/>
                  </a:moveTo>
                  <a:cubicBezTo>
                    <a:pt x="153" y="103"/>
                    <a:pt x="148" y="97"/>
                    <a:pt x="141" y="92"/>
                  </a:cubicBezTo>
                  <a:cubicBezTo>
                    <a:pt x="134" y="87"/>
                    <a:pt x="126" y="83"/>
                    <a:pt x="117" y="80"/>
                  </a:cubicBezTo>
                  <a:cubicBezTo>
                    <a:pt x="108" y="77"/>
                    <a:pt x="99" y="75"/>
                    <a:pt x="90" y="75"/>
                  </a:cubicBezTo>
                  <a:cubicBezTo>
                    <a:pt x="73" y="75"/>
                    <a:pt x="57" y="79"/>
                    <a:pt x="44" y="88"/>
                  </a:cubicBezTo>
                  <a:cubicBezTo>
                    <a:pt x="30" y="96"/>
                    <a:pt x="19" y="108"/>
                    <a:pt x="11" y="123"/>
                  </a:cubicBezTo>
                  <a:cubicBezTo>
                    <a:pt x="4" y="138"/>
                    <a:pt x="0" y="155"/>
                    <a:pt x="0" y="174"/>
                  </a:cubicBezTo>
                  <a:cubicBezTo>
                    <a:pt x="0" y="193"/>
                    <a:pt x="3" y="210"/>
                    <a:pt x="11" y="225"/>
                  </a:cubicBezTo>
                  <a:cubicBezTo>
                    <a:pt x="19" y="239"/>
                    <a:pt x="30" y="251"/>
                    <a:pt x="44" y="260"/>
                  </a:cubicBezTo>
                  <a:cubicBezTo>
                    <a:pt x="57" y="268"/>
                    <a:pt x="73" y="272"/>
                    <a:pt x="90" y="272"/>
                  </a:cubicBezTo>
                  <a:cubicBezTo>
                    <a:pt x="99" y="272"/>
                    <a:pt x="108" y="271"/>
                    <a:pt x="117" y="268"/>
                  </a:cubicBezTo>
                  <a:cubicBezTo>
                    <a:pt x="125" y="265"/>
                    <a:pt x="133" y="261"/>
                    <a:pt x="140" y="256"/>
                  </a:cubicBezTo>
                  <a:cubicBezTo>
                    <a:pt x="146" y="251"/>
                    <a:pt x="152" y="245"/>
                    <a:pt x="156" y="239"/>
                  </a:cubicBezTo>
                  <a:cubicBezTo>
                    <a:pt x="157" y="238"/>
                    <a:pt x="157" y="237"/>
                    <a:pt x="158" y="236"/>
                  </a:cubicBezTo>
                  <a:cubicBezTo>
                    <a:pt x="158" y="269"/>
                    <a:pt x="158" y="269"/>
                    <a:pt x="158" y="269"/>
                  </a:cubicBezTo>
                  <a:cubicBezTo>
                    <a:pt x="185" y="269"/>
                    <a:pt x="185" y="269"/>
                    <a:pt x="185" y="269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58" y="0"/>
                    <a:pt x="158" y="0"/>
                    <a:pt x="158" y="0"/>
                  </a:cubicBezTo>
                  <a:lnTo>
                    <a:pt x="158" y="110"/>
                  </a:lnTo>
                  <a:close/>
                  <a:moveTo>
                    <a:pt x="151" y="212"/>
                  </a:moveTo>
                  <a:cubicBezTo>
                    <a:pt x="145" y="223"/>
                    <a:pt x="138" y="232"/>
                    <a:pt x="128" y="238"/>
                  </a:cubicBezTo>
                  <a:cubicBezTo>
                    <a:pt x="118" y="244"/>
                    <a:pt x="106" y="247"/>
                    <a:pt x="94" y="247"/>
                  </a:cubicBezTo>
                  <a:cubicBezTo>
                    <a:pt x="81" y="247"/>
                    <a:pt x="69" y="244"/>
                    <a:pt x="59" y="238"/>
                  </a:cubicBezTo>
                  <a:cubicBezTo>
                    <a:pt x="49" y="231"/>
                    <a:pt x="42" y="222"/>
                    <a:pt x="36" y="211"/>
                  </a:cubicBezTo>
                  <a:cubicBezTo>
                    <a:pt x="31" y="200"/>
                    <a:pt x="28" y="188"/>
                    <a:pt x="28" y="174"/>
                  </a:cubicBezTo>
                  <a:cubicBezTo>
                    <a:pt x="28" y="159"/>
                    <a:pt x="31" y="147"/>
                    <a:pt x="36" y="136"/>
                  </a:cubicBezTo>
                  <a:cubicBezTo>
                    <a:pt x="42" y="125"/>
                    <a:pt x="50" y="116"/>
                    <a:pt x="60" y="110"/>
                  </a:cubicBezTo>
                  <a:cubicBezTo>
                    <a:pt x="69" y="103"/>
                    <a:pt x="81" y="100"/>
                    <a:pt x="94" y="100"/>
                  </a:cubicBezTo>
                  <a:cubicBezTo>
                    <a:pt x="106" y="100"/>
                    <a:pt x="118" y="103"/>
                    <a:pt x="128" y="110"/>
                  </a:cubicBezTo>
                  <a:cubicBezTo>
                    <a:pt x="138" y="116"/>
                    <a:pt x="145" y="125"/>
                    <a:pt x="151" y="136"/>
                  </a:cubicBezTo>
                  <a:cubicBezTo>
                    <a:pt x="157" y="147"/>
                    <a:pt x="160" y="159"/>
                    <a:pt x="160" y="174"/>
                  </a:cubicBezTo>
                  <a:cubicBezTo>
                    <a:pt x="160" y="188"/>
                    <a:pt x="157" y="201"/>
                    <a:pt x="151" y="2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 19"/>
            <p:cNvSpPr>
              <a:spLocks noEditPoints="1"/>
            </p:cNvSpPr>
            <p:nvPr userDrawn="1"/>
          </p:nvSpPr>
          <p:spPr bwMode="auto">
            <a:xfrm rot="16200000">
              <a:off x="4028386" y="1606781"/>
              <a:ext cx="513230" cy="555295"/>
            </a:xfrm>
            <a:custGeom>
              <a:avLst/>
              <a:gdLst>
                <a:gd name="T0" fmla="*/ 159 w 186"/>
                <a:gd name="T1" fmla="*/ 4 h 197"/>
                <a:gd name="T2" fmla="*/ 158 w 186"/>
                <a:gd name="T3" fmla="*/ 38 h 197"/>
                <a:gd name="T4" fmla="*/ 157 w 186"/>
                <a:gd name="T5" fmla="*/ 35 h 197"/>
                <a:gd name="T6" fmla="*/ 140 w 186"/>
                <a:gd name="T7" fmla="*/ 17 h 197"/>
                <a:gd name="T8" fmla="*/ 117 w 186"/>
                <a:gd name="T9" fmla="*/ 5 h 197"/>
                <a:gd name="T10" fmla="*/ 90 w 186"/>
                <a:gd name="T11" fmla="*/ 0 h 197"/>
                <a:gd name="T12" fmla="*/ 45 w 186"/>
                <a:gd name="T13" fmla="*/ 13 h 197"/>
                <a:gd name="T14" fmla="*/ 12 w 186"/>
                <a:gd name="T15" fmla="*/ 48 h 197"/>
                <a:gd name="T16" fmla="*/ 0 w 186"/>
                <a:gd name="T17" fmla="*/ 99 h 197"/>
                <a:gd name="T18" fmla="*/ 12 w 186"/>
                <a:gd name="T19" fmla="*/ 149 h 197"/>
                <a:gd name="T20" fmla="*/ 44 w 186"/>
                <a:gd name="T21" fmla="*/ 184 h 197"/>
                <a:gd name="T22" fmla="*/ 88 w 186"/>
                <a:gd name="T23" fmla="*/ 197 h 197"/>
                <a:gd name="T24" fmla="*/ 115 w 186"/>
                <a:gd name="T25" fmla="*/ 193 h 197"/>
                <a:gd name="T26" fmla="*/ 139 w 186"/>
                <a:gd name="T27" fmla="*/ 181 h 197"/>
                <a:gd name="T28" fmla="*/ 156 w 186"/>
                <a:gd name="T29" fmla="*/ 163 h 197"/>
                <a:gd name="T30" fmla="*/ 159 w 186"/>
                <a:gd name="T31" fmla="*/ 159 h 197"/>
                <a:gd name="T32" fmla="*/ 159 w 186"/>
                <a:gd name="T33" fmla="*/ 194 h 197"/>
                <a:gd name="T34" fmla="*/ 186 w 186"/>
                <a:gd name="T35" fmla="*/ 194 h 197"/>
                <a:gd name="T36" fmla="*/ 186 w 186"/>
                <a:gd name="T37" fmla="*/ 4 h 197"/>
                <a:gd name="T38" fmla="*/ 159 w 186"/>
                <a:gd name="T39" fmla="*/ 4 h 197"/>
                <a:gd name="T40" fmla="*/ 152 w 186"/>
                <a:gd name="T41" fmla="*/ 136 h 197"/>
                <a:gd name="T42" fmla="*/ 128 w 186"/>
                <a:gd name="T43" fmla="*/ 162 h 197"/>
                <a:gd name="T44" fmla="*/ 94 w 186"/>
                <a:gd name="T45" fmla="*/ 171 h 197"/>
                <a:gd name="T46" fmla="*/ 60 w 186"/>
                <a:gd name="T47" fmla="*/ 162 h 197"/>
                <a:gd name="T48" fmla="*/ 37 w 186"/>
                <a:gd name="T49" fmla="*/ 136 h 197"/>
                <a:gd name="T50" fmla="*/ 29 w 186"/>
                <a:gd name="T51" fmla="*/ 99 h 197"/>
                <a:gd name="T52" fmla="*/ 37 w 186"/>
                <a:gd name="T53" fmla="*/ 61 h 197"/>
                <a:gd name="T54" fmla="*/ 61 w 186"/>
                <a:gd name="T55" fmla="*/ 35 h 197"/>
                <a:gd name="T56" fmla="*/ 94 w 186"/>
                <a:gd name="T57" fmla="*/ 26 h 197"/>
                <a:gd name="T58" fmla="*/ 128 w 186"/>
                <a:gd name="T59" fmla="*/ 35 h 197"/>
                <a:gd name="T60" fmla="*/ 152 w 186"/>
                <a:gd name="T61" fmla="*/ 61 h 197"/>
                <a:gd name="T62" fmla="*/ 160 w 186"/>
                <a:gd name="T63" fmla="*/ 99 h 197"/>
                <a:gd name="T64" fmla="*/ 152 w 186"/>
                <a:gd name="T65" fmla="*/ 13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86" h="197">
                  <a:moveTo>
                    <a:pt x="159" y="4"/>
                  </a:moveTo>
                  <a:cubicBezTo>
                    <a:pt x="158" y="38"/>
                    <a:pt x="158" y="38"/>
                    <a:pt x="158" y="38"/>
                  </a:cubicBezTo>
                  <a:cubicBezTo>
                    <a:pt x="158" y="37"/>
                    <a:pt x="157" y="36"/>
                    <a:pt x="157" y="35"/>
                  </a:cubicBezTo>
                  <a:cubicBezTo>
                    <a:pt x="152" y="28"/>
                    <a:pt x="147" y="22"/>
                    <a:pt x="140" y="17"/>
                  </a:cubicBezTo>
                  <a:cubicBezTo>
                    <a:pt x="133" y="12"/>
                    <a:pt x="126" y="8"/>
                    <a:pt x="117" y="5"/>
                  </a:cubicBezTo>
                  <a:cubicBezTo>
                    <a:pt x="109" y="2"/>
                    <a:pt x="100" y="0"/>
                    <a:pt x="90" y="0"/>
                  </a:cubicBezTo>
                  <a:cubicBezTo>
                    <a:pt x="73" y="0"/>
                    <a:pt x="58" y="4"/>
                    <a:pt x="45" y="13"/>
                  </a:cubicBezTo>
                  <a:cubicBezTo>
                    <a:pt x="31" y="21"/>
                    <a:pt x="20" y="33"/>
                    <a:pt x="12" y="48"/>
                  </a:cubicBezTo>
                  <a:cubicBezTo>
                    <a:pt x="4" y="63"/>
                    <a:pt x="0" y="79"/>
                    <a:pt x="0" y="99"/>
                  </a:cubicBezTo>
                  <a:cubicBezTo>
                    <a:pt x="0" y="117"/>
                    <a:pt x="4" y="134"/>
                    <a:pt x="12" y="149"/>
                  </a:cubicBezTo>
                  <a:cubicBezTo>
                    <a:pt x="20" y="164"/>
                    <a:pt x="30" y="176"/>
                    <a:pt x="44" y="184"/>
                  </a:cubicBezTo>
                  <a:cubicBezTo>
                    <a:pt x="57" y="193"/>
                    <a:pt x="72" y="197"/>
                    <a:pt x="88" y="197"/>
                  </a:cubicBezTo>
                  <a:cubicBezTo>
                    <a:pt x="98" y="197"/>
                    <a:pt x="107" y="196"/>
                    <a:pt x="115" y="193"/>
                  </a:cubicBezTo>
                  <a:cubicBezTo>
                    <a:pt x="124" y="190"/>
                    <a:pt x="132" y="186"/>
                    <a:pt x="139" y="181"/>
                  </a:cubicBezTo>
                  <a:cubicBezTo>
                    <a:pt x="145" y="176"/>
                    <a:pt x="151" y="170"/>
                    <a:pt x="156" y="163"/>
                  </a:cubicBezTo>
                  <a:cubicBezTo>
                    <a:pt x="157" y="162"/>
                    <a:pt x="158" y="161"/>
                    <a:pt x="159" y="159"/>
                  </a:cubicBezTo>
                  <a:cubicBezTo>
                    <a:pt x="159" y="194"/>
                    <a:pt x="159" y="194"/>
                    <a:pt x="159" y="194"/>
                  </a:cubicBezTo>
                  <a:cubicBezTo>
                    <a:pt x="186" y="194"/>
                    <a:pt x="186" y="194"/>
                    <a:pt x="186" y="194"/>
                  </a:cubicBezTo>
                  <a:cubicBezTo>
                    <a:pt x="186" y="4"/>
                    <a:pt x="186" y="4"/>
                    <a:pt x="186" y="4"/>
                  </a:cubicBezTo>
                  <a:lnTo>
                    <a:pt x="159" y="4"/>
                  </a:lnTo>
                  <a:close/>
                  <a:moveTo>
                    <a:pt x="152" y="136"/>
                  </a:moveTo>
                  <a:cubicBezTo>
                    <a:pt x="146" y="147"/>
                    <a:pt x="138" y="156"/>
                    <a:pt x="128" y="162"/>
                  </a:cubicBezTo>
                  <a:cubicBezTo>
                    <a:pt x="118" y="168"/>
                    <a:pt x="107" y="171"/>
                    <a:pt x="94" y="171"/>
                  </a:cubicBezTo>
                  <a:cubicBezTo>
                    <a:pt x="82" y="171"/>
                    <a:pt x="70" y="168"/>
                    <a:pt x="60" y="162"/>
                  </a:cubicBezTo>
                  <a:cubicBezTo>
                    <a:pt x="50" y="155"/>
                    <a:pt x="43" y="147"/>
                    <a:pt x="37" y="136"/>
                  </a:cubicBezTo>
                  <a:cubicBezTo>
                    <a:pt x="32" y="125"/>
                    <a:pt x="29" y="112"/>
                    <a:pt x="29" y="99"/>
                  </a:cubicBezTo>
                  <a:cubicBezTo>
                    <a:pt x="29" y="85"/>
                    <a:pt x="32" y="72"/>
                    <a:pt x="37" y="61"/>
                  </a:cubicBezTo>
                  <a:cubicBezTo>
                    <a:pt x="43" y="50"/>
                    <a:pt x="51" y="42"/>
                    <a:pt x="61" y="35"/>
                  </a:cubicBezTo>
                  <a:cubicBezTo>
                    <a:pt x="70" y="29"/>
                    <a:pt x="82" y="26"/>
                    <a:pt x="94" y="26"/>
                  </a:cubicBezTo>
                  <a:cubicBezTo>
                    <a:pt x="107" y="26"/>
                    <a:pt x="118" y="29"/>
                    <a:pt x="128" y="35"/>
                  </a:cubicBezTo>
                  <a:cubicBezTo>
                    <a:pt x="138" y="42"/>
                    <a:pt x="146" y="50"/>
                    <a:pt x="152" y="61"/>
                  </a:cubicBezTo>
                  <a:cubicBezTo>
                    <a:pt x="157" y="72"/>
                    <a:pt x="160" y="85"/>
                    <a:pt x="160" y="99"/>
                  </a:cubicBezTo>
                  <a:cubicBezTo>
                    <a:pt x="160" y="113"/>
                    <a:pt x="157" y="125"/>
                    <a:pt x="152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ED823C-1954-43A4-9849-E5C58AB227F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652F10AF-C4E6-4F93-8528-4A2EEEF60A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7843" y="425061"/>
            <a:ext cx="8156714" cy="5969597"/>
          </a:xfrm>
        </p:spPr>
        <p:txBody>
          <a:bodyPr lIns="0" rIns="0">
            <a:normAutofit/>
          </a:bodyPr>
          <a:lstStyle>
            <a:lvl1pPr>
              <a:defRPr sz="2500">
                <a:solidFill>
                  <a:schemeClr val="tx1"/>
                </a:solidFill>
              </a:defRPr>
            </a:lvl1pPr>
            <a:lvl2pPr marL="569913" indent="-225425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569913" algn="l"/>
              </a:tabLst>
              <a:defRPr lang="en-US" sz="2000" kern="1200" baseline="0" dirty="0" smtClean="0">
                <a:solidFill>
                  <a:schemeClr val="tx1"/>
                </a:solidFill>
                <a:latin typeface="2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20"/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sz="1800">
                <a:solidFill>
                  <a:schemeClr val="tx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0750070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utoShape 3"/>
          <p:cNvSpPr>
            <a:spLocks noChangeAspect="1" noChangeArrowheads="1" noTextEdit="1"/>
          </p:cNvSpPr>
          <p:nvPr/>
        </p:nvSpPr>
        <p:spPr bwMode="auto">
          <a:xfrm>
            <a:off x="36732" y="0"/>
            <a:ext cx="12155268" cy="6841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894" tIns="30447" rIns="60894" bIns="30447" numCol="1" anchor="t" anchorCtr="0" compatLnSpc="1">
            <a:prstTxWarp prst="textNoShape">
              <a:avLst/>
            </a:prstTxWarp>
          </a:bodyPr>
          <a:lstStyle/>
          <a:p>
            <a:endParaRPr lang="en-US" sz="1199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4BDB438-7F11-4EC6-9226-CC9B46F99EC9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F8F72F32-0A1B-4A9F-8030-C0EB3B2FDE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2DD629BE-1733-4D4B-82E3-870C191315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08C8C39E-198F-4216-ADEF-C521E7FC76F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E5D0DFE8-80DC-4D13-B08B-36064EC58C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6" name="Rectangle 12">
              <a:extLst>
                <a:ext uri="{FF2B5EF4-FFF2-40B4-BE49-F238E27FC236}">
                  <a16:creationId xmlns:a16="http://schemas.microsoft.com/office/drawing/2014/main" id="{B446B7AD-FA29-4235-BDB2-E5784FA1716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7" name="Rectangle 13">
              <a:extLst>
                <a:ext uri="{FF2B5EF4-FFF2-40B4-BE49-F238E27FC236}">
                  <a16:creationId xmlns:a16="http://schemas.microsoft.com/office/drawing/2014/main" id="{14DD5E20-5527-4380-BCF8-D7B8DC0BD0F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8" name="Rectangle 14">
              <a:extLst>
                <a:ext uri="{FF2B5EF4-FFF2-40B4-BE49-F238E27FC236}">
                  <a16:creationId xmlns:a16="http://schemas.microsoft.com/office/drawing/2014/main" id="{FF9E4FC7-525D-4D51-A852-CAAD3FC7ED7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pic>
        <p:nvPicPr>
          <p:cNvPr id="15" name="Picture 14" descr="A person riding a skateboard down a ramp&#10;&#10;Description automatically generated with low confidence">
            <a:extLst>
              <a:ext uri="{FF2B5EF4-FFF2-40B4-BE49-F238E27FC236}">
                <a16:creationId xmlns:a16="http://schemas.microsoft.com/office/drawing/2014/main" id="{F7F9BC7B-3CD4-4DF8-ACA7-248607D450B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37" r="15501"/>
          <a:stretch/>
        </p:blipFill>
        <p:spPr>
          <a:xfrm>
            <a:off x="4908256" y="0"/>
            <a:ext cx="7283744" cy="6858000"/>
          </a:xfrm>
          <a:prstGeom prst="rect">
            <a:avLst/>
          </a:prstGeom>
        </p:spPr>
      </p:pic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B0DE102B-9C49-45B5-ACFA-ED654A7917AE}"/>
              </a:ext>
            </a:extLst>
          </p:cNvPr>
          <p:cNvSpPr txBox="1">
            <a:spLocks/>
          </p:cNvSpPr>
          <p:nvPr/>
        </p:nvSpPr>
        <p:spPr>
          <a:xfrm>
            <a:off x="255595" y="6394658"/>
            <a:ext cx="857032" cy="365125"/>
          </a:xfrm>
          <a:prstGeom prst="rect">
            <a:avLst/>
          </a:prstGeom>
        </p:spPr>
        <p:txBody>
          <a:bodyPr vert="horz" wrap="square" lIns="163229" tIns="81610" rIns="163229" bIns="81610" numCol="1" anchor="ctr" anchorCtr="0" compatLnSpc="1">
            <a:prstTxWarp prst="textNoShape">
              <a:avLst/>
            </a:prstTxWarp>
          </a:bodyPr>
          <a:lstStyle>
            <a:defPPr>
              <a:defRPr lang="he-IL"/>
            </a:defPPr>
            <a:lvl1pPr marL="0" algn="l" defTabSz="914400" rtl="0" eaLnBrk="1" latinLnBrk="0" hangingPunct="1">
              <a:defRPr sz="1332" kern="1200">
                <a:solidFill>
                  <a:schemeClr val="bg1"/>
                </a:solidFill>
                <a:latin typeface="Arial MT Std Light" panose="020B0302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A3982E0-2161-4F1E-B714-5F8847C908CC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FD1BE81F-192E-4D3C-B025-7234DF0E02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29C9B649-FB45-4553-9110-1E1209C832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9" name="Rectangle 10">
              <a:extLst>
                <a:ext uri="{FF2B5EF4-FFF2-40B4-BE49-F238E27FC236}">
                  <a16:creationId xmlns:a16="http://schemas.microsoft.com/office/drawing/2014/main" id="{C4EFF128-9EE8-4AE0-883A-8FB9E7D89C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B5AFE8B6-3BB2-4DA5-8B32-87A4BE227C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1" name="Rectangle 12">
              <a:extLst>
                <a:ext uri="{FF2B5EF4-FFF2-40B4-BE49-F238E27FC236}">
                  <a16:creationId xmlns:a16="http://schemas.microsoft.com/office/drawing/2014/main" id="{B1639544-8DC0-40D6-8E0F-081C0EFE4D1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2" name="Rectangle 13">
              <a:extLst>
                <a:ext uri="{FF2B5EF4-FFF2-40B4-BE49-F238E27FC236}">
                  <a16:creationId xmlns:a16="http://schemas.microsoft.com/office/drawing/2014/main" id="{8C3139C1-7A67-4F1D-8DCB-4C193A12316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3" name="Rectangle 14">
              <a:extLst>
                <a:ext uri="{FF2B5EF4-FFF2-40B4-BE49-F238E27FC236}">
                  <a16:creationId xmlns:a16="http://schemas.microsoft.com/office/drawing/2014/main" id="{8B9B5AC2-DF49-4B2A-B0E2-F33FB50E418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4AC1D19C-FA55-47FD-8BB7-A21A6901CF7E}"/>
              </a:ext>
            </a:extLst>
          </p:cNvPr>
          <p:cNvSpPr/>
          <p:nvPr/>
        </p:nvSpPr>
        <p:spPr>
          <a:xfrm>
            <a:off x="0" y="0"/>
            <a:ext cx="5510717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35" name="Title 9">
            <a:extLst>
              <a:ext uri="{FF2B5EF4-FFF2-40B4-BE49-F238E27FC236}">
                <a16:creationId xmlns:a16="http://schemas.microsoft.com/office/drawing/2014/main" id="{4B303360-D8F7-46CC-A44F-126C7282DC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651" y="443620"/>
            <a:ext cx="4768051" cy="5622202"/>
          </a:xfrm>
        </p:spPr>
        <p:txBody>
          <a:bodyPr/>
          <a:lstStyle>
            <a:lvl1pPr>
              <a:defRPr lang="aa-ET" sz="40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lvl="0" indent="0" algn="l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</a:pPr>
            <a:r>
              <a:rPr lang="en-US"/>
              <a:t>Click to edit Master title style</a:t>
            </a:r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2285149230"/>
      </p:ext>
    </p:extLst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9_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6" name="Group 125">
            <a:extLst>
              <a:ext uri="{FF2B5EF4-FFF2-40B4-BE49-F238E27FC236}">
                <a16:creationId xmlns:a16="http://schemas.microsoft.com/office/drawing/2014/main" id="{DB92872A-E22E-4699-A496-9ABB25EE5C62}"/>
              </a:ext>
            </a:extLst>
          </p:cNvPr>
          <p:cNvGrpSpPr/>
          <p:nvPr/>
        </p:nvGrpSpPr>
        <p:grpSpPr>
          <a:xfrm>
            <a:off x="289336" y="923164"/>
            <a:ext cx="6203564" cy="5222305"/>
            <a:chOff x="7730159" y="3473856"/>
            <a:chExt cx="3448526" cy="2903050"/>
          </a:xfrm>
          <a:gradFill flip="none" rotWithShape="1">
            <a:gsLst>
              <a:gs pos="27000">
                <a:schemeClr val="accent4"/>
              </a:gs>
              <a:gs pos="99000">
                <a:schemeClr val="accent5"/>
              </a:gs>
            </a:gsLst>
            <a:lin ang="5400000" scaled="1"/>
            <a:tileRect/>
          </a:gradFill>
        </p:grpSpPr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0A5CF1CB-B1BE-4136-85C2-AC99402FF21D}"/>
                </a:ext>
              </a:extLst>
            </p:cNvPr>
            <p:cNvSpPr/>
            <p:nvPr/>
          </p:nvSpPr>
          <p:spPr>
            <a:xfrm>
              <a:off x="8136214" y="3523525"/>
              <a:ext cx="588645" cy="588645"/>
            </a:xfrm>
            <a:custGeom>
              <a:avLst/>
              <a:gdLst>
                <a:gd name="connsiteX0" fmla="*/ 0 w 588645"/>
                <a:gd name="connsiteY0" fmla="*/ 0 h 588645"/>
                <a:gd name="connsiteX1" fmla="*/ 588645 w 588645"/>
                <a:gd name="connsiteY1" fmla="*/ 0 h 588645"/>
                <a:gd name="connsiteX2" fmla="*/ 588645 w 588645"/>
                <a:gd name="connsiteY2" fmla="*/ 588645 h 588645"/>
                <a:gd name="connsiteX3" fmla="*/ 0 w 588645"/>
                <a:gd name="connsiteY3" fmla="*/ 588645 h 588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8645" h="588645">
                  <a:moveTo>
                    <a:pt x="0" y="0"/>
                  </a:moveTo>
                  <a:lnTo>
                    <a:pt x="588645" y="0"/>
                  </a:lnTo>
                  <a:lnTo>
                    <a:pt x="588645" y="588645"/>
                  </a:lnTo>
                  <a:lnTo>
                    <a:pt x="0" y="588645"/>
                  </a:ln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8F8F05B9-05C7-47E6-98C3-418DDEF21FEF}"/>
                </a:ext>
              </a:extLst>
            </p:cNvPr>
            <p:cNvSpPr/>
            <p:nvPr/>
          </p:nvSpPr>
          <p:spPr>
            <a:xfrm>
              <a:off x="9208834" y="3523525"/>
              <a:ext cx="588645" cy="588645"/>
            </a:xfrm>
            <a:custGeom>
              <a:avLst/>
              <a:gdLst>
                <a:gd name="connsiteX0" fmla="*/ 0 w 588645"/>
                <a:gd name="connsiteY0" fmla="*/ 0 h 588645"/>
                <a:gd name="connsiteX1" fmla="*/ 588645 w 588645"/>
                <a:gd name="connsiteY1" fmla="*/ 0 h 588645"/>
                <a:gd name="connsiteX2" fmla="*/ 588645 w 588645"/>
                <a:gd name="connsiteY2" fmla="*/ 588645 h 588645"/>
                <a:gd name="connsiteX3" fmla="*/ 0 w 588645"/>
                <a:gd name="connsiteY3" fmla="*/ 588645 h 588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8645" h="588645">
                  <a:moveTo>
                    <a:pt x="0" y="0"/>
                  </a:moveTo>
                  <a:lnTo>
                    <a:pt x="588645" y="0"/>
                  </a:lnTo>
                  <a:lnTo>
                    <a:pt x="588645" y="588645"/>
                  </a:lnTo>
                  <a:lnTo>
                    <a:pt x="0" y="588645"/>
                  </a:ln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E27D2523-26C2-4F1B-88D0-75820F7F4849}"/>
                </a:ext>
              </a:extLst>
            </p:cNvPr>
            <p:cNvSpPr/>
            <p:nvPr/>
          </p:nvSpPr>
          <p:spPr>
            <a:xfrm>
              <a:off x="10777214" y="5043124"/>
              <a:ext cx="146342" cy="255035"/>
            </a:xfrm>
            <a:custGeom>
              <a:avLst/>
              <a:gdLst>
                <a:gd name="connsiteX0" fmla="*/ -1069 w 146342"/>
                <a:gd name="connsiteY0" fmla="*/ 254786 h 255035"/>
                <a:gd name="connsiteX1" fmla="*/ 194 w 146342"/>
                <a:gd name="connsiteY1" fmla="*/ 215546 h 255035"/>
                <a:gd name="connsiteX2" fmla="*/ 10764 w 146342"/>
                <a:gd name="connsiteY2" fmla="*/ 179206 h 255035"/>
                <a:gd name="connsiteX3" fmla="*/ 37470 w 146342"/>
                <a:gd name="connsiteY3" fmla="*/ 106993 h 255035"/>
                <a:gd name="connsiteX4" fmla="*/ 79890 w 146342"/>
                <a:gd name="connsiteY4" fmla="*/ 41188 h 255035"/>
                <a:gd name="connsiteX5" fmla="*/ 93359 w 146342"/>
                <a:gd name="connsiteY5" fmla="*/ 26829 h 255035"/>
                <a:gd name="connsiteX6" fmla="*/ 108139 w 146342"/>
                <a:gd name="connsiteY6" fmla="*/ 13781 h 255035"/>
                <a:gd name="connsiteX7" fmla="*/ 126847 w 146342"/>
                <a:gd name="connsiteY7" fmla="*/ 6438 h 255035"/>
                <a:gd name="connsiteX8" fmla="*/ 145274 w 146342"/>
                <a:gd name="connsiteY8" fmla="*/ -250 h 255035"/>
                <a:gd name="connsiteX9" fmla="*/ 145274 w 146342"/>
                <a:gd name="connsiteY9" fmla="*/ -250 h 255035"/>
                <a:gd name="connsiteX10" fmla="*/ 132319 w 146342"/>
                <a:gd name="connsiteY10" fmla="*/ 14015 h 255035"/>
                <a:gd name="connsiteX11" fmla="*/ 121468 w 146342"/>
                <a:gd name="connsiteY11" fmla="*/ 29870 h 255035"/>
                <a:gd name="connsiteX12" fmla="*/ 95885 w 146342"/>
                <a:gd name="connsiteY12" fmla="*/ 55359 h 255035"/>
                <a:gd name="connsiteX13" fmla="*/ 57019 w 146342"/>
                <a:gd name="connsiteY13" fmla="*/ 116160 h 255035"/>
                <a:gd name="connsiteX14" fmla="*/ 31577 w 146342"/>
                <a:gd name="connsiteY14" fmla="*/ 185473 h 255035"/>
                <a:gd name="connsiteX15" fmla="*/ 20726 w 146342"/>
                <a:gd name="connsiteY15" fmla="*/ 221579 h 255035"/>
                <a:gd name="connsiteX16" fmla="*/ -929 w 146342"/>
                <a:gd name="connsiteY16" fmla="*/ 254318 h 25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6342" h="255035">
                  <a:moveTo>
                    <a:pt x="-1069" y="254786"/>
                  </a:moveTo>
                  <a:cubicBezTo>
                    <a:pt x="4684" y="241877"/>
                    <a:pt x="-3922" y="227332"/>
                    <a:pt x="194" y="215546"/>
                  </a:cubicBezTo>
                  <a:cubicBezTo>
                    <a:pt x="3421" y="203432"/>
                    <a:pt x="7022" y="191319"/>
                    <a:pt x="10764" y="179206"/>
                  </a:cubicBezTo>
                  <a:cubicBezTo>
                    <a:pt x="17920" y="154525"/>
                    <a:pt x="26853" y="130396"/>
                    <a:pt x="37470" y="106993"/>
                  </a:cubicBezTo>
                  <a:cubicBezTo>
                    <a:pt x="48554" y="83220"/>
                    <a:pt x="62818" y="61079"/>
                    <a:pt x="79890" y="41188"/>
                  </a:cubicBezTo>
                  <a:cubicBezTo>
                    <a:pt x="84567" y="36511"/>
                    <a:pt x="88682" y="31413"/>
                    <a:pt x="93359" y="26829"/>
                  </a:cubicBezTo>
                  <a:cubicBezTo>
                    <a:pt x="98036" y="22246"/>
                    <a:pt x="102947" y="17850"/>
                    <a:pt x="108139" y="13781"/>
                  </a:cubicBezTo>
                  <a:cubicBezTo>
                    <a:pt x="113611" y="9744"/>
                    <a:pt x="120065" y="7214"/>
                    <a:pt x="126847" y="6438"/>
                  </a:cubicBezTo>
                  <a:cubicBezTo>
                    <a:pt x="133348" y="5353"/>
                    <a:pt x="139568" y="3085"/>
                    <a:pt x="145274" y="-250"/>
                  </a:cubicBezTo>
                  <a:lnTo>
                    <a:pt x="145274" y="-250"/>
                  </a:lnTo>
                  <a:cubicBezTo>
                    <a:pt x="139802" y="3309"/>
                    <a:pt x="135359" y="8225"/>
                    <a:pt x="132319" y="14015"/>
                  </a:cubicBezTo>
                  <a:cubicBezTo>
                    <a:pt x="129746" y="19936"/>
                    <a:pt x="126051" y="25314"/>
                    <a:pt x="121468" y="29870"/>
                  </a:cubicBezTo>
                  <a:cubicBezTo>
                    <a:pt x="112488" y="37881"/>
                    <a:pt x="103929" y="46389"/>
                    <a:pt x="95885" y="55359"/>
                  </a:cubicBezTo>
                  <a:cubicBezTo>
                    <a:pt x="80217" y="73772"/>
                    <a:pt x="67168" y="94225"/>
                    <a:pt x="57019" y="116160"/>
                  </a:cubicBezTo>
                  <a:cubicBezTo>
                    <a:pt x="46917" y="138637"/>
                    <a:pt x="38405" y="161798"/>
                    <a:pt x="31577" y="185473"/>
                  </a:cubicBezTo>
                  <a:cubicBezTo>
                    <a:pt x="28022" y="197446"/>
                    <a:pt x="24655" y="209512"/>
                    <a:pt x="20726" y="221579"/>
                  </a:cubicBezTo>
                  <a:cubicBezTo>
                    <a:pt x="17779" y="233926"/>
                    <a:pt x="2673" y="243748"/>
                    <a:pt x="-929" y="254318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DBBA1D92-5A51-4975-9C3E-2625BC7D630E}"/>
                </a:ext>
              </a:extLst>
            </p:cNvPr>
            <p:cNvSpPr/>
            <p:nvPr/>
          </p:nvSpPr>
          <p:spPr>
            <a:xfrm>
              <a:off x="9862910" y="6022974"/>
              <a:ext cx="143817" cy="71114"/>
            </a:xfrm>
            <a:custGeom>
              <a:avLst/>
              <a:gdLst>
                <a:gd name="connsiteX0" fmla="*/ -1069 w 143817"/>
                <a:gd name="connsiteY0" fmla="*/ 70864 h 71114"/>
                <a:gd name="connsiteX1" fmla="*/ 10951 w 143817"/>
                <a:gd name="connsiteY1" fmla="*/ 53513 h 71114"/>
                <a:gd name="connsiteX2" fmla="*/ 24982 w 143817"/>
                <a:gd name="connsiteY2" fmla="*/ 36769 h 71114"/>
                <a:gd name="connsiteX3" fmla="*/ 45888 w 143817"/>
                <a:gd name="connsiteY3" fmla="*/ 31250 h 71114"/>
                <a:gd name="connsiteX4" fmla="*/ 64315 w 143817"/>
                <a:gd name="connsiteY4" fmla="*/ 22224 h 71114"/>
                <a:gd name="connsiteX5" fmla="*/ 100234 w 143817"/>
                <a:gd name="connsiteY5" fmla="*/ 1271 h 71114"/>
                <a:gd name="connsiteX6" fmla="*/ 142749 w 143817"/>
                <a:gd name="connsiteY6" fmla="*/ 897 h 71114"/>
                <a:gd name="connsiteX7" fmla="*/ 142749 w 143817"/>
                <a:gd name="connsiteY7" fmla="*/ 897 h 71114"/>
                <a:gd name="connsiteX8" fmla="*/ 108513 w 143817"/>
                <a:gd name="connsiteY8" fmla="*/ 24983 h 71114"/>
                <a:gd name="connsiteX9" fmla="*/ 69647 w 143817"/>
                <a:gd name="connsiteY9" fmla="*/ 33823 h 71114"/>
                <a:gd name="connsiteX10" fmla="*/ 52062 w 143817"/>
                <a:gd name="connsiteY10" fmla="*/ 42709 h 71114"/>
                <a:gd name="connsiteX11" fmla="*/ 38031 w 143817"/>
                <a:gd name="connsiteY11" fmla="*/ 57535 h 71114"/>
                <a:gd name="connsiteX12" fmla="*/ 18715 w 143817"/>
                <a:gd name="connsiteY12" fmla="*/ 63709 h 71114"/>
                <a:gd name="connsiteX13" fmla="*/ -1022 w 143817"/>
                <a:gd name="connsiteY13" fmla="*/ 70818 h 71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3817" h="71114">
                  <a:moveTo>
                    <a:pt x="-1069" y="70864"/>
                  </a:moveTo>
                  <a:cubicBezTo>
                    <a:pt x="4309" y="66164"/>
                    <a:pt x="8425" y="60201"/>
                    <a:pt x="10951" y="53513"/>
                  </a:cubicBezTo>
                  <a:cubicBezTo>
                    <a:pt x="13570" y="46488"/>
                    <a:pt x="18528" y="40581"/>
                    <a:pt x="24982" y="36769"/>
                  </a:cubicBezTo>
                  <a:cubicBezTo>
                    <a:pt x="31202" y="32766"/>
                    <a:pt x="38498" y="30834"/>
                    <a:pt x="45888" y="31250"/>
                  </a:cubicBezTo>
                  <a:cubicBezTo>
                    <a:pt x="53278" y="32177"/>
                    <a:pt x="60527" y="28631"/>
                    <a:pt x="64315" y="22224"/>
                  </a:cubicBezTo>
                  <a:cubicBezTo>
                    <a:pt x="73249" y="8474"/>
                    <a:pt x="87700" y="6369"/>
                    <a:pt x="100234" y="1271"/>
                  </a:cubicBezTo>
                  <a:cubicBezTo>
                    <a:pt x="112769" y="-3827"/>
                    <a:pt x="130354" y="5948"/>
                    <a:pt x="142749" y="897"/>
                  </a:cubicBezTo>
                  <a:lnTo>
                    <a:pt x="142749" y="897"/>
                  </a:lnTo>
                  <a:cubicBezTo>
                    <a:pt x="129419" y="3469"/>
                    <a:pt x="121141" y="21756"/>
                    <a:pt x="108513" y="24983"/>
                  </a:cubicBezTo>
                  <a:cubicBezTo>
                    <a:pt x="95885" y="28210"/>
                    <a:pt x="85128" y="36349"/>
                    <a:pt x="69647" y="33823"/>
                  </a:cubicBezTo>
                  <a:cubicBezTo>
                    <a:pt x="62445" y="32462"/>
                    <a:pt x="55242" y="36110"/>
                    <a:pt x="52062" y="42709"/>
                  </a:cubicBezTo>
                  <a:cubicBezTo>
                    <a:pt x="48741" y="48775"/>
                    <a:pt x="43924" y="53882"/>
                    <a:pt x="38031" y="57535"/>
                  </a:cubicBezTo>
                  <a:cubicBezTo>
                    <a:pt x="32278" y="61351"/>
                    <a:pt x="25590" y="63489"/>
                    <a:pt x="18715" y="63709"/>
                  </a:cubicBezTo>
                  <a:cubicBezTo>
                    <a:pt x="11559" y="63896"/>
                    <a:pt x="4637" y="66389"/>
                    <a:pt x="-1022" y="70818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94DB63C2-163C-43CB-875E-BCA7B99ADDD5}"/>
                </a:ext>
              </a:extLst>
            </p:cNvPr>
            <p:cNvSpPr/>
            <p:nvPr/>
          </p:nvSpPr>
          <p:spPr>
            <a:xfrm>
              <a:off x="11168724" y="4281150"/>
              <a:ext cx="1075" cy="748"/>
            </a:xfrm>
            <a:custGeom>
              <a:avLst/>
              <a:gdLst>
                <a:gd name="connsiteX0" fmla="*/ -1069 w 1075"/>
                <a:gd name="connsiteY0" fmla="*/ 498 h 748"/>
                <a:gd name="connsiteX1" fmla="*/ 7 w 1075"/>
                <a:gd name="connsiteY1" fmla="*/ -250 h 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75" h="748">
                  <a:moveTo>
                    <a:pt x="-1069" y="498"/>
                  </a:moveTo>
                  <a:lnTo>
                    <a:pt x="7" y="-250"/>
                  </a:lnTo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DCC3FC48-E772-4600-9AAB-C1A75F63676A}"/>
                </a:ext>
              </a:extLst>
            </p:cNvPr>
            <p:cNvSpPr/>
            <p:nvPr/>
          </p:nvSpPr>
          <p:spPr>
            <a:xfrm>
              <a:off x="10281921" y="4908146"/>
              <a:ext cx="113089" cy="161402"/>
            </a:xfrm>
            <a:custGeom>
              <a:avLst/>
              <a:gdLst>
                <a:gd name="connsiteX0" fmla="*/ -1022 w 113089"/>
                <a:gd name="connsiteY0" fmla="*/ 160778 h 161402"/>
                <a:gd name="connsiteX1" fmla="*/ 8004 w 113089"/>
                <a:gd name="connsiteY1" fmla="*/ 152219 h 161402"/>
                <a:gd name="connsiteX2" fmla="*/ 14225 w 113089"/>
                <a:gd name="connsiteY2" fmla="*/ 140059 h 161402"/>
                <a:gd name="connsiteX3" fmla="*/ 30173 w 113089"/>
                <a:gd name="connsiteY3" fmla="*/ 121632 h 161402"/>
                <a:gd name="connsiteX4" fmla="*/ 60761 w 113089"/>
                <a:gd name="connsiteY4" fmla="*/ 84684 h 161402"/>
                <a:gd name="connsiteX5" fmla="*/ 84146 w 113089"/>
                <a:gd name="connsiteY5" fmla="*/ 42310 h 161402"/>
                <a:gd name="connsiteX6" fmla="*/ 96399 w 113089"/>
                <a:gd name="connsiteY6" fmla="*/ 20749 h 161402"/>
                <a:gd name="connsiteX7" fmla="*/ 106034 w 113089"/>
                <a:gd name="connsiteY7" fmla="*/ 10974 h 161402"/>
                <a:gd name="connsiteX8" fmla="*/ 112020 w 113089"/>
                <a:gd name="connsiteY8" fmla="*/ -250 h 161402"/>
                <a:gd name="connsiteX9" fmla="*/ 112020 w 113089"/>
                <a:gd name="connsiteY9" fmla="*/ -250 h 161402"/>
                <a:gd name="connsiteX10" fmla="*/ 109916 w 113089"/>
                <a:gd name="connsiteY10" fmla="*/ 12377 h 161402"/>
                <a:gd name="connsiteX11" fmla="*/ 111085 w 113089"/>
                <a:gd name="connsiteY11" fmla="*/ 26408 h 161402"/>
                <a:gd name="connsiteX12" fmla="*/ 104257 w 113089"/>
                <a:gd name="connsiteY12" fmla="*/ 51477 h 161402"/>
                <a:gd name="connsiteX13" fmla="*/ 79422 w 113089"/>
                <a:gd name="connsiteY13" fmla="*/ 97312 h 161402"/>
                <a:gd name="connsiteX14" fmla="*/ 45935 w 113089"/>
                <a:gd name="connsiteY14" fmla="*/ 137814 h 161402"/>
                <a:gd name="connsiteX15" fmla="*/ 24281 w 113089"/>
                <a:gd name="connsiteY15" fmla="*/ 152827 h 161402"/>
                <a:gd name="connsiteX16" fmla="*/ 10904 w 113089"/>
                <a:gd name="connsiteY16" fmla="*/ 156475 h 161402"/>
                <a:gd name="connsiteX17" fmla="*/ -1069 w 113089"/>
                <a:gd name="connsiteY17" fmla="*/ 161152 h 161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3089" h="161402">
                  <a:moveTo>
                    <a:pt x="-1022" y="160778"/>
                  </a:moveTo>
                  <a:cubicBezTo>
                    <a:pt x="2486" y="158487"/>
                    <a:pt x="5526" y="155587"/>
                    <a:pt x="8004" y="152219"/>
                  </a:cubicBezTo>
                  <a:cubicBezTo>
                    <a:pt x="10436" y="148351"/>
                    <a:pt x="12495" y="144282"/>
                    <a:pt x="14225" y="140059"/>
                  </a:cubicBezTo>
                  <a:cubicBezTo>
                    <a:pt x="18200" y="132108"/>
                    <a:pt x="24561" y="127385"/>
                    <a:pt x="30173" y="121632"/>
                  </a:cubicBezTo>
                  <a:cubicBezTo>
                    <a:pt x="41539" y="110332"/>
                    <a:pt x="51781" y="97957"/>
                    <a:pt x="60761" y="84684"/>
                  </a:cubicBezTo>
                  <a:cubicBezTo>
                    <a:pt x="69741" y="71242"/>
                    <a:pt x="77551" y="57071"/>
                    <a:pt x="84146" y="42310"/>
                  </a:cubicBezTo>
                  <a:cubicBezTo>
                    <a:pt x="87700" y="34967"/>
                    <a:pt x="90086" y="27204"/>
                    <a:pt x="96399" y="20749"/>
                  </a:cubicBezTo>
                  <a:cubicBezTo>
                    <a:pt x="99814" y="17714"/>
                    <a:pt x="103041" y="14450"/>
                    <a:pt x="106034" y="10974"/>
                  </a:cubicBezTo>
                  <a:cubicBezTo>
                    <a:pt x="108466" y="7490"/>
                    <a:pt x="110477" y="3721"/>
                    <a:pt x="112020" y="-250"/>
                  </a:cubicBezTo>
                  <a:lnTo>
                    <a:pt x="112020" y="-250"/>
                  </a:lnTo>
                  <a:cubicBezTo>
                    <a:pt x="110898" y="3875"/>
                    <a:pt x="110197" y="8107"/>
                    <a:pt x="109916" y="12377"/>
                  </a:cubicBezTo>
                  <a:cubicBezTo>
                    <a:pt x="109916" y="16774"/>
                    <a:pt x="110805" y="21731"/>
                    <a:pt x="111085" y="26408"/>
                  </a:cubicBezTo>
                  <a:cubicBezTo>
                    <a:pt x="110758" y="35173"/>
                    <a:pt x="108420" y="43751"/>
                    <a:pt x="104257" y="51477"/>
                  </a:cubicBezTo>
                  <a:cubicBezTo>
                    <a:pt x="97335" y="67449"/>
                    <a:pt x="89010" y="82785"/>
                    <a:pt x="79422" y="97312"/>
                  </a:cubicBezTo>
                  <a:cubicBezTo>
                    <a:pt x="69647" y="111908"/>
                    <a:pt x="58422" y="125481"/>
                    <a:pt x="45935" y="137814"/>
                  </a:cubicBezTo>
                  <a:cubicBezTo>
                    <a:pt x="39574" y="143801"/>
                    <a:pt x="33401" y="150255"/>
                    <a:pt x="24281" y="152827"/>
                  </a:cubicBezTo>
                  <a:cubicBezTo>
                    <a:pt x="19604" y="154043"/>
                    <a:pt x="14927" y="155119"/>
                    <a:pt x="10904" y="156475"/>
                  </a:cubicBezTo>
                  <a:cubicBezTo>
                    <a:pt x="6882" y="157832"/>
                    <a:pt x="2673" y="159282"/>
                    <a:pt x="-1069" y="161152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2058473F-1420-40BE-BF89-F9210B56B433}"/>
                </a:ext>
              </a:extLst>
            </p:cNvPr>
            <p:cNvSpPr/>
            <p:nvPr/>
          </p:nvSpPr>
          <p:spPr>
            <a:xfrm>
              <a:off x="9551095" y="5487765"/>
              <a:ext cx="303816" cy="176649"/>
            </a:xfrm>
            <a:custGeom>
              <a:avLst/>
              <a:gdLst>
                <a:gd name="connsiteX0" fmla="*/ -1069 w 303816"/>
                <a:gd name="connsiteY0" fmla="*/ 176165 h 176649"/>
                <a:gd name="connsiteX1" fmla="*/ 8987 w 303816"/>
                <a:gd name="connsiteY1" fmla="*/ 170319 h 176649"/>
                <a:gd name="connsiteX2" fmla="*/ 17639 w 303816"/>
                <a:gd name="connsiteY2" fmla="*/ 160965 h 176649"/>
                <a:gd name="connsiteX3" fmla="*/ 27975 w 303816"/>
                <a:gd name="connsiteY3" fmla="*/ 155727 h 176649"/>
                <a:gd name="connsiteX4" fmla="*/ 40603 w 303816"/>
                <a:gd name="connsiteY4" fmla="*/ 157317 h 176649"/>
                <a:gd name="connsiteX5" fmla="*/ 62866 w 303816"/>
                <a:gd name="connsiteY5" fmla="*/ 152640 h 176649"/>
                <a:gd name="connsiteX6" fmla="*/ 72594 w 303816"/>
                <a:gd name="connsiteY6" fmla="*/ 145484 h 176649"/>
                <a:gd name="connsiteX7" fmla="*/ 81948 w 303816"/>
                <a:gd name="connsiteY7" fmla="*/ 136925 h 176649"/>
                <a:gd name="connsiteX8" fmla="*/ 103135 w 303816"/>
                <a:gd name="connsiteY8" fmla="*/ 128975 h 176649"/>
                <a:gd name="connsiteX9" fmla="*/ 124508 w 303816"/>
                <a:gd name="connsiteY9" fmla="*/ 122380 h 176649"/>
                <a:gd name="connsiteX10" fmla="*/ 165946 w 303816"/>
                <a:gd name="connsiteY10" fmla="*/ 107087 h 176649"/>
                <a:gd name="connsiteX11" fmla="*/ 239282 w 303816"/>
                <a:gd name="connsiteY11" fmla="*/ 61813 h 176649"/>
                <a:gd name="connsiteX12" fmla="*/ 268840 w 303816"/>
                <a:gd name="connsiteY12" fmla="*/ 30524 h 176649"/>
                <a:gd name="connsiteX13" fmla="*/ 285162 w 303816"/>
                <a:gd name="connsiteY13" fmla="*/ 15371 h 176649"/>
                <a:gd name="connsiteX14" fmla="*/ 295593 w 303816"/>
                <a:gd name="connsiteY14" fmla="*/ 8683 h 176649"/>
                <a:gd name="connsiteX15" fmla="*/ 302748 w 303816"/>
                <a:gd name="connsiteY15" fmla="*/ -250 h 176649"/>
                <a:gd name="connsiteX16" fmla="*/ 302748 w 303816"/>
                <a:gd name="connsiteY16" fmla="*/ -250 h 176649"/>
                <a:gd name="connsiteX17" fmla="*/ 298866 w 303816"/>
                <a:gd name="connsiteY17" fmla="*/ 10600 h 176649"/>
                <a:gd name="connsiteX18" fmla="*/ 297463 w 303816"/>
                <a:gd name="connsiteY18" fmla="*/ 23228 h 176649"/>
                <a:gd name="connsiteX19" fmla="*/ 287735 w 303816"/>
                <a:gd name="connsiteY19" fmla="*/ 45117 h 176649"/>
                <a:gd name="connsiteX20" fmla="*/ 255417 w 303816"/>
                <a:gd name="connsiteY20" fmla="*/ 79867 h 176649"/>
                <a:gd name="connsiteX21" fmla="*/ 175628 w 303816"/>
                <a:gd name="connsiteY21" fmla="*/ 129770 h 176649"/>
                <a:gd name="connsiteX22" fmla="*/ 132132 w 303816"/>
                <a:gd name="connsiteY22" fmla="*/ 145952 h 176649"/>
                <a:gd name="connsiteX23" fmla="*/ 110244 w 303816"/>
                <a:gd name="connsiteY23" fmla="*/ 152781 h 176649"/>
                <a:gd name="connsiteX24" fmla="*/ 87981 w 303816"/>
                <a:gd name="connsiteY24" fmla="*/ 157691 h 176649"/>
                <a:gd name="connsiteX25" fmla="*/ 63567 w 303816"/>
                <a:gd name="connsiteY25" fmla="*/ 154885 h 176649"/>
                <a:gd name="connsiteX26" fmla="*/ 42661 w 303816"/>
                <a:gd name="connsiteY26" fmla="*/ 163725 h 176649"/>
                <a:gd name="connsiteX27" fmla="*/ 33821 w 303816"/>
                <a:gd name="connsiteY27" fmla="*/ 172518 h 176649"/>
                <a:gd name="connsiteX28" fmla="*/ 22924 w 303816"/>
                <a:gd name="connsiteY28" fmla="*/ 175090 h 176649"/>
                <a:gd name="connsiteX29" fmla="*/ -1069 w 303816"/>
                <a:gd name="connsiteY29" fmla="*/ 176399 h 176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3816" h="176649">
                  <a:moveTo>
                    <a:pt x="-1069" y="176165"/>
                  </a:moveTo>
                  <a:cubicBezTo>
                    <a:pt x="3188" y="173546"/>
                    <a:pt x="5853" y="172705"/>
                    <a:pt x="8987" y="170319"/>
                  </a:cubicBezTo>
                  <a:cubicBezTo>
                    <a:pt x="12120" y="167934"/>
                    <a:pt x="14646" y="163959"/>
                    <a:pt x="17639" y="160965"/>
                  </a:cubicBezTo>
                  <a:cubicBezTo>
                    <a:pt x="20352" y="158033"/>
                    <a:pt x="24000" y="156176"/>
                    <a:pt x="27975" y="155727"/>
                  </a:cubicBezTo>
                  <a:cubicBezTo>
                    <a:pt x="32231" y="155835"/>
                    <a:pt x="36441" y="156363"/>
                    <a:pt x="40603" y="157317"/>
                  </a:cubicBezTo>
                  <a:cubicBezTo>
                    <a:pt x="48321" y="157818"/>
                    <a:pt x="55990" y="156200"/>
                    <a:pt x="62866" y="152640"/>
                  </a:cubicBezTo>
                  <a:cubicBezTo>
                    <a:pt x="66607" y="150999"/>
                    <a:pt x="69928" y="148557"/>
                    <a:pt x="72594" y="145484"/>
                  </a:cubicBezTo>
                  <a:cubicBezTo>
                    <a:pt x="75306" y="142220"/>
                    <a:pt x="78440" y="139339"/>
                    <a:pt x="81948" y="136925"/>
                  </a:cubicBezTo>
                  <a:cubicBezTo>
                    <a:pt x="88682" y="133469"/>
                    <a:pt x="95791" y="130799"/>
                    <a:pt x="103135" y="128975"/>
                  </a:cubicBezTo>
                  <a:lnTo>
                    <a:pt x="124508" y="122380"/>
                  </a:lnTo>
                  <a:cubicBezTo>
                    <a:pt x="138539" y="117703"/>
                    <a:pt x="152570" y="113026"/>
                    <a:pt x="165946" y="107087"/>
                  </a:cubicBezTo>
                  <a:cubicBezTo>
                    <a:pt x="192699" y="96133"/>
                    <a:pt x="217487" y="80835"/>
                    <a:pt x="239282" y="61813"/>
                  </a:cubicBezTo>
                  <a:cubicBezTo>
                    <a:pt x="250038" y="52268"/>
                    <a:pt x="259907" y="41796"/>
                    <a:pt x="268840" y="30524"/>
                  </a:cubicBezTo>
                  <a:cubicBezTo>
                    <a:pt x="272956" y="24215"/>
                    <a:pt x="278568" y="19014"/>
                    <a:pt x="285162" y="15371"/>
                  </a:cubicBezTo>
                  <a:cubicBezTo>
                    <a:pt x="288904" y="13617"/>
                    <a:pt x="292412" y="11367"/>
                    <a:pt x="295593" y="8683"/>
                  </a:cubicBezTo>
                  <a:cubicBezTo>
                    <a:pt x="298352" y="6036"/>
                    <a:pt x="300784" y="3028"/>
                    <a:pt x="302748" y="-250"/>
                  </a:cubicBezTo>
                  <a:lnTo>
                    <a:pt x="302748" y="-250"/>
                  </a:lnTo>
                  <a:cubicBezTo>
                    <a:pt x="301111" y="3229"/>
                    <a:pt x="299801" y="6863"/>
                    <a:pt x="298866" y="10600"/>
                  </a:cubicBezTo>
                  <a:cubicBezTo>
                    <a:pt x="298071" y="14768"/>
                    <a:pt x="297603" y="18991"/>
                    <a:pt x="297463" y="23228"/>
                  </a:cubicBezTo>
                  <a:cubicBezTo>
                    <a:pt x="296621" y="31371"/>
                    <a:pt x="293207" y="39036"/>
                    <a:pt x="287735" y="45117"/>
                  </a:cubicBezTo>
                  <a:cubicBezTo>
                    <a:pt x="278241" y="57814"/>
                    <a:pt x="267390" y="69465"/>
                    <a:pt x="255417" y="79867"/>
                  </a:cubicBezTo>
                  <a:cubicBezTo>
                    <a:pt x="231798" y="100861"/>
                    <a:pt x="204859" y="117731"/>
                    <a:pt x="175628" y="129770"/>
                  </a:cubicBezTo>
                  <a:cubicBezTo>
                    <a:pt x="161269" y="135944"/>
                    <a:pt x="146724" y="141275"/>
                    <a:pt x="132132" y="145952"/>
                  </a:cubicBezTo>
                  <a:cubicBezTo>
                    <a:pt x="124836" y="148244"/>
                    <a:pt x="117586" y="150629"/>
                    <a:pt x="110244" y="152781"/>
                  </a:cubicBezTo>
                  <a:cubicBezTo>
                    <a:pt x="103088" y="155381"/>
                    <a:pt x="95605" y="157027"/>
                    <a:pt x="87981" y="157691"/>
                  </a:cubicBezTo>
                  <a:cubicBezTo>
                    <a:pt x="80217" y="157972"/>
                    <a:pt x="70817" y="152781"/>
                    <a:pt x="63567" y="154885"/>
                  </a:cubicBezTo>
                  <a:cubicBezTo>
                    <a:pt x="55850" y="155676"/>
                    <a:pt x="48601" y="158758"/>
                    <a:pt x="42661" y="163725"/>
                  </a:cubicBezTo>
                  <a:cubicBezTo>
                    <a:pt x="39949" y="166896"/>
                    <a:pt x="37002" y="169838"/>
                    <a:pt x="33821" y="172518"/>
                  </a:cubicBezTo>
                  <a:cubicBezTo>
                    <a:pt x="30641" y="174674"/>
                    <a:pt x="26759" y="175586"/>
                    <a:pt x="22924" y="175090"/>
                  </a:cubicBezTo>
                  <a:cubicBezTo>
                    <a:pt x="14974" y="173013"/>
                    <a:pt x="6602" y="173472"/>
                    <a:pt x="-1069" y="176399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344DD5B1-7A63-475A-83AD-D6F1E7C62889}"/>
                </a:ext>
              </a:extLst>
            </p:cNvPr>
            <p:cNvSpPr/>
            <p:nvPr/>
          </p:nvSpPr>
          <p:spPr>
            <a:xfrm>
              <a:off x="9202520" y="5744859"/>
              <a:ext cx="1964" cy="6501"/>
            </a:xfrm>
            <a:custGeom>
              <a:avLst/>
              <a:gdLst>
                <a:gd name="connsiteX0" fmla="*/ -1069 w 1964"/>
                <a:gd name="connsiteY0" fmla="*/ 6251 h 6501"/>
                <a:gd name="connsiteX1" fmla="*/ 896 w 1964"/>
                <a:gd name="connsiteY1" fmla="*/ -250 h 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64" h="6501">
                  <a:moveTo>
                    <a:pt x="-1069" y="6251"/>
                  </a:moveTo>
                  <a:lnTo>
                    <a:pt x="896" y="-250"/>
                  </a:lnTo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067F8214-FB4C-4639-9772-0D2A2818ED27}"/>
                </a:ext>
              </a:extLst>
            </p:cNvPr>
            <p:cNvSpPr/>
            <p:nvPr/>
          </p:nvSpPr>
          <p:spPr>
            <a:xfrm>
              <a:off x="8490355" y="5804256"/>
              <a:ext cx="552164" cy="547066"/>
            </a:xfrm>
            <a:custGeom>
              <a:avLst/>
              <a:gdLst>
                <a:gd name="connsiteX0" fmla="*/ 7350 w 552164"/>
                <a:gd name="connsiteY0" fmla="*/ 535779 h 547066"/>
                <a:gd name="connsiteX1" fmla="*/ 12915 w 552164"/>
                <a:gd name="connsiteY1" fmla="*/ 522496 h 547066"/>
                <a:gd name="connsiteX2" fmla="*/ 28770 w 552164"/>
                <a:gd name="connsiteY2" fmla="*/ 503367 h 547066"/>
                <a:gd name="connsiteX3" fmla="*/ 45047 w 552164"/>
                <a:gd name="connsiteY3" fmla="*/ 485174 h 547066"/>
                <a:gd name="connsiteX4" fmla="*/ 59078 w 552164"/>
                <a:gd name="connsiteY4" fmla="*/ 465250 h 547066"/>
                <a:gd name="connsiteX5" fmla="*/ 99159 w 552164"/>
                <a:gd name="connsiteY5" fmla="*/ 374283 h 547066"/>
                <a:gd name="connsiteX6" fmla="*/ 130121 w 552164"/>
                <a:gd name="connsiteY6" fmla="*/ 275271 h 547066"/>
                <a:gd name="connsiteX7" fmla="*/ 181568 w 552164"/>
                <a:gd name="connsiteY7" fmla="*/ 181450 h 547066"/>
                <a:gd name="connsiteX8" fmla="*/ 265753 w 552164"/>
                <a:gd name="connsiteY8" fmla="*/ 114149 h 547066"/>
                <a:gd name="connsiteX9" fmla="*/ 364531 w 552164"/>
                <a:gd name="connsiteY9" fmla="*/ 77107 h 547066"/>
                <a:gd name="connsiteX10" fmla="*/ 460737 w 552164"/>
                <a:gd name="connsiteY10" fmla="*/ 44836 h 547066"/>
                <a:gd name="connsiteX11" fmla="*/ 483046 w 552164"/>
                <a:gd name="connsiteY11" fmla="*/ 34079 h 547066"/>
                <a:gd name="connsiteX12" fmla="*/ 504092 w 552164"/>
                <a:gd name="connsiteY12" fmla="*/ 21404 h 547066"/>
                <a:gd name="connsiteX13" fmla="*/ 514101 w 552164"/>
                <a:gd name="connsiteY13" fmla="*/ 14342 h 547066"/>
                <a:gd name="connsiteX14" fmla="*/ 525840 w 552164"/>
                <a:gd name="connsiteY14" fmla="*/ 9665 h 547066"/>
                <a:gd name="connsiteX15" fmla="*/ 539871 w 552164"/>
                <a:gd name="connsiteY15" fmla="*/ 6578 h 547066"/>
                <a:gd name="connsiteX16" fmla="*/ 551096 w 552164"/>
                <a:gd name="connsiteY16" fmla="*/ -250 h 547066"/>
                <a:gd name="connsiteX17" fmla="*/ 551096 w 552164"/>
                <a:gd name="connsiteY17" fmla="*/ -250 h 547066"/>
                <a:gd name="connsiteX18" fmla="*/ 543332 w 552164"/>
                <a:gd name="connsiteY18" fmla="*/ 10320 h 547066"/>
                <a:gd name="connsiteX19" fmla="*/ 538141 w 552164"/>
                <a:gd name="connsiteY19" fmla="*/ 24351 h 547066"/>
                <a:gd name="connsiteX20" fmla="*/ 518545 w 552164"/>
                <a:gd name="connsiteY20" fmla="*/ 43059 h 547066"/>
                <a:gd name="connsiteX21" fmla="*/ 495160 w 552164"/>
                <a:gd name="connsiteY21" fmla="*/ 57090 h 547066"/>
                <a:gd name="connsiteX22" fmla="*/ 471026 w 552164"/>
                <a:gd name="connsiteY22" fmla="*/ 68782 h 547066"/>
                <a:gd name="connsiteX23" fmla="*/ 371781 w 552164"/>
                <a:gd name="connsiteY23" fmla="*/ 102176 h 547066"/>
                <a:gd name="connsiteX24" fmla="*/ 277586 w 552164"/>
                <a:gd name="connsiteY24" fmla="*/ 137347 h 547066"/>
                <a:gd name="connsiteX25" fmla="*/ 201679 w 552164"/>
                <a:gd name="connsiteY25" fmla="*/ 198147 h 547066"/>
                <a:gd name="connsiteX26" fmla="*/ 154488 w 552164"/>
                <a:gd name="connsiteY26" fmla="*/ 284438 h 547066"/>
                <a:gd name="connsiteX27" fmla="*/ 123901 w 552164"/>
                <a:gd name="connsiteY27" fmla="*/ 382327 h 547066"/>
                <a:gd name="connsiteX28" fmla="*/ 80872 w 552164"/>
                <a:gd name="connsiteY28" fmla="*/ 479562 h 547066"/>
                <a:gd name="connsiteX29" fmla="*/ 65111 w 552164"/>
                <a:gd name="connsiteY29" fmla="*/ 501590 h 547066"/>
                <a:gd name="connsiteX30" fmla="*/ 47058 w 552164"/>
                <a:gd name="connsiteY30" fmla="*/ 521888 h 547066"/>
                <a:gd name="connsiteX31" fmla="*/ 24889 w 552164"/>
                <a:gd name="connsiteY31" fmla="*/ 537556 h 547066"/>
                <a:gd name="connsiteX32" fmla="*/ 10109 w 552164"/>
                <a:gd name="connsiteY32" fmla="*/ 540128 h 547066"/>
                <a:gd name="connsiteX33" fmla="*/ -1069 w 552164"/>
                <a:gd name="connsiteY33" fmla="*/ 546816 h 547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552164" h="547066">
                  <a:moveTo>
                    <a:pt x="7350" y="535779"/>
                  </a:moveTo>
                  <a:cubicBezTo>
                    <a:pt x="9501" y="531486"/>
                    <a:pt x="11372" y="527047"/>
                    <a:pt x="12915" y="522496"/>
                  </a:cubicBezTo>
                  <a:cubicBezTo>
                    <a:pt x="16610" y="514078"/>
                    <a:pt x="23346" y="509541"/>
                    <a:pt x="28770" y="503367"/>
                  </a:cubicBezTo>
                  <a:cubicBezTo>
                    <a:pt x="34196" y="497194"/>
                    <a:pt x="39855" y="491441"/>
                    <a:pt x="45047" y="485174"/>
                  </a:cubicBezTo>
                  <a:cubicBezTo>
                    <a:pt x="50238" y="478907"/>
                    <a:pt x="54822" y="472078"/>
                    <a:pt x="59078" y="465250"/>
                  </a:cubicBezTo>
                  <a:cubicBezTo>
                    <a:pt x="76850" y="437749"/>
                    <a:pt x="88963" y="406554"/>
                    <a:pt x="99159" y="374283"/>
                  </a:cubicBezTo>
                  <a:cubicBezTo>
                    <a:pt x="109355" y="342011"/>
                    <a:pt x="117867" y="308431"/>
                    <a:pt x="130121" y="275271"/>
                  </a:cubicBezTo>
                  <a:cubicBezTo>
                    <a:pt x="141767" y="241269"/>
                    <a:pt x="159165" y="209531"/>
                    <a:pt x="181568" y="181450"/>
                  </a:cubicBezTo>
                  <a:cubicBezTo>
                    <a:pt x="204719" y="153487"/>
                    <a:pt x="233389" y="130579"/>
                    <a:pt x="265753" y="114149"/>
                  </a:cubicBezTo>
                  <a:cubicBezTo>
                    <a:pt x="297650" y="97592"/>
                    <a:pt x="331231" y="86929"/>
                    <a:pt x="364531" y="77107"/>
                  </a:cubicBezTo>
                  <a:cubicBezTo>
                    <a:pt x="397831" y="67285"/>
                    <a:pt x="430290" y="58118"/>
                    <a:pt x="460737" y="44836"/>
                  </a:cubicBezTo>
                  <a:cubicBezTo>
                    <a:pt x="468267" y="41422"/>
                    <a:pt x="475563" y="37633"/>
                    <a:pt x="483046" y="34079"/>
                  </a:cubicBezTo>
                  <a:lnTo>
                    <a:pt x="504092" y="21404"/>
                  </a:lnTo>
                  <a:lnTo>
                    <a:pt x="514101" y="14342"/>
                  </a:lnTo>
                  <a:cubicBezTo>
                    <a:pt x="517749" y="12209"/>
                    <a:pt x="521725" y="10633"/>
                    <a:pt x="525840" y="9665"/>
                  </a:cubicBezTo>
                  <a:cubicBezTo>
                    <a:pt x="530517" y="8543"/>
                    <a:pt x="535475" y="8121"/>
                    <a:pt x="539871" y="6578"/>
                  </a:cubicBezTo>
                  <a:cubicBezTo>
                    <a:pt x="543940" y="4904"/>
                    <a:pt x="547729" y="2598"/>
                    <a:pt x="551096" y="-250"/>
                  </a:cubicBezTo>
                  <a:lnTo>
                    <a:pt x="551096" y="-250"/>
                  </a:lnTo>
                  <a:cubicBezTo>
                    <a:pt x="548103" y="2967"/>
                    <a:pt x="545530" y="6513"/>
                    <a:pt x="543332" y="10320"/>
                  </a:cubicBezTo>
                  <a:cubicBezTo>
                    <a:pt x="541275" y="14529"/>
                    <a:pt x="540105" y="19674"/>
                    <a:pt x="538141" y="24351"/>
                  </a:cubicBezTo>
                  <a:cubicBezTo>
                    <a:pt x="533838" y="33237"/>
                    <a:pt x="525560" y="37540"/>
                    <a:pt x="518545" y="43059"/>
                  </a:cubicBezTo>
                  <a:cubicBezTo>
                    <a:pt x="511529" y="48577"/>
                    <a:pt x="503017" y="52413"/>
                    <a:pt x="495160" y="57090"/>
                  </a:cubicBezTo>
                  <a:cubicBezTo>
                    <a:pt x="487115" y="61018"/>
                    <a:pt x="479164" y="65134"/>
                    <a:pt x="471026" y="68782"/>
                  </a:cubicBezTo>
                  <a:cubicBezTo>
                    <a:pt x="438287" y="82813"/>
                    <a:pt x="404567" y="92448"/>
                    <a:pt x="371781" y="102176"/>
                  </a:cubicBezTo>
                  <a:cubicBezTo>
                    <a:pt x="338995" y="111904"/>
                    <a:pt x="306864" y="122146"/>
                    <a:pt x="277586" y="137347"/>
                  </a:cubicBezTo>
                  <a:cubicBezTo>
                    <a:pt x="248355" y="152187"/>
                    <a:pt x="222538" y="172882"/>
                    <a:pt x="201679" y="198147"/>
                  </a:cubicBezTo>
                  <a:cubicBezTo>
                    <a:pt x="181053" y="223955"/>
                    <a:pt x="165105" y="253154"/>
                    <a:pt x="154488" y="284438"/>
                  </a:cubicBezTo>
                  <a:cubicBezTo>
                    <a:pt x="142936" y="315914"/>
                    <a:pt x="134471" y="349074"/>
                    <a:pt x="123901" y="382327"/>
                  </a:cubicBezTo>
                  <a:cubicBezTo>
                    <a:pt x="113331" y="415580"/>
                    <a:pt x="100516" y="449114"/>
                    <a:pt x="80872" y="479562"/>
                  </a:cubicBezTo>
                  <a:cubicBezTo>
                    <a:pt x="76195" y="487092"/>
                    <a:pt x="70349" y="494247"/>
                    <a:pt x="65111" y="501590"/>
                  </a:cubicBezTo>
                  <a:cubicBezTo>
                    <a:pt x="59873" y="508933"/>
                    <a:pt x="53278" y="515294"/>
                    <a:pt x="47058" y="521888"/>
                  </a:cubicBezTo>
                  <a:cubicBezTo>
                    <a:pt x="40837" y="528483"/>
                    <a:pt x="34477" y="535077"/>
                    <a:pt x="24889" y="537556"/>
                  </a:cubicBezTo>
                  <a:cubicBezTo>
                    <a:pt x="20212" y="538725"/>
                    <a:pt x="14646" y="538959"/>
                    <a:pt x="10109" y="540128"/>
                  </a:cubicBezTo>
                  <a:cubicBezTo>
                    <a:pt x="5807" y="541153"/>
                    <a:pt x="1878" y="543491"/>
                    <a:pt x="-1069" y="546816"/>
                  </a:cubicBezTo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4DAD0AD5-6CCC-4DDD-88C3-849C87975C2F}"/>
                </a:ext>
              </a:extLst>
            </p:cNvPr>
            <p:cNvSpPr/>
            <p:nvPr/>
          </p:nvSpPr>
          <p:spPr>
            <a:xfrm>
              <a:off x="10660429" y="3478813"/>
              <a:ext cx="493515" cy="468446"/>
            </a:xfrm>
            <a:custGeom>
              <a:avLst/>
              <a:gdLst>
                <a:gd name="connsiteX0" fmla="*/ -1069 w 493515"/>
                <a:gd name="connsiteY0" fmla="*/ 467916 h 468446"/>
                <a:gd name="connsiteX1" fmla="*/ 5386 w 493515"/>
                <a:gd name="connsiteY1" fmla="*/ 445045 h 468446"/>
                <a:gd name="connsiteX2" fmla="*/ 15582 w 493515"/>
                <a:gd name="connsiteY2" fmla="*/ 423718 h 468446"/>
                <a:gd name="connsiteX3" fmla="*/ 47572 w 493515"/>
                <a:gd name="connsiteY3" fmla="*/ 389296 h 468446"/>
                <a:gd name="connsiteX4" fmla="*/ 126333 w 493515"/>
                <a:gd name="connsiteY4" fmla="*/ 339299 h 468446"/>
                <a:gd name="connsiteX5" fmla="*/ 297837 w 493515"/>
                <a:gd name="connsiteY5" fmla="*/ 281211 h 468446"/>
                <a:gd name="connsiteX6" fmla="*/ 424444 w 493515"/>
                <a:gd name="connsiteY6" fmla="*/ 166063 h 468446"/>
                <a:gd name="connsiteX7" fmla="*/ 456481 w 493515"/>
                <a:gd name="connsiteY7" fmla="*/ 83374 h 468446"/>
                <a:gd name="connsiteX8" fmla="*/ 469390 w 493515"/>
                <a:gd name="connsiteY8" fmla="*/ 40019 h 468446"/>
                <a:gd name="connsiteX9" fmla="*/ 479679 w 493515"/>
                <a:gd name="connsiteY9" fmla="*/ 19300 h 468446"/>
                <a:gd name="connsiteX10" fmla="*/ 487302 w 493515"/>
                <a:gd name="connsiteY10" fmla="*/ 9946 h 468446"/>
                <a:gd name="connsiteX11" fmla="*/ 492447 w 493515"/>
                <a:gd name="connsiteY11" fmla="*/ -250 h 468446"/>
                <a:gd name="connsiteX12" fmla="*/ 492447 w 493515"/>
                <a:gd name="connsiteY12" fmla="*/ -250 h 468446"/>
                <a:gd name="connsiteX13" fmla="*/ 490576 w 493515"/>
                <a:gd name="connsiteY13" fmla="*/ 23135 h 468446"/>
                <a:gd name="connsiteX14" fmla="*/ 487396 w 493515"/>
                <a:gd name="connsiteY14" fmla="*/ 45725 h 468446"/>
                <a:gd name="connsiteX15" fmla="*/ 474534 w 493515"/>
                <a:gd name="connsiteY15" fmla="*/ 89174 h 468446"/>
                <a:gd name="connsiteX16" fmla="*/ 441187 w 493515"/>
                <a:gd name="connsiteY16" fmla="*/ 175183 h 468446"/>
                <a:gd name="connsiteX17" fmla="*/ 305555 w 493515"/>
                <a:gd name="connsiteY17" fmla="*/ 298890 h 468446"/>
                <a:gd name="connsiteX18" fmla="*/ 134190 w 493515"/>
                <a:gd name="connsiteY18" fmla="*/ 357305 h 468446"/>
                <a:gd name="connsiteX19" fmla="*/ 60761 w 493515"/>
                <a:gd name="connsiteY19" fmla="*/ 404075 h 468446"/>
                <a:gd name="connsiteX20" fmla="*/ 31203 w 493515"/>
                <a:gd name="connsiteY20" fmla="*/ 435925 h 468446"/>
                <a:gd name="connsiteX21" fmla="*/ 15675 w 493515"/>
                <a:gd name="connsiteY21" fmla="*/ 451827 h 468446"/>
                <a:gd name="connsiteX22" fmla="*/ -928 w 493515"/>
                <a:gd name="connsiteY22" fmla="*/ 468197 h 468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93515" h="468446">
                  <a:moveTo>
                    <a:pt x="-1069" y="467916"/>
                  </a:moveTo>
                  <a:cubicBezTo>
                    <a:pt x="2112" y="460620"/>
                    <a:pt x="4263" y="452926"/>
                    <a:pt x="5386" y="445045"/>
                  </a:cubicBezTo>
                  <a:cubicBezTo>
                    <a:pt x="6742" y="437127"/>
                    <a:pt x="10250" y="429742"/>
                    <a:pt x="15582" y="423718"/>
                  </a:cubicBezTo>
                  <a:cubicBezTo>
                    <a:pt x="24889" y="411067"/>
                    <a:pt x="35646" y="399515"/>
                    <a:pt x="47572" y="389296"/>
                  </a:cubicBezTo>
                  <a:cubicBezTo>
                    <a:pt x="70817" y="368324"/>
                    <a:pt x="97476" y="351422"/>
                    <a:pt x="126333" y="339299"/>
                  </a:cubicBezTo>
                  <a:cubicBezTo>
                    <a:pt x="183345" y="314604"/>
                    <a:pt x="243772" y="304689"/>
                    <a:pt x="297837" y="281211"/>
                  </a:cubicBezTo>
                  <a:cubicBezTo>
                    <a:pt x="352324" y="259032"/>
                    <a:pt x="397223" y="218230"/>
                    <a:pt x="424444" y="166063"/>
                  </a:cubicBezTo>
                  <a:cubicBezTo>
                    <a:pt x="437773" y="139592"/>
                    <a:pt x="448484" y="111904"/>
                    <a:pt x="456481" y="83374"/>
                  </a:cubicBezTo>
                  <a:cubicBezTo>
                    <a:pt x="461158" y="69109"/>
                    <a:pt x="464759" y="54470"/>
                    <a:pt x="469390" y="40019"/>
                  </a:cubicBezTo>
                  <a:cubicBezTo>
                    <a:pt x="471167" y="32405"/>
                    <a:pt x="474675" y="25305"/>
                    <a:pt x="479679" y="19300"/>
                  </a:cubicBezTo>
                  <a:cubicBezTo>
                    <a:pt x="482438" y="16372"/>
                    <a:pt x="485010" y="13243"/>
                    <a:pt x="487302" y="9946"/>
                  </a:cubicBezTo>
                  <a:cubicBezTo>
                    <a:pt x="489314" y="6704"/>
                    <a:pt x="491044" y="3290"/>
                    <a:pt x="492447" y="-250"/>
                  </a:cubicBezTo>
                  <a:lnTo>
                    <a:pt x="492447" y="-250"/>
                  </a:lnTo>
                  <a:cubicBezTo>
                    <a:pt x="489968" y="7284"/>
                    <a:pt x="489314" y="15301"/>
                    <a:pt x="490576" y="23135"/>
                  </a:cubicBezTo>
                  <a:cubicBezTo>
                    <a:pt x="491138" y="30805"/>
                    <a:pt x="490061" y="38508"/>
                    <a:pt x="487396" y="45725"/>
                  </a:cubicBezTo>
                  <a:cubicBezTo>
                    <a:pt x="483280" y="60176"/>
                    <a:pt x="478930" y="74582"/>
                    <a:pt x="474534" y="89174"/>
                  </a:cubicBezTo>
                  <a:cubicBezTo>
                    <a:pt x="466209" y="118854"/>
                    <a:pt x="455031" y="147655"/>
                    <a:pt x="441187" y="175183"/>
                  </a:cubicBezTo>
                  <a:cubicBezTo>
                    <a:pt x="413125" y="231307"/>
                    <a:pt x="362427" y="275037"/>
                    <a:pt x="305555" y="298890"/>
                  </a:cubicBezTo>
                  <a:cubicBezTo>
                    <a:pt x="248636" y="323771"/>
                    <a:pt x="188069" y="333406"/>
                    <a:pt x="134190" y="357305"/>
                  </a:cubicBezTo>
                  <a:cubicBezTo>
                    <a:pt x="107297" y="368726"/>
                    <a:pt x="82463" y="384530"/>
                    <a:pt x="60761" y="404075"/>
                  </a:cubicBezTo>
                  <a:cubicBezTo>
                    <a:pt x="49864" y="413663"/>
                    <a:pt x="39949" y="424336"/>
                    <a:pt x="31203" y="435925"/>
                  </a:cubicBezTo>
                  <a:cubicBezTo>
                    <a:pt x="27134" y="442216"/>
                    <a:pt x="21849" y="447622"/>
                    <a:pt x="15675" y="451827"/>
                  </a:cubicBezTo>
                  <a:cubicBezTo>
                    <a:pt x="8660" y="455569"/>
                    <a:pt x="2907" y="461256"/>
                    <a:pt x="-928" y="46819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DB230EBF-B9A0-4F09-A5C1-0EE5BA386570}"/>
                </a:ext>
              </a:extLst>
            </p:cNvPr>
            <p:cNvSpPr/>
            <p:nvPr/>
          </p:nvSpPr>
          <p:spPr>
            <a:xfrm>
              <a:off x="10644948" y="3479234"/>
              <a:ext cx="452217" cy="381174"/>
            </a:xfrm>
            <a:custGeom>
              <a:avLst/>
              <a:gdLst>
                <a:gd name="connsiteX0" fmla="*/ -1069 w 452217"/>
                <a:gd name="connsiteY0" fmla="*/ 380784 h 381174"/>
                <a:gd name="connsiteX1" fmla="*/ 20398 w 452217"/>
                <a:gd name="connsiteY1" fmla="*/ 346314 h 381174"/>
                <a:gd name="connsiteX2" fmla="*/ 35645 w 452217"/>
                <a:gd name="connsiteY2" fmla="*/ 333032 h 381174"/>
                <a:gd name="connsiteX3" fmla="*/ 52062 w 452217"/>
                <a:gd name="connsiteY3" fmla="*/ 321105 h 381174"/>
                <a:gd name="connsiteX4" fmla="*/ 124181 w 452217"/>
                <a:gd name="connsiteY4" fmla="*/ 286309 h 381174"/>
                <a:gd name="connsiteX5" fmla="*/ 271740 w 452217"/>
                <a:gd name="connsiteY5" fmla="*/ 237621 h 381174"/>
                <a:gd name="connsiteX6" fmla="*/ 336235 w 452217"/>
                <a:gd name="connsiteY6" fmla="*/ 199083 h 381174"/>
                <a:gd name="connsiteX7" fmla="*/ 363222 w 452217"/>
                <a:gd name="connsiteY7" fmla="*/ 173126 h 381174"/>
                <a:gd name="connsiteX8" fmla="*/ 385811 w 452217"/>
                <a:gd name="connsiteY8" fmla="*/ 143146 h 381174"/>
                <a:gd name="connsiteX9" fmla="*/ 418176 w 452217"/>
                <a:gd name="connsiteY9" fmla="*/ 74722 h 381174"/>
                <a:gd name="connsiteX10" fmla="*/ 431178 w 452217"/>
                <a:gd name="connsiteY10" fmla="*/ 34500 h 381174"/>
                <a:gd name="connsiteX11" fmla="*/ 441421 w 452217"/>
                <a:gd name="connsiteY11" fmla="*/ 17242 h 381174"/>
                <a:gd name="connsiteX12" fmla="*/ 451149 w 452217"/>
                <a:gd name="connsiteY12" fmla="*/ -250 h 381174"/>
                <a:gd name="connsiteX13" fmla="*/ 451149 w 452217"/>
                <a:gd name="connsiteY13" fmla="*/ -250 h 381174"/>
                <a:gd name="connsiteX14" fmla="*/ 449839 w 452217"/>
                <a:gd name="connsiteY14" fmla="*/ 19720 h 381174"/>
                <a:gd name="connsiteX15" fmla="*/ 448997 w 452217"/>
                <a:gd name="connsiteY15" fmla="*/ 39878 h 381174"/>
                <a:gd name="connsiteX16" fmla="*/ 435995 w 452217"/>
                <a:gd name="connsiteY16" fmla="*/ 81082 h 381174"/>
                <a:gd name="connsiteX17" fmla="*/ 401713 w 452217"/>
                <a:gd name="connsiteY17" fmla="*/ 153342 h 381174"/>
                <a:gd name="connsiteX18" fmla="*/ 377393 w 452217"/>
                <a:gd name="connsiteY18" fmla="*/ 185660 h 381174"/>
                <a:gd name="connsiteX19" fmla="*/ 348209 w 452217"/>
                <a:gd name="connsiteY19" fmla="*/ 213722 h 381174"/>
                <a:gd name="connsiteX20" fmla="*/ 279363 w 452217"/>
                <a:gd name="connsiteY20" fmla="*/ 255160 h 381174"/>
                <a:gd name="connsiteX21" fmla="*/ 130775 w 452217"/>
                <a:gd name="connsiteY21" fmla="*/ 304455 h 381174"/>
                <a:gd name="connsiteX22" fmla="*/ 62819 w 452217"/>
                <a:gd name="connsiteY22" fmla="*/ 337522 h 381174"/>
                <a:gd name="connsiteX23" fmla="*/ 33260 w 452217"/>
                <a:gd name="connsiteY23" fmla="*/ 360579 h 381174"/>
                <a:gd name="connsiteX24" fmla="*/ 16283 w 452217"/>
                <a:gd name="connsiteY24" fmla="*/ 370635 h 381174"/>
                <a:gd name="connsiteX25" fmla="*/ -788 w 452217"/>
                <a:gd name="connsiteY25" fmla="*/ 380924 h 381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52217" h="381174">
                  <a:moveTo>
                    <a:pt x="-1069" y="380784"/>
                  </a:moveTo>
                  <a:cubicBezTo>
                    <a:pt x="9828" y="372272"/>
                    <a:pt x="8940" y="354359"/>
                    <a:pt x="20398" y="346314"/>
                  </a:cubicBezTo>
                  <a:cubicBezTo>
                    <a:pt x="25216" y="341577"/>
                    <a:pt x="30314" y="337143"/>
                    <a:pt x="35645" y="333032"/>
                  </a:cubicBezTo>
                  <a:lnTo>
                    <a:pt x="52062" y="321105"/>
                  </a:lnTo>
                  <a:cubicBezTo>
                    <a:pt x="74745" y="306920"/>
                    <a:pt x="98925" y="295251"/>
                    <a:pt x="124181" y="286309"/>
                  </a:cubicBezTo>
                  <a:cubicBezTo>
                    <a:pt x="173991" y="268115"/>
                    <a:pt x="225157" y="257966"/>
                    <a:pt x="271740" y="237621"/>
                  </a:cubicBezTo>
                  <a:cubicBezTo>
                    <a:pt x="294844" y="227650"/>
                    <a:pt x="316499" y="214695"/>
                    <a:pt x="336235" y="199083"/>
                  </a:cubicBezTo>
                  <a:cubicBezTo>
                    <a:pt x="345730" y="190987"/>
                    <a:pt x="354756" y="182316"/>
                    <a:pt x="363222" y="173126"/>
                  </a:cubicBezTo>
                  <a:cubicBezTo>
                    <a:pt x="371453" y="163678"/>
                    <a:pt x="378983" y="153660"/>
                    <a:pt x="385811" y="143146"/>
                  </a:cubicBezTo>
                  <a:cubicBezTo>
                    <a:pt x="399141" y="121627"/>
                    <a:pt x="409991" y="98677"/>
                    <a:pt x="418176" y="74722"/>
                  </a:cubicBezTo>
                  <a:cubicBezTo>
                    <a:pt x="422339" y="62655"/>
                    <a:pt x="427202" y="46660"/>
                    <a:pt x="431178" y="34500"/>
                  </a:cubicBezTo>
                  <a:cubicBezTo>
                    <a:pt x="433330" y="28078"/>
                    <a:pt x="436790" y="22190"/>
                    <a:pt x="441421" y="17242"/>
                  </a:cubicBezTo>
                  <a:cubicBezTo>
                    <a:pt x="445817" y="12125"/>
                    <a:pt x="449138" y="6176"/>
                    <a:pt x="451149" y="-250"/>
                  </a:cubicBezTo>
                  <a:lnTo>
                    <a:pt x="451149" y="-250"/>
                  </a:lnTo>
                  <a:cubicBezTo>
                    <a:pt x="449325" y="6246"/>
                    <a:pt x="448904" y="13046"/>
                    <a:pt x="449839" y="19720"/>
                  </a:cubicBezTo>
                  <a:cubicBezTo>
                    <a:pt x="451056" y="26418"/>
                    <a:pt x="450775" y="33302"/>
                    <a:pt x="448997" y="39878"/>
                  </a:cubicBezTo>
                  <a:cubicBezTo>
                    <a:pt x="445443" y="52459"/>
                    <a:pt x="440439" y="68642"/>
                    <a:pt x="435995" y="81082"/>
                  </a:cubicBezTo>
                  <a:cubicBezTo>
                    <a:pt x="427343" y="106380"/>
                    <a:pt x="415838" y="130621"/>
                    <a:pt x="401713" y="153342"/>
                  </a:cubicBezTo>
                  <a:cubicBezTo>
                    <a:pt x="394417" y="164693"/>
                    <a:pt x="386279" y="175497"/>
                    <a:pt x="377393" y="185660"/>
                  </a:cubicBezTo>
                  <a:cubicBezTo>
                    <a:pt x="368273" y="195612"/>
                    <a:pt x="358498" y="204985"/>
                    <a:pt x="348209" y="213722"/>
                  </a:cubicBezTo>
                  <a:cubicBezTo>
                    <a:pt x="327162" y="230503"/>
                    <a:pt x="304011" y="244435"/>
                    <a:pt x="279363" y="255160"/>
                  </a:cubicBezTo>
                  <a:cubicBezTo>
                    <a:pt x="230302" y="276440"/>
                    <a:pt x="178714" y="286963"/>
                    <a:pt x="130775" y="304455"/>
                  </a:cubicBezTo>
                  <a:cubicBezTo>
                    <a:pt x="106970" y="312925"/>
                    <a:pt x="84193" y="324014"/>
                    <a:pt x="62819" y="337522"/>
                  </a:cubicBezTo>
                  <a:cubicBezTo>
                    <a:pt x="52529" y="344635"/>
                    <a:pt x="42661" y="352334"/>
                    <a:pt x="33260" y="360579"/>
                  </a:cubicBezTo>
                  <a:cubicBezTo>
                    <a:pt x="28116" y="364742"/>
                    <a:pt x="22410" y="368128"/>
                    <a:pt x="16283" y="370635"/>
                  </a:cubicBezTo>
                  <a:cubicBezTo>
                    <a:pt x="10250" y="373459"/>
                    <a:pt x="4543" y="376906"/>
                    <a:pt x="-788" y="380924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72551738-0C2E-4672-9FE7-88FCE479CEF6}"/>
                </a:ext>
              </a:extLst>
            </p:cNvPr>
            <p:cNvSpPr/>
            <p:nvPr/>
          </p:nvSpPr>
          <p:spPr>
            <a:xfrm>
              <a:off x="10649766" y="3473856"/>
              <a:ext cx="393614" cy="299233"/>
            </a:xfrm>
            <a:custGeom>
              <a:avLst/>
              <a:gdLst>
                <a:gd name="connsiteX0" fmla="*/ -1069 w 393614"/>
                <a:gd name="connsiteY0" fmla="*/ 298983 h 299233"/>
                <a:gd name="connsiteX1" fmla="*/ 11372 w 393614"/>
                <a:gd name="connsiteY1" fmla="*/ 287384 h 299233"/>
                <a:gd name="connsiteX2" fmla="*/ 22784 w 393614"/>
                <a:gd name="connsiteY2" fmla="*/ 273961 h 299233"/>
                <a:gd name="connsiteX3" fmla="*/ 37329 w 393614"/>
                <a:gd name="connsiteY3" fmla="*/ 265402 h 299233"/>
                <a:gd name="connsiteX4" fmla="*/ 52576 w 393614"/>
                <a:gd name="connsiteY4" fmla="*/ 258294 h 299233"/>
                <a:gd name="connsiteX5" fmla="*/ 115295 w 393614"/>
                <a:gd name="connsiteY5" fmla="*/ 236218 h 299233"/>
                <a:gd name="connsiteX6" fmla="*/ 237411 w 393614"/>
                <a:gd name="connsiteY6" fmla="*/ 194125 h 299233"/>
                <a:gd name="connsiteX7" fmla="*/ 332728 w 393614"/>
                <a:gd name="connsiteY7" fmla="*/ 113775 h 299233"/>
                <a:gd name="connsiteX8" fmla="*/ 362520 w 393614"/>
                <a:gd name="connsiteY8" fmla="*/ 57978 h 299233"/>
                <a:gd name="connsiteX9" fmla="*/ 368413 w 393614"/>
                <a:gd name="connsiteY9" fmla="*/ 43105 h 299233"/>
                <a:gd name="connsiteX10" fmla="*/ 374493 w 393614"/>
                <a:gd name="connsiteY10" fmla="*/ 28186 h 299233"/>
                <a:gd name="connsiteX11" fmla="*/ 384829 w 393614"/>
                <a:gd name="connsiteY11" fmla="*/ 14482 h 299233"/>
                <a:gd name="connsiteX12" fmla="*/ 392546 w 393614"/>
                <a:gd name="connsiteY12" fmla="*/ -250 h 299233"/>
                <a:gd name="connsiteX13" fmla="*/ 392546 w 393614"/>
                <a:gd name="connsiteY13" fmla="*/ -250 h 299233"/>
                <a:gd name="connsiteX14" fmla="*/ 390676 w 393614"/>
                <a:gd name="connsiteY14" fmla="*/ 16306 h 299233"/>
                <a:gd name="connsiteX15" fmla="*/ 390956 w 393614"/>
                <a:gd name="connsiteY15" fmla="*/ 33751 h 299233"/>
                <a:gd name="connsiteX16" fmla="*/ 386279 w 393614"/>
                <a:gd name="connsiteY16" fmla="*/ 49653 h 299233"/>
                <a:gd name="connsiteX17" fmla="*/ 380292 w 393614"/>
                <a:gd name="connsiteY17" fmla="*/ 65274 h 299233"/>
                <a:gd name="connsiteX18" fmla="*/ 348395 w 393614"/>
                <a:gd name="connsiteY18" fmla="*/ 124579 h 299233"/>
                <a:gd name="connsiteX19" fmla="*/ 245876 w 393614"/>
                <a:gd name="connsiteY19" fmla="*/ 211149 h 299233"/>
                <a:gd name="connsiteX20" fmla="*/ 120954 w 393614"/>
                <a:gd name="connsiteY20" fmla="*/ 254458 h 299233"/>
                <a:gd name="connsiteX21" fmla="*/ 60153 w 393614"/>
                <a:gd name="connsiteY21" fmla="*/ 275973 h 299233"/>
                <a:gd name="connsiteX22" fmla="*/ 45748 w 393614"/>
                <a:gd name="connsiteY22" fmla="*/ 282707 h 299233"/>
                <a:gd name="connsiteX23" fmla="*/ 31389 w 393614"/>
                <a:gd name="connsiteY23" fmla="*/ 289442 h 299233"/>
                <a:gd name="connsiteX24" fmla="*/ 14693 w 393614"/>
                <a:gd name="connsiteY24" fmla="*/ 292669 h 299233"/>
                <a:gd name="connsiteX25" fmla="*/ -929 w 393614"/>
                <a:gd name="connsiteY25" fmla="*/ 298749 h 29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93614" h="299233">
                  <a:moveTo>
                    <a:pt x="-1069" y="298983"/>
                  </a:moveTo>
                  <a:cubicBezTo>
                    <a:pt x="3655" y="295808"/>
                    <a:pt x="7864" y="291888"/>
                    <a:pt x="11372" y="287384"/>
                  </a:cubicBezTo>
                  <a:cubicBezTo>
                    <a:pt x="14271" y="282212"/>
                    <a:pt x="18154" y="277656"/>
                    <a:pt x="22784" y="273961"/>
                  </a:cubicBezTo>
                  <a:cubicBezTo>
                    <a:pt x="27274" y="270542"/>
                    <a:pt x="32138" y="267666"/>
                    <a:pt x="37329" y="265402"/>
                  </a:cubicBezTo>
                  <a:lnTo>
                    <a:pt x="52576" y="258294"/>
                  </a:lnTo>
                  <a:cubicBezTo>
                    <a:pt x="73249" y="249781"/>
                    <a:pt x="94248" y="242579"/>
                    <a:pt x="115295" y="236218"/>
                  </a:cubicBezTo>
                  <a:cubicBezTo>
                    <a:pt x="157388" y="223684"/>
                    <a:pt x="199480" y="212833"/>
                    <a:pt x="237411" y="194125"/>
                  </a:cubicBezTo>
                  <a:cubicBezTo>
                    <a:pt x="275621" y="176044"/>
                    <a:pt x="308454" y="148356"/>
                    <a:pt x="332728" y="113775"/>
                  </a:cubicBezTo>
                  <a:cubicBezTo>
                    <a:pt x="344700" y="96334"/>
                    <a:pt x="354662" y="77622"/>
                    <a:pt x="362520" y="57978"/>
                  </a:cubicBezTo>
                  <a:lnTo>
                    <a:pt x="368413" y="43105"/>
                  </a:lnTo>
                  <a:cubicBezTo>
                    <a:pt x="370143" y="38008"/>
                    <a:pt x="372154" y="33027"/>
                    <a:pt x="374493" y="28186"/>
                  </a:cubicBezTo>
                  <a:cubicBezTo>
                    <a:pt x="377346" y="23191"/>
                    <a:pt x="380807" y="18584"/>
                    <a:pt x="384829" y="14482"/>
                  </a:cubicBezTo>
                  <a:cubicBezTo>
                    <a:pt x="388197" y="10020"/>
                    <a:pt x="390769" y="5044"/>
                    <a:pt x="392546" y="-250"/>
                  </a:cubicBezTo>
                  <a:lnTo>
                    <a:pt x="392546" y="-250"/>
                  </a:lnTo>
                  <a:cubicBezTo>
                    <a:pt x="391049" y="5138"/>
                    <a:pt x="390441" y="10722"/>
                    <a:pt x="390676" y="16306"/>
                  </a:cubicBezTo>
                  <a:cubicBezTo>
                    <a:pt x="391611" y="22078"/>
                    <a:pt x="391704" y="27952"/>
                    <a:pt x="390956" y="33751"/>
                  </a:cubicBezTo>
                  <a:cubicBezTo>
                    <a:pt x="389833" y="39172"/>
                    <a:pt x="388290" y="44494"/>
                    <a:pt x="386279" y="49653"/>
                  </a:cubicBezTo>
                  <a:cubicBezTo>
                    <a:pt x="384455" y="54891"/>
                    <a:pt x="382444" y="60130"/>
                    <a:pt x="380292" y="65274"/>
                  </a:cubicBezTo>
                  <a:cubicBezTo>
                    <a:pt x="371780" y="86120"/>
                    <a:pt x="361117" y="106001"/>
                    <a:pt x="348395" y="124579"/>
                  </a:cubicBezTo>
                  <a:cubicBezTo>
                    <a:pt x="322298" y="161817"/>
                    <a:pt x="286940" y="191646"/>
                    <a:pt x="245876" y="211149"/>
                  </a:cubicBezTo>
                  <a:cubicBezTo>
                    <a:pt x="205420" y="230886"/>
                    <a:pt x="162345" y="241877"/>
                    <a:pt x="120954" y="254458"/>
                  </a:cubicBezTo>
                  <a:cubicBezTo>
                    <a:pt x="100328" y="260548"/>
                    <a:pt x="80030" y="267732"/>
                    <a:pt x="60153" y="275973"/>
                  </a:cubicBezTo>
                  <a:cubicBezTo>
                    <a:pt x="55476" y="278311"/>
                    <a:pt x="50799" y="280649"/>
                    <a:pt x="45748" y="282707"/>
                  </a:cubicBezTo>
                  <a:cubicBezTo>
                    <a:pt x="40696" y="284765"/>
                    <a:pt x="36394" y="287758"/>
                    <a:pt x="31389" y="289442"/>
                  </a:cubicBezTo>
                  <a:cubicBezTo>
                    <a:pt x="25918" y="290990"/>
                    <a:pt x="20352" y="292071"/>
                    <a:pt x="14693" y="292669"/>
                  </a:cubicBezTo>
                  <a:cubicBezTo>
                    <a:pt x="9080" y="293488"/>
                    <a:pt x="3748" y="295569"/>
                    <a:pt x="-929" y="298749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C13A1D5B-D10B-44FC-BF17-B552702CBA7F}"/>
                </a:ext>
              </a:extLst>
            </p:cNvPr>
            <p:cNvSpPr/>
            <p:nvPr/>
          </p:nvSpPr>
          <p:spPr>
            <a:xfrm>
              <a:off x="10644948" y="3484472"/>
              <a:ext cx="337867" cy="222016"/>
            </a:xfrm>
            <a:custGeom>
              <a:avLst/>
              <a:gdLst>
                <a:gd name="connsiteX0" fmla="*/ -1069 w 337867"/>
                <a:gd name="connsiteY0" fmla="*/ 221579 h 222016"/>
                <a:gd name="connsiteX1" fmla="*/ 10624 w 337867"/>
                <a:gd name="connsiteY1" fmla="*/ 215265 h 222016"/>
                <a:gd name="connsiteX2" fmla="*/ 20773 w 337867"/>
                <a:gd name="connsiteY2" fmla="*/ 205069 h 222016"/>
                <a:gd name="connsiteX3" fmla="*/ 45093 w 337867"/>
                <a:gd name="connsiteY3" fmla="*/ 193330 h 222016"/>
                <a:gd name="connsiteX4" fmla="*/ 95979 w 337867"/>
                <a:gd name="connsiteY4" fmla="*/ 177382 h 222016"/>
                <a:gd name="connsiteX5" fmla="*/ 194195 w 337867"/>
                <a:gd name="connsiteY5" fmla="*/ 143286 h 222016"/>
                <a:gd name="connsiteX6" fmla="*/ 238346 w 337867"/>
                <a:gd name="connsiteY6" fmla="*/ 117750 h 222016"/>
                <a:gd name="connsiteX7" fmla="*/ 276136 w 337867"/>
                <a:gd name="connsiteY7" fmla="*/ 83889 h 222016"/>
                <a:gd name="connsiteX8" fmla="*/ 305929 w 337867"/>
                <a:gd name="connsiteY8" fmla="*/ 42731 h 222016"/>
                <a:gd name="connsiteX9" fmla="*/ 319960 w 337867"/>
                <a:gd name="connsiteY9" fmla="*/ 21030 h 222016"/>
                <a:gd name="connsiteX10" fmla="*/ 330062 w 337867"/>
                <a:gd name="connsiteY10" fmla="*/ 11255 h 222016"/>
                <a:gd name="connsiteX11" fmla="*/ 336797 w 337867"/>
                <a:gd name="connsiteY11" fmla="*/ -250 h 222016"/>
                <a:gd name="connsiteX12" fmla="*/ 336797 w 337867"/>
                <a:gd name="connsiteY12" fmla="*/ -250 h 222016"/>
                <a:gd name="connsiteX13" fmla="*/ 290308 w 337867"/>
                <a:gd name="connsiteY13" fmla="*/ 96517 h 222016"/>
                <a:gd name="connsiteX14" fmla="*/ 249524 w 337867"/>
                <a:gd name="connsiteY14" fmla="*/ 133091 h 222016"/>
                <a:gd name="connsiteX15" fmla="*/ 202333 w 337867"/>
                <a:gd name="connsiteY15" fmla="*/ 160404 h 222016"/>
                <a:gd name="connsiteX16" fmla="*/ 101264 w 337867"/>
                <a:gd name="connsiteY16" fmla="*/ 195669 h 222016"/>
                <a:gd name="connsiteX17" fmla="*/ 51313 w 337867"/>
                <a:gd name="connsiteY17" fmla="*/ 211383 h 222016"/>
                <a:gd name="connsiteX18" fmla="*/ 26245 w 337867"/>
                <a:gd name="connsiteY18" fmla="*/ 218492 h 222016"/>
                <a:gd name="connsiteX19" fmla="*/ 12214 w 337867"/>
                <a:gd name="connsiteY19" fmla="*/ 218820 h 222016"/>
                <a:gd name="connsiteX20" fmla="*/ -1022 w 337867"/>
                <a:gd name="connsiteY20" fmla="*/ 221766 h 222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37867" h="222016">
                  <a:moveTo>
                    <a:pt x="-1069" y="221579"/>
                  </a:moveTo>
                  <a:cubicBezTo>
                    <a:pt x="3047" y="219923"/>
                    <a:pt x="6976" y="217805"/>
                    <a:pt x="10624" y="215265"/>
                  </a:cubicBezTo>
                  <a:cubicBezTo>
                    <a:pt x="14038" y="212038"/>
                    <a:pt x="17172" y="208109"/>
                    <a:pt x="20773" y="205069"/>
                  </a:cubicBezTo>
                  <a:cubicBezTo>
                    <a:pt x="27928" y="198755"/>
                    <a:pt x="36721" y="196604"/>
                    <a:pt x="45093" y="193330"/>
                  </a:cubicBezTo>
                  <a:cubicBezTo>
                    <a:pt x="61977" y="187437"/>
                    <a:pt x="79048" y="182292"/>
                    <a:pt x="95979" y="177382"/>
                  </a:cubicBezTo>
                  <a:cubicBezTo>
                    <a:pt x="129840" y="167560"/>
                    <a:pt x="163374" y="157879"/>
                    <a:pt x="194195" y="143286"/>
                  </a:cubicBezTo>
                  <a:cubicBezTo>
                    <a:pt x="209630" y="136107"/>
                    <a:pt x="224409" y="127562"/>
                    <a:pt x="238346" y="117750"/>
                  </a:cubicBezTo>
                  <a:cubicBezTo>
                    <a:pt x="252003" y="107709"/>
                    <a:pt x="264677" y="96372"/>
                    <a:pt x="276136" y="83889"/>
                  </a:cubicBezTo>
                  <a:cubicBezTo>
                    <a:pt x="287454" y="71242"/>
                    <a:pt x="297463" y="57450"/>
                    <a:pt x="305929" y="42731"/>
                  </a:cubicBezTo>
                  <a:cubicBezTo>
                    <a:pt x="310606" y="35482"/>
                    <a:pt x="313505" y="27531"/>
                    <a:pt x="319960" y="21030"/>
                  </a:cubicBezTo>
                  <a:cubicBezTo>
                    <a:pt x="323140" y="17756"/>
                    <a:pt x="327069" y="14763"/>
                    <a:pt x="330062" y="11255"/>
                  </a:cubicBezTo>
                  <a:cubicBezTo>
                    <a:pt x="332774" y="7715"/>
                    <a:pt x="335019" y="3847"/>
                    <a:pt x="336797" y="-250"/>
                  </a:cubicBezTo>
                  <a:lnTo>
                    <a:pt x="336797" y="-250"/>
                  </a:lnTo>
                  <a:cubicBezTo>
                    <a:pt x="337077" y="37961"/>
                    <a:pt x="313786" y="69109"/>
                    <a:pt x="290308" y="96517"/>
                  </a:cubicBezTo>
                  <a:cubicBezTo>
                    <a:pt x="277960" y="110010"/>
                    <a:pt x="264303" y="122259"/>
                    <a:pt x="249524" y="133091"/>
                  </a:cubicBezTo>
                  <a:cubicBezTo>
                    <a:pt x="234651" y="143576"/>
                    <a:pt x="218843" y="152720"/>
                    <a:pt x="202333" y="160404"/>
                  </a:cubicBezTo>
                  <a:cubicBezTo>
                    <a:pt x="169594" y="175885"/>
                    <a:pt x="134891" y="185566"/>
                    <a:pt x="101264" y="195669"/>
                  </a:cubicBezTo>
                  <a:cubicBezTo>
                    <a:pt x="84333" y="200579"/>
                    <a:pt x="67730" y="205771"/>
                    <a:pt x="51313" y="211383"/>
                  </a:cubicBezTo>
                  <a:cubicBezTo>
                    <a:pt x="43269" y="214760"/>
                    <a:pt x="34851" y="217145"/>
                    <a:pt x="26245" y="218492"/>
                  </a:cubicBezTo>
                  <a:cubicBezTo>
                    <a:pt x="21568" y="218347"/>
                    <a:pt x="16891" y="218455"/>
                    <a:pt x="12214" y="218820"/>
                  </a:cubicBezTo>
                  <a:cubicBezTo>
                    <a:pt x="7724" y="219428"/>
                    <a:pt x="3281" y="220410"/>
                    <a:pt x="-1022" y="22176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1A291327-9232-4D6C-8353-5E50726AE7F4}"/>
                </a:ext>
              </a:extLst>
            </p:cNvPr>
            <p:cNvSpPr/>
            <p:nvPr/>
          </p:nvSpPr>
          <p:spPr>
            <a:xfrm>
              <a:off x="10650421" y="3486203"/>
              <a:ext cx="269627" cy="159391"/>
            </a:xfrm>
            <a:custGeom>
              <a:avLst/>
              <a:gdLst>
                <a:gd name="connsiteX0" fmla="*/ -882 w 269627"/>
                <a:gd name="connsiteY0" fmla="*/ 158954 h 159391"/>
                <a:gd name="connsiteX1" fmla="*/ 16750 w 269627"/>
                <a:gd name="connsiteY1" fmla="*/ 147355 h 159391"/>
                <a:gd name="connsiteX2" fmla="*/ 34710 w 269627"/>
                <a:gd name="connsiteY2" fmla="*/ 136879 h 159391"/>
                <a:gd name="connsiteX3" fmla="*/ 73295 w 269627"/>
                <a:gd name="connsiteY3" fmla="*/ 125467 h 159391"/>
                <a:gd name="connsiteX4" fmla="*/ 147519 w 269627"/>
                <a:gd name="connsiteY4" fmla="*/ 98247 h 159391"/>
                <a:gd name="connsiteX5" fmla="*/ 212014 w 269627"/>
                <a:gd name="connsiteY5" fmla="*/ 55546 h 159391"/>
                <a:gd name="connsiteX6" fmla="*/ 238439 w 269627"/>
                <a:gd name="connsiteY6" fmla="*/ 27484 h 159391"/>
                <a:gd name="connsiteX7" fmla="*/ 268091 w 269627"/>
                <a:gd name="connsiteY7" fmla="*/ -250 h 159391"/>
                <a:gd name="connsiteX8" fmla="*/ 268559 w 269627"/>
                <a:gd name="connsiteY8" fmla="*/ -250 h 159391"/>
                <a:gd name="connsiteX9" fmla="*/ 253219 w 269627"/>
                <a:gd name="connsiteY9" fmla="*/ 39130 h 159391"/>
                <a:gd name="connsiteX10" fmla="*/ 224829 w 269627"/>
                <a:gd name="connsiteY10" fmla="*/ 69717 h 159391"/>
                <a:gd name="connsiteX11" fmla="*/ 155610 w 269627"/>
                <a:gd name="connsiteY11" fmla="*/ 115599 h 159391"/>
                <a:gd name="connsiteX12" fmla="*/ 78767 w 269627"/>
                <a:gd name="connsiteY12" fmla="*/ 143661 h 159391"/>
                <a:gd name="connsiteX13" fmla="*/ 40135 w 269627"/>
                <a:gd name="connsiteY13" fmla="*/ 155119 h 159391"/>
                <a:gd name="connsiteX14" fmla="*/ 19603 w 269627"/>
                <a:gd name="connsiteY14" fmla="*/ 156429 h 159391"/>
                <a:gd name="connsiteX15" fmla="*/ -1069 w 269627"/>
                <a:gd name="connsiteY15" fmla="*/ 159141 h 15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9627" h="159391">
                  <a:moveTo>
                    <a:pt x="-882" y="158954"/>
                  </a:moveTo>
                  <a:cubicBezTo>
                    <a:pt x="5525" y="155938"/>
                    <a:pt x="11465" y="152032"/>
                    <a:pt x="16750" y="147355"/>
                  </a:cubicBezTo>
                  <a:cubicBezTo>
                    <a:pt x="21801" y="142473"/>
                    <a:pt x="27975" y="138881"/>
                    <a:pt x="34710" y="136879"/>
                  </a:cubicBezTo>
                  <a:cubicBezTo>
                    <a:pt x="47571" y="132763"/>
                    <a:pt x="60527" y="129302"/>
                    <a:pt x="73295" y="125467"/>
                  </a:cubicBezTo>
                  <a:cubicBezTo>
                    <a:pt x="98691" y="118269"/>
                    <a:pt x="123479" y="109172"/>
                    <a:pt x="147519" y="98247"/>
                  </a:cubicBezTo>
                  <a:cubicBezTo>
                    <a:pt x="171091" y="87434"/>
                    <a:pt x="192839" y="73029"/>
                    <a:pt x="212014" y="55546"/>
                  </a:cubicBezTo>
                  <a:cubicBezTo>
                    <a:pt x="221556" y="46917"/>
                    <a:pt x="230395" y="37535"/>
                    <a:pt x="238439" y="27484"/>
                  </a:cubicBezTo>
                  <a:cubicBezTo>
                    <a:pt x="245455" y="16914"/>
                    <a:pt x="261824" y="11302"/>
                    <a:pt x="268091" y="-250"/>
                  </a:cubicBezTo>
                  <a:lnTo>
                    <a:pt x="268559" y="-250"/>
                  </a:lnTo>
                  <a:cubicBezTo>
                    <a:pt x="263368" y="13266"/>
                    <a:pt x="262853" y="28607"/>
                    <a:pt x="253219" y="39130"/>
                  </a:cubicBezTo>
                  <a:cubicBezTo>
                    <a:pt x="244800" y="50233"/>
                    <a:pt x="235259" y="60480"/>
                    <a:pt x="224829" y="69717"/>
                  </a:cubicBezTo>
                  <a:cubicBezTo>
                    <a:pt x="204250" y="88500"/>
                    <a:pt x="180912" y="103976"/>
                    <a:pt x="155610" y="115599"/>
                  </a:cubicBezTo>
                  <a:cubicBezTo>
                    <a:pt x="130728" y="126894"/>
                    <a:pt x="105052" y="136276"/>
                    <a:pt x="78767" y="143661"/>
                  </a:cubicBezTo>
                  <a:cubicBezTo>
                    <a:pt x="65859" y="147542"/>
                    <a:pt x="52997" y="151471"/>
                    <a:pt x="40135" y="155119"/>
                  </a:cubicBezTo>
                  <a:cubicBezTo>
                    <a:pt x="33447" y="157046"/>
                    <a:pt x="26478" y="157495"/>
                    <a:pt x="19603" y="156429"/>
                  </a:cubicBezTo>
                  <a:cubicBezTo>
                    <a:pt x="12588" y="155554"/>
                    <a:pt x="5479" y="156490"/>
                    <a:pt x="-1069" y="159141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67B1180C-7AEC-46E7-AF69-7CC2FA6897DF}"/>
                </a:ext>
              </a:extLst>
            </p:cNvPr>
            <p:cNvSpPr/>
            <p:nvPr/>
          </p:nvSpPr>
          <p:spPr>
            <a:xfrm>
              <a:off x="10640833" y="3481199"/>
              <a:ext cx="210277" cy="110096"/>
            </a:xfrm>
            <a:custGeom>
              <a:avLst/>
              <a:gdLst>
                <a:gd name="connsiteX0" fmla="*/ -1069 w 210277"/>
                <a:gd name="connsiteY0" fmla="*/ 109706 h 110096"/>
                <a:gd name="connsiteX1" fmla="*/ 12635 w 210277"/>
                <a:gd name="connsiteY1" fmla="*/ 103018 h 110096"/>
                <a:gd name="connsiteX2" fmla="*/ 25497 w 210277"/>
                <a:gd name="connsiteY2" fmla="*/ 93336 h 110096"/>
                <a:gd name="connsiteX3" fmla="*/ 39528 w 210277"/>
                <a:gd name="connsiteY3" fmla="*/ 87958 h 110096"/>
                <a:gd name="connsiteX4" fmla="*/ 53559 w 210277"/>
                <a:gd name="connsiteY4" fmla="*/ 83281 h 110096"/>
                <a:gd name="connsiteX5" fmla="*/ 109074 w 210277"/>
                <a:gd name="connsiteY5" fmla="*/ 62749 h 110096"/>
                <a:gd name="connsiteX6" fmla="*/ 159820 w 210277"/>
                <a:gd name="connsiteY6" fmla="*/ 33424 h 110096"/>
                <a:gd name="connsiteX7" fmla="*/ 182924 w 210277"/>
                <a:gd name="connsiteY7" fmla="*/ 15698 h 110096"/>
                <a:gd name="connsiteX8" fmla="*/ 197189 w 210277"/>
                <a:gd name="connsiteY8" fmla="*/ 9104 h 110096"/>
                <a:gd name="connsiteX9" fmla="*/ 209208 w 210277"/>
                <a:gd name="connsiteY9" fmla="*/ -250 h 110096"/>
                <a:gd name="connsiteX10" fmla="*/ 209208 w 210277"/>
                <a:gd name="connsiteY10" fmla="*/ -250 h 110096"/>
                <a:gd name="connsiteX11" fmla="*/ 200977 w 210277"/>
                <a:gd name="connsiteY11" fmla="*/ 12658 h 110096"/>
                <a:gd name="connsiteX12" fmla="*/ 194242 w 210277"/>
                <a:gd name="connsiteY12" fmla="*/ 27718 h 110096"/>
                <a:gd name="connsiteX13" fmla="*/ 183391 w 210277"/>
                <a:gd name="connsiteY13" fmla="*/ 39036 h 110096"/>
                <a:gd name="connsiteX14" fmla="*/ 171184 w 210277"/>
                <a:gd name="connsiteY14" fmla="*/ 48858 h 110096"/>
                <a:gd name="connsiteX15" fmla="*/ 117306 w 210277"/>
                <a:gd name="connsiteY15" fmla="*/ 80147 h 110096"/>
                <a:gd name="connsiteX16" fmla="*/ 59685 w 210277"/>
                <a:gd name="connsiteY16" fmla="*/ 101661 h 110096"/>
                <a:gd name="connsiteX17" fmla="*/ 45093 w 210277"/>
                <a:gd name="connsiteY17" fmla="*/ 105964 h 110096"/>
                <a:gd name="connsiteX18" fmla="*/ 30220 w 210277"/>
                <a:gd name="connsiteY18" fmla="*/ 109191 h 110096"/>
                <a:gd name="connsiteX19" fmla="*/ 14131 w 210277"/>
                <a:gd name="connsiteY19" fmla="*/ 108022 h 110096"/>
                <a:gd name="connsiteX20" fmla="*/ -695 w 210277"/>
                <a:gd name="connsiteY20" fmla="*/ 109846 h 11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10277" h="110096">
                  <a:moveTo>
                    <a:pt x="-1069" y="109706"/>
                  </a:moveTo>
                  <a:cubicBezTo>
                    <a:pt x="3935" y="108532"/>
                    <a:pt x="8612" y="106245"/>
                    <a:pt x="12635" y="103018"/>
                  </a:cubicBezTo>
                  <a:cubicBezTo>
                    <a:pt x="16657" y="99458"/>
                    <a:pt x="20960" y="96222"/>
                    <a:pt x="25497" y="93336"/>
                  </a:cubicBezTo>
                  <a:cubicBezTo>
                    <a:pt x="29987" y="91040"/>
                    <a:pt x="34664" y="89235"/>
                    <a:pt x="39528" y="87958"/>
                  </a:cubicBezTo>
                  <a:lnTo>
                    <a:pt x="53559" y="83281"/>
                  </a:lnTo>
                  <a:cubicBezTo>
                    <a:pt x="72453" y="77607"/>
                    <a:pt x="91021" y="70751"/>
                    <a:pt x="109074" y="62749"/>
                  </a:cubicBezTo>
                  <a:cubicBezTo>
                    <a:pt x="127034" y="54873"/>
                    <a:pt x="144058" y="45037"/>
                    <a:pt x="159820" y="33424"/>
                  </a:cubicBezTo>
                  <a:cubicBezTo>
                    <a:pt x="167958" y="28092"/>
                    <a:pt x="174552" y="20983"/>
                    <a:pt x="182924" y="15698"/>
                  </a:cubicBezTo>
                  <a:cubicBezTo>
                    <a:pt x="187274" y="13219"/>
                    <a:pt x="192278" y="11536"/>
                    <a:pt x="197189" y="9104"/>
                  </a:cubicBezTo>
                  <a:cubicBezTo>
                    <a:pt x="201585" y="6541"/>
                    <a:pt x="205654" y="3393"/>
                    <a:pt x="209208" y="-250"/>
                  </a:cubicBezTo>
                  <a:lnTo>
                    <a:pt x="209208" y="-250"/>
                  </a:lnTo>
                  <a:cubicBezTo>
                    <a:pt x="205888" y="3660"/>
                    <a:pt x="203129" y="8005"/>
                    <a:pt x="200977" y="12658"/>
                  </a:cubicBezTo>
                  <a:cubicBezTo>
                    <a:pt x="199434" y="17962"/>
                    <a:pt x="197142" y="23027"/>
                    <a:pt x="194242" y="27718"/>
                  </a:cubicBezTo>
                  <a:cubicBezTo>
                    <a:pt x="191249" y="32030"/>
                    <a:pt x="187554" y="35847"/>
                    <a:pt x="183391" y="39036"/>
                  </a:cubicBezTo>
                  <a:cubicBezTo>
                    <a:pt x="179463" y="42497"/>
                    <a:pt x="175394" y="45771"/>
                    <a:pt x="171184" y="48858"/>
                  </a:cubicBezTo>
                  <a:cubicBezTo>
                    <a:pt x="154347" y="61088"/>
                    <a:pt x="136294" y="71570"/>
                    <a:pt x="117306" y="80147"/>
                  </a:cubicBezTo>
                  <a:cubicBezTo>
                    <a:pt x="98504" y="88374"/>
                    <a:pt x="79282" y="95558"/>
                    <a:pt x="59685" y="101661"/>
                  </a:cubicBezTo>
                  <a:lnTo>
                    <a:pt x="45093" y="105964"/>
                  </a:lnTo>
                  <a:cubicBezTo>
                    <a:pt x="40276" y="107624"/>
                    <a:pt x="35272" y="108705"/>
                    <a:pt x="30220" y="109191"/>
                  </a:cubicBezTo>
                  <a:cubicBezTo>
                    <a:pt x="24842" y="109238"/>
                    <a:pt x="19463" y="108845"/>
                    <a:pt x="14131" y="108022"/>
                  </a:cubicBezTo>
                  <a:cubicBezTo>
                    <a:pt x="9127" y="108017"/>
                    <a:pt x="4169" y="108630"/>
                    <a:pt x="-695" y="10984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28F9A3AA-CB2B-4A16-A1BF-2203916B7D67}"/>
                </a:ext>
              </a:extLst>
            </p:cNvPr>
            <p:cNvSpPr/>
            <p:nvPr/>
          </p:nvSpPr>
          <p:spPr>
            <a:xfrm>
              <a:off x="10651730" y="3482555"/>
              <a:ext cx="109535" cy="50184"/>
            </a:xfrm>
            <a:custGeom>
              <a:avLst/>
              <a:gdLst>
                <a:gd name="connsiteX0" fmla="*/ -1069 w 109535"/>
                <a:gd name="connsiteY0" fmla="*/ 49840 h 50184"/>
                <a:gd name="connsiteX1" fmla="*/ 12588 w 109535"/>
                <a:gd name="connsiteY1" fmla="*/ 42731 h 50184"/>
                <a:gd name="connsiteX2" fmla="*/ 24889 w 109535"/>
                <a:gd name="connsiteY2" fmla="*/ 32535 h 50184"/>
                <a:gd name="connsiteX3" fmla="*/ 38359 w 109535"/>
                <a:gd name="connsiteY3" fmla="*/ 26268 h 50184"/>
                <a:gd name="connsiteX4" fmla="*/ 51875 w 109535"/>
                <a:gd name="connsiteY4" fmla="*/ 20422 h 50184"/>
                <a:gd name="connsiteX5" fmla="*/ 65298 w 109535"/>
                <a:gd name="connsiteY5" fmla="*/ 14435 h 50184"/>
                <a:gd name="connsiteX6" fmla="*/ 78815 w 109535"/>
                <a:gd name="connsiteY6" fmla="*/ 8683 h 50184"/>
                <a:gd name="connsiteX7" fmla="*/ 94436 w 109535"/>
                <a:gd name="connsiteY7" fmla="*/ 6017 h 50184"/>
                <a:gd name="connsiteX8" fmla="*/ 108466 w 109535"/>
                <a:gd name="connsiteY8" fmla="*/ -250 h 50184"/>
                <a:gd name="connsiteX9" fmla="*/ 108466 w 109535"/>
                <a:gd name="connsiteY9" fmla="*/ -250 h 50184"/>
                <a:gd name="connsiteX10" fmla="*/ 97288 w 109535"/>
                <a:gd name="connsiteY10" fmla="*/ 10367 h 50184"/>
                <a:gd name="connsiteX11" fmla="*/ 86906 w 109535"/>
                <a:gd name="connsiteY11" fmla="*/ 23041 h 50184"/>
                <a:gd name="connsiteX12" fmla="*/ 73670 w 109535"/>
                <a:gd name="connsiteY12" fmla="*/ 31273 h 50184"/>
                <a:gd name="connsiteX13" fmla="*/ 59639 w 109535"/>
                <a:gd name="connsiteY13" fmla="*/ 38054 h 50184"/>
                <a:gd name="connsiteX14" fmla="*/ 45280 w 109535"/>
                <a:gd name="connsiteY14" fmla="*/ 43760 h 50184"/>
                <a:gd name="connsiteX15" fmla="*/ 30454 w 109535"/>
                <a:gd name="connsiteY15" fmla="*/ 48063 h 50184"/>
                <a:gd name="connsiteX16" fmla="*/ 14225 w 109535"/>
                <a:gd name="connsiteY16" fmla="*/ 47642 h 50184"/>
                <a:gd name="connsiteX17" fmla="*/ -741 w 109535"/>
                <a:gd name="connsiteY17" fmla="*/ 49934 h 50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9535" h="50184">
                  <a:moveTo>
                    <a:pt x="-1069" y="49840"/>
                  </a:moveTo>
                  <a:cubicBezTo>
                    <a:pt x="3936" y="48451"/>
                    <a:pt x="8566" y="46033"/>
                    <a:pt x="12588" y="42731"/>
                  </a:cubicBezTo>
                  <a:cubicBezTo>
                    <a:pt x="16470" y="39079"/>
                    <a:pt x="20586" y="35674"/>
                    <a:pt x="24889" y="32535"/>
                  </a:cubicBezTo>
                  <a:cubicBezTo>
                    <a:pt x="29145" y="29996"/>
                    <a:pt x="33682" y="27896"/>
                    <a:pt x="38359" y="26268"/>
                  </a:cubicBezTo>
                  <a:cubicBezTo>
                    <a:pt x="43035" y="24397"/>
                    <a:pt x="47432" y="22433"/>
                    <a:pt x="51875" y="20422"/>
                  </a:cubicBezTo>
                  <a:cubicBezTo>
                    <a:pt x="56318" y="18411"/>
                    <a:pt x="60901" y="16540"/>
                    <a:pt x="65298" y="14435"/>
                  </a:cubicBezTo>
                  <a:cubicBezTo>
                    <a:pt x="69600" y="12111"/>
                    <a:pt x="74138" y="10184"/>
                    <a:pt x="78815" y="8683"/>
                  </a:cubicBezTo>
                  <a:cubicBezTo>
                    <a:pt x="83959" y="7504"/>
                    <a:pt x="89197" y="6616"/>
                    <a:pt x="94436" y="6017"/>
                  </a:cubicBezTo>
                  <a:cubicBezTo>
                    <a:pt x="99440" y="4693"/>
                    <a:pt x="104163" y="2575"/>
                    <a:pt x="108466" y="-250"/>
                  </a:cubicBezTo>
                  <a:lnTo>
                    <a:pt x="108466" y="-250"/>
                  </a:lnTo>
                  <a:cubicBezTo>
                    <a:pt x="104351" y="2855"/>
                    <a:pt x="100609" y="6414"/>
                    <a:pt x="97288" y="10367"/>
                  </a:cubicBezTo>
                  <a:cubicBezTo>
                    <a:pt x="94248" y="14931"/>
                    <a:pt x="90787" y="19178"/>
                    <a:pt x="86906" y="23041"/>
                  </a:cubicBezTo>
                  <a:cubicBezTo>
                    <a:pt x="82883" y="26357"/>
                    <a:pt x="78440" y="29126"/>
                    <a:pt x="73670" y="31273"/>
                  </a:cubicBezTo>
                  <a:cubicBezTo>
                    <a:pt x="68993" y="33611"/>
                    <a:pt x="64316" y="35950"/>
                    <a:pt x="59639" y="38054"/>
                  </a:cubicBezTo>
                  <a:lnTo>
                    <a:pt x="45280" y="43760"/>
                  </a:lnTo>
                  <a:cubicBezTo>
                    <a:pt x="40557" y="45804"/>
                    <a:pt x="35552" y="47249"/>
                    <a:pt x="30454" y="48063"/>
                  </a:cubicBezTo>
                  <a:cubicBezTo>
                    <a:pt x="25029" y="48409"/>
                    <a:pt x="19604" y="48269"/>
                    <a:pt x="14225" y="47642"/>
                  </a:cubicBezTo>
                  <a:cubicBezTo>
                    <a:pt x="9174" y="47932"/>
                    <a:pt x="4169" y="48699"/>
                    <a:pt x="-741" y="49934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8CE8EECB-C226-4FAA-86DD-341592D123B4}"/>
                </a:ext>
              </a:extLst>
            </p:cNvPr>
            <p:cNvSpPr/>
            <p:nvPr/>
          </p:nvSpPr>
          <p:spPr>
            <a:xfrm>
              <a:off x="7776087" y="5678726"/>
              <a:ext cx="253071" cy="179487"/>
            </a:xfrm>
            <a:custGeom>
              <a:avLst/>
              <a:gdLst>
                <a:gd name="connsiteX0" fmla="*/ -788 w 253071"/>
                <a:gd name="connsiteY0" fmla="*/ 176821 h 179487"/>
                <a:gd name="connsiteX1" fmla="*/ 16704 w 253071"/>
                <a:gd name="connsiteY1" fmla="*/ 165175 h 179487"/>
                <a:gd name="connsiteX2" fmla="*/ 34149 w 253071"/>
                <a:gd name="connsiteY2" fmla="*/ 153295 h 179487"/>
                <a:gd name="connsiteX3" fmla="*/ 53184 w 253071"/>
                <a:gd name="connsiteY3" fmla="*/ 147262 h 179487"/>
                <a:gd name="connsiteX4" fmla="*/ 71892 w 253071"/>
                <a:gd name="connsiteY4" fmla="*/ 141275 h 179487"/>
                <a:gd name="connsiteX5" fmla="*/ 142561 w 253071"/>
                <a:gd name="connsiteY5" fmla="*/ 109425 h 179487"/>
                <a:gd name="connsiteX6" fmla="*/ 200322 w 253071"/>
                <a:gd name="connsiteY6" fmla="*/ 60036 h 179487"/>
                <a:gd name="connsiteX7" fmla="*/ 211921 w 253071"/>
                <a:gd name="connsiteY7" fmla="*/ 44883 h 179487"/>
                <a:gd name="connsiteX8" fmla="*/ 222585 w 253071"/>
                <a:gd name="connsiteY8" fmla="*/ 29028 h 179487"/>
                <a:gd name="connsiteX9" fmla="*/ 237692 w 253071"/>
                <a:gd name="connsiteY9" fmla="*/ 14997 h 179487"/>
                <a:gd name="connsiteX10" fmla="*/ 252003 w 253071"/>
                <a:gd name="connsiteY10" fmla="*/ -250 h 179487"/>
                <a:gd name="connsiteX11" fmla="*/ 252003 w 253071"/>
                <a:gd name="connsiteY11" fmla="*/ -250 h 179487"/>
                <a:gd name="connsiteX12" fmla="*/ 249103 w 253071"/>
                <a:gd name="connsiteY12" fmla="*/ 20890 h 179487"/>
                <a:gd name="connsiteX13" fmla="*/ 244426 w 253071"/>
                <a:gd name="connsiteY13" fmla="*/ 42217 h 179487"/>
                <a:gd name="connsiteX14" fmla="*/ 233061 w 253071"/>
                <a:gd name="connsiteY14" fmla="*/ 59989 h 179487"/>
                <a:gd name="connsiteX15" fmla="*/ 219966 w 253071"/>
                <a:gd name="connsiteY15" fmla="*/ 76686 h 179487"/>
                <a:gd name="connsiteX16" fmla="*/ 155891 w 253071"/>
                <a:gd name="connsiteY16" fmla="*/ 131501 h 179487"/>
                <a:gd name="connsiteX17" fmla="*/ 80030 w 253071"/>
                <a:gd name="connsiteY17" fmla="*/ 165830 h 179487"/>
                <a:gd name="connsiteX18" fmla="*/ 60574 w 253071"/>
                <a:gd name="connsiteY18" fmla="*/ 172237 h 179487"/>
                <a:gd name="connsiteX19" fmla="*/ 41071 w 253071"/>
                <a:gd name="connsiteY19" fmla="*/ 177896 h 179487"/>
                <a:gd name="connsiteX20" fmla="*/ 19884 w 253071"/>
                <a:gd name="connsiteY20" fmla="*/ 177382 h 179487"/>
                <a:gd name="connsiteX21" fmla="*/ -1069 w 253071"/>
                <a:gd name="connsiteY21" fmla="*/ 176680 h 179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53071" h="179487">
                  <a:moveTo>
                    <a:pt x="-788" y="176821"/>
                  </a:moveTo>
                  <a:cubicBezTo>
                    <a:pt x="6602" y="172892"/>
                    <a:pt x="11466" y="171208"/>
                    <a:pt x="16704" y="165175"/>
                  </a:cubicBezTo>
                  <a:cubicBezTo>
                    <a:pt x="21194" y="159563"/>
                    <a:pt x="27274" y="155428"/>
                    <a:pt x="34149" y="153295"/>
                  </a:cubicBezTo>
                  <a:lnTo>
                    <a:pt x="53184" y="147262"/>
                  </a:lnTo>
                  <a:cubicBezTo>
                    <a:pt x="59545" y="145438"/>
                    <a:pt x="65812" y="143380"/>
                    <a:pt x="71892" y="141275"/>
                  </a:cubicBezTo>
                  <a:cubicBezTo>
                    <a:pt x="96540" y="133301"/>
                    <a:pt x="120253" y="122619"/>
                    <a:pt x="142561" y="109425"/>
                  </a:cubicBezTo>
                  <a:cubicBezTo>
                    <a:pt x="164309" y="96138"/>
                    <a:pt x="183813" y="79469"/>
                    <a:pt x="200322" y="60036"/>
                  </a:cubicBezTo>
                  <a:cubicBezTo>
                    <a:pt x="204485" y="55200"/>
                    <a:pt x="208320" y="50144"/>
                    <a:pt x="211921" y="44883"/>
                  </a:cubicBezTo>
                  <a:cubicBezTo>
                    <a:pt x="215570" y="39691"/>
                    <a:pt x="219358" y="34547"/>
                    <a:pt x="222585" y="29028"/>
                  </a:cubicBezTo>
                  <a:cubicBezTo>
                    <a:pt x="226279" y="23093"/>
                    <a:pt x="231518" y="18252"/>
                    <a:pt x="237692" y="14997"/>
                  </a:cubicBezTo>
                  <a:cubicBezTo>
                    <a:pt x="243959" y="11550"/>
                    <a:pt x="248963" y="6213"/>
                    <a:pt x="252003" y="-250"/>
                  </a:cubicBezTo>
                  <a:lnTo>
                    <a:pt x="252003" y="-250"/>
                  </a:lnTo>
                  <a:cubicBezTo>
                    <a:pt x="249337" y="6461"/>
                    <a:pt x="248355" y="13711"/>
                    <a:pt x="249103" y="20890"/>
                  </a:cubicBezTo>
                  <a:cubicBezTo>
                    <a:pt x="249992" y="28321"/>
                    <a:pt x="248308" y="35833"/>
                    <a:pt x="244426" y="42217"/>
                  </a:cubicBezTo>
                  <a:cubicBezTo>
                    <a:pt x="240732" y="48157"/>
                    <a:pt x="237270" y="54330"/>
                    <a:pt x="233061" y="59989"/>
                  </a:cubicBezTo>
                  <a:cubicBezTo>
                    <a:pt x="228852" y="65649"/>
                    <a:pt x="224549" y="71261"/>
                    <a:pt x="219966" y="76686"/>
                  </a:cubicBezTo>
                  <a:cubicBezTo>
                    <a:pt x="201678" y="98270"/>
                    <a:pt x="180024" y="116777"/>
                    <a:pt x="155891" y="131501"/>
                  </a:cubicBezTo>
                  <a:cubicBezTo>
                    <a:pt x="131945" y="145677"/>
                    <a:pt x="106502" y="157191"/>
                    <a:pt x="80030" y="165830"/>
                  </a:cubicBezTo>
                  <a:lnTo>
                    <a:pt x="60574" y="172237"/>
                  </a:lnTo>
                  <a:cubicBezTo>
                    <a:pt x="54120" y="174388"/>
                    <a:pt x="47525" y="175885"/>
                    <a:pt x="41071" y="177896"/>
                  </a:cubicBezTo>
                  <a:cubicBezTo>
                    <a:pt x="34102" y="179846"/>
                    <a:pt x="26760" y="179664"/>
                    <a:pt x="19884" y="177382"/>
                  </a:cubicBezTo>
                  <a:cubicBezTo>
                    <a:pt x="13056" y="175436"/>
                    <a:pt x="5853" y="175193"/>
                    <a:pt x="-1069" y="17668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FDFBF959-738D-4B75-A042-14246D775C2F}"/>
                </a:ext>
              </a:extLst>
            </p:cNvPr>
            <p:cNvSpPr/>
            <p:nvPr/>
          </p:nvSpPr>
          <p:spPr>
            <a:xfrm>
              <a:off x="7795870" y="5701363"/>
              <a:ext cx="151254" cy="95083"/>
            </a:xfrm>
            <a:custGeom>
              <a:avLst/>
              <a:gdLst>
                <a:gd name="connsiteX0" fmla="*/ -1069 w 151254"/>
                <a:gd name="connsiteY0" fmla="*/ 94833 h 95083"/>
                <a:gd name="connsiteX1" fmla="*/ 17265 w 151254"/>
                <a:gd name="connsiteY1" fmla="*/ 78557 h 95083"/>
                <a:gd name="connsiteX2" fmla="*/ 35973 w 151254"/>
                <a:gd name="connsiteY2" fmla="*/ 66023 h 95083"/>
                <a:gd name="connsiteX3" fmla="*/ 74979 w 151254"/>
                <a:gd name="connsiteY3" fmla="*/ 46847 h 95083"/>
                <a:gd name="connsiteX4" fmla="*/ 110150 w 151254"/>
                <a:gd name="connsiteY4" fmla="*/ 22199 h 95083"/>
                <a:gd name="connsiteX5" fmla="*/ 129372 w 151254"/>
                <a:gd name="connsiteY5" fmla="*/ 11021 h 95083"/>
                <a:gd name="connsiteX6" fmla="*/ 141065 w 151254"/>
                <a:gd name="connsiteY6" fmla="*/ 6765 h 95083"/>
                <a:gd name="connsiteX7" fmla="*/ 150185 w 151254"/>
                <a:gd name="connsiteY7" fmla="*/ -250 h 95083"/>
                <a:gd name="connsiteX8" fmla="*/ 150185 w 151254"/>
                <a:gd name="connsiteY8" fmla="*/ -250 h 95083"/>
                <a:gd name="connsiteX9" fmla="*/ 144105 w 151254"/>
                <a:gd name="connsiteY9" fmla="*/ 9525 h 95083"/>
                <a:gd name="connsiteX10" fmla="*/ 140644 w 151254"/>
                <a:gd name="connsiteY10" fmla="*/ 22106 h 95083"/>
                <a:gd name="connsiteX11" fmla="*/ 126893 w 151254"/>
                <a:gd name="connsiteY11" fmla="*/ 41936 h 95083"/>
                <a:gd name="connsiteX12" fmla="*/ 88075 w 151254"/>
                <a:gd name="connsiteY12" fmla="*/ 69390 h 95083"/>
                <a:gd name="connsiteX13" fmla="*/ 45982 w 151254"/>
                <a:gd name="connsiteY13" fmla="*/ 89969 h 95083"/>
                <a:gd name="connsiteX14" fmla="*/ 22597 w 151254"/>
                <a:gd name="connsiteY14" fmla="*/ 93476 h 95083"/>
                <a:gd name="connsiteX15" fmla="*/ -788 w 151254"/>
                <a:gd name="connsiteY15" fmla="*/ 94786 h 95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1254" h="95083">
                  <a:moveTo>
                    <a:pt x="-1069" y="94833"/>
                  </a:moveTo>
                  <a:cubicBezTo>
                    <a:pt x="6181" y="90848"/>
                    <a:pt x="12448" y="85287"/>
                    <a:pt x="17265" y="78557"/>
                  </a:cubicBezTo>
                  <a:cubicBezTo>
                    <a:pt x="22176" y="72701"/>
                    <a:pt x="28677" y="68356"/>
                    <a:pt x="35973" y="66023"/>
                  </a:cubicBezTo>
                  <a:cubicBezTo>
                    <a:pt x="49349" y="60443"/>
                    <a:pt x="62398" y="54040"/>
                    <a:pt x="74979" y="46847"/>
                  </a:cubicBezTo>
                  <a:cubicBezTo>
                    <a:pt x="87373" y="39602"/>
                    <a:pt x="99112" y="31357"/>
                    <a:pt x="110150" y="22199"/>
                  </a:cubicBezTo>
                  <a:cubicBezTo>
                    <a:pt x="115482" y="16853"/>
                    <a:pt x="122077" y="13000"/>
                    <a:pt x="129372" y="11021"/>
                  </a:cubicBezTo>
                  <a:cubicBezTo>
                    <a:pt x="133441" y="10086"/>
                    <a:pt x="137370" y="8655"/>
                    <a:pt x="141065" y="6765"/>
                  </a:cubicBezTo>
                  <a:cubicBezTo>
                    <a:pt x="144386" y="4801"/>
                    <a:pt x="147426" y="2444"/>
                    <a:pt x="150185" y="-250"/>
                  </a:cubicBezTo>
                  <a:lnTo>
                    <a:pt x="150185" y="-250"/>
                  </a:lnTo>
                  <a:cubicBezTo>
                    <a:pt x="147800" y="2757"/>
                    <a:pt x="145742" y="6040"/>
                    <a:pt x="144105" y="9525"/>
                  </a:cubicBezTo>
                  <a:cubicBezTo>
                    <a:pt x="142562" y="13594"/>
                    <a:pt x="141393" y="17808"/>
                    <a:pt x="140644" y="22106"/>
                  </a:cubicBezTo>
                  <a:cubicBezTo>
                    <a:pt x="138446" y="30094"/>
                    <a:pt x="133629" y="37095"/>
                    <a:pt x="126893" y="41936"/>
                  </a:cubicBezTo>
                  <a:cubicBezTo>
                    <a:pt x="114874" y="52319"/>
                    <a:pt x="101872" y="61514"/>
                    <a:pt x="88075" y="69390"/>
                  </a:cubicBezTo>
                  <a:cubicBezTo>
                    <a:pt x="74605" y="77350"/>
                    <a:pt x="60527" y="84230"/>
                    <a:pt x="45982" y="89969"/>
                  </a:cubicBezTo>
                  <a:cubicBezTo>
                    <a:pt x="38779" y="93635"/>
                    <a:pt x="30548" y="94865"/>
                    <a:pt x="22597" y="93476"/>
                  </a:cubicBezTo>
                  <a:cubicBezTo>
                    <a:pt x="14880" y="91437"/>
                    <a:pt x="6695" y="91896"/>
                    <a:pt x="-788" y="9478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1D9965B0-BFE0-44C7-A31B-005AF18ACFF2}"/>
                </a:ext>
              </a:extLst>
            </p:cNvPr>
            <p:cNvSpPr/>
            <p:nvPr/>
          </p:nvSpPr>
          <p:spPr>
            <a:xfrm>
              <a:off x="7760746" y="5716750"/>
              <a:ext cx="429020" cy="346751"/>
            </a:xfrm>
            <a:custGeom>
              <a:avLst/>
              <a:gdLst>
                <a:gd name="connsiteX0" fmla="*/ 427952 w 429020"/>
                <a:gd name="connsiteY0" fmla="*/ 28513 h 346751"/>
                <a:gd name="connsiteX1" fmla="*/ 425706 w 429020"/>
                <a:gd name="connsiteY1" fmla="*/ 18458 h 346751"/>
                <a:gd name="connsiteX2" fmla="*/ 425706 w 429020"/>
                <a:gd name="connsiteY2" fmla="*/ -250 h 346751"/>
                <a:gd name="connsiteX3" fmla="*/ 425706 w 429020"/>
                <a:gd name="connsiteY3" fmla="*/ -250 h 346751"/>
                <a:gd name="connsiteX4" fmla="*/ 415744 w 429020"/>
                <a:gd name="connsiteY4" fmla="*/ 15465 h 346751"/>
                <a:gd name="connsiteX5" fmla="*/ 408401 w 429020"/>
                <a:gd name="connsiteY5" fmla="*/ 22573 h 346751"/>
                <a:gd name="connsiteX6" fmla="*/ 403724 w 429020"/>
                <a:gd name="connsiteY6" fmla="*/ 30384 h 346751"/>
                <a:gd name="connsiteX7" fmla="*/ 392079 w 429020"/>
                <a:gd name="connsiteY7" fmla="*/ 63544 h 346751"/>
                <a:gd name="connsiteX8" fmla="*/ 361959 w 429020"/>
                <a:gd name="connsiteY8" fmla="*/ 125374 h 346751"/>
                <a:gd name="connsiteX9" fmla="*/ 259907 w 429020"/>
                <a:gd name="connsiteY9" fmla="*/ 213301 h 346751"/>
                <a:gd name="connsiteX10" fmla="*/ 125865 w 429020"/>
                <a:gd name="connsiteY10" fmla="*/ 258668 h 346751"/>
                <a:gd name="connsiteX11" fmla="*/ 115809 w 429020"/>
                <a:gd name="connsiteY11" fmla="*/ 262082 h 346751"/>
                <a:gd name="connsiteX12" fmla="*/ 109589 w 429020"/>
                <a:gd name="connsiteY12" fmla="*/ 263953 h 346751"/>
                <a:gd name="connsiteX13" fmla="*/ 65906 w 429020"/>
                <a:gd name="connsiteY13" fmla="*/ 281492 h 346751"/>
                <a:gd name="connsiteX14" fmla="*/ 44860 w 429020"/>
                <a:gd name="connsiteY14" fmla="*/ 292903 h 346751"/>
                <a:gd name="connsiteX15" fmla="*/ 42895 w 429020"/>
                <a:gd name="connsiteY15" fmla="*/ 294026 h 346751"/>
                <a:gd name="connsiteX16" fmla="*/ 42895 w 429020"/>
                <a:gd name="connsiteY16" fmla="*/ 294026 h 346751"/>
                <a:gd name="connsiteX17" fmla="*/ 25123 w 429020"/>
                <a:gd name="connsiteY17" fmla="*/ 306139 h 346751"/>
                <a:gd name="connsiteX18" fmla="*/ 10016 w 429020"/>
                <a:gd name="connsiteY18" fmla="*/ 324847 h 346751"/>
                <a:gd name="connsiteX19" fmla="*/ 5666 w 429020"/>
                <a:gd name="connsiteY19" fmla="*/ 337147 h 346751"/>
                <a:gd name="connsiteX20" fmla="*/ -1069 w 429020"/>
                <a:gd name="connsiteY20" fmla="*/ 346501 h 346751"/>
                <a:gd name="connsiteX21" fmla="*/ -1069 w 429020"/>
                <a:gd name="connsiteY21" fmla="*/ 346501 h 346751"/>
                <a:gd name="connsiteX22" fmla="*/ 8285 w 429020"/>
                <a:gd name="connsiteY22" fmla="*/ 340141 h 346751"/>
                <a:gd name="connsiteX23" fmla="*/ 20259 w 429020"/>
                <a:gd name="connsiteY23" fmla="*/ 336680 h 346751"/>
                <a:gd name="connsiteX24" fmla="*/ 40183 w 429020"/>
                <a:gd name="connsiteY24" fmla="*/ 326858 h 346751"/>
                <a:gd name="connsiteX25" fmla="*/ 58891 w 429020"/>
                <a:gd name="connsiteY25" fmla="*/ 314604 h 346751"/>
                <a:gd name="connsiteX26" fmla="*/ 58891 w 429020"/>
                <a:gd name="connsiteY26" fmla="*/ 314604 h 346751"/>
                <a:gd name="connsiteX27" fmla="*/ 68712 w 429020"/>
                <a:gd name="connsiteY27" fmla="*/ 309039 h 346751"/>
                <a:gd name="connsiteX28" fmla="*/ 133302 w 429020"/>
                <a:gd name="connsiteY28" fmla="*/ 283362 h 346751"/>
                <a:gd name="connsiteX29" fmla="*/ 270665 w 429020"/>
                <a:gd name="connsiteY29" fmla="*/ 236592 h 346751"/>
                <a:gd name="connsiteX30" fmla="*/ 382912 w 429020"/>
                <a:gd name="connsiteY30" fmla="*/ 139358 h 346751"/>
                <a:gd name="connsiteX31" fmla="*/ 415651 w 429020"/>
                <a:gd name="connsiteY31" fmla="*/ 72477 h 346751"/>
                <a:gd name="connsiteX32" fmla="*/ 426875 w 429020"/>
                <a:gd name="connsiteY32" fmla="*/ 37680 h 346751"/>
                <a:gd name="connsiteX33" fmla="*/ 427952 w 429020"/>
                <a:gd name="connsiteY33" fmla="*/ 28513 h 346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29020" h="346751">
                  <a:moveTo>
                    <a:pt x="427952" y="28513"/>
                  </a:moveTo>
                  <a:cubicBezTo>
                    <a:pt x="427390" y="25127"/>
                    <a:pt x="426642" y="21769"/>
                    <a:pt x="425706" y="18458"/>
                  </a:cubicBezTo>
                  <a:cubicBezTo>
                    <a:pt x="424210" y="12312"/>
                    <a:pt x="424210" y="5895"/>
                    <a:pt x="425706" y="-250"/>
                  </a:cubicBezTo>
                  <a:lnTo>
                    <a:pt x="425706" y="-250"/>
                  </a:lnTo>
                  <a:cubicBezTo>
                    <a:pt x="423742" y="5741"/>
                    <a:pt x="420328" y="11143"/>
                    <a:pt x="415744" y="15465"/>
                  </a:cubicBezTo>
                  <a:cubicBezTo>
                    <a:pt x="413359" y="17896"/>
                    <a:pt x="410459" y="20142"/>
                    <a:pt x="408401" y="22573"/>
                  </a:cubicBezTo>
                  <a:cubicBezTo>
                    <a:pt x="406531" y="24982"/>
                    <a:pt x="404987" y="27606"/>
                    <a:pt x="403724" y="30384"/>
                  </a:cubicBezTo>
                  <a:cubicBezTo>
                    <a:pt x="399562" y="41469"/>
                    <a:pt x="395914" y="52553"/>
                    <a:pt x="392079" y="63544"/>
                  </a:cubicBezTo>
                  <a:cubicBezTo>
                    <a:pt x="384315" y="85180"/>
                    <a:pt x="374212" y="105908"/>
                    <a:pt x="361959" y="125374"/>
                  </a:cubicBezTo>
                  <a:cubicBezTo>
                    <a:pt x="336937" y="163753"/>
                    <a:pt x="301579" y="194242"/>
                    <a:pt x="259907" y="213301"/>
                  </a:cubicBezTo>
                  <a:cubicBezTo>
                    <a:pt x="218422" y="233225"/>
                    <a:pt x="172073" y="243982"/>
                    <a:pt x="125865" y="258668"/>
                  </a:cubicBezTo>
                  <a:cubicBezTo>
                    <a:pt x="122497" y="259743"/>
                    <a:pt x="119177" y="260913"/>
                    <a:pt x="115809" y="262082"/>
                  </a:cubicBezTo>
                  <a:cubicBezTo>
                    <a:pt x="113705" y="262596"/>
                    <a:pt x="111647" y="263251"/>
                    <a:pt x="109589" y="263953"/>
                  </a:cubicBezTo>
                  <a:cubicBezTo>
                    <a:pt x="94576" y="268611"/>
                    <a:pt x="79984" y="274481"/>
                    <a:pt x="65906" y="281492"/>
                  </a:cubicBezTo>
                  <a:cubicBezTo>
                    <a:pt x="58844" y="285093"/>
                    <a:pt x="51875" y="288834"/>
                    <a:pt x="44860" y="292903"/>
                  </a:cubicBezTo>
                  <a:lnTo>
                    <a:pt x="42895" y="294026"/>
                  </a:lnTo>
                  <a:lnTo>
                    <a:pt x="42895" y="294026"/>
                  </a:lnTo>
                  <a:cubicBezTo>
                    <a:pt x="36722" y="297697"/>
                    <a:pt x="30782" y="301743"/>
                    <a:pt x="25123" y="306139"/>
                  </a:cubicBezTo>
                  <a:cubicBezTo>
                    <a:pt x="18061" y="310442"/>
                    <a:pt x="12729" y="317055"/>
                    <a:pt x="10016" y="324847"/>
                  </a:cubicBezTo>
                  <a:cubicBezTo>
                    <a:pt x="8940" y="329075"/>
                    <a:pt x="7491" y="333196"/>
                    <a:pt x="5666" y="337147"/>
                  </a:cubicBezTo>
                  <a:cubicBezTo>
                    <a:pt x="3796" y="340520"/>
                    <a:pt x="1551" y="343663"/>
                    <a:pt x="-1069" y="346501"/>
                  </a:cubicBezTo>
                  <a:lnTo>
                    <a:pt x="-1069" y="346501"/>
                  </a:lnTo>
                  <a:cubicBezTo>
                    <a:pt x="1785" y="343995"/>
                    <a:pt x="4918" y="341857"/>
                    <a:pt x="8285" y="340141"/>
                  </a:cubicBezTo>
                  <a:cubicBezTo>
                    <a:pt x="12121" y="338499"/>
                    <a:pt x="16143" y="337339"/>
                    <a:pt x="20259" y="336680"/>
                  </a:cubicBezTo>
                  <a:cubicBezTo>
                    <a:pt x="27648" y="335225"/>
                    <a:pt x="34524" y="331839"/>
                    <a:pt x="40183" y="326858"/>
                  </a:cubicBezTo>
                  <a:cubicBezTo>
                    <a:pt x="46356" y="322649"/>
                    <a:pt x="52577" y="318486"/>
                    <a:pt x="58891" y="314604"/>
                  </a:cubicBezTo>
                  <a:lnTo>
                    <a:pt x="58891" y="314604"/>
                  </a:lnTo>
                  <a:cubicBezTo>
                    <a:pt x="62164" y="312734"/>
                    <a:pt x="65392" y="310863"/>
                    <a:pt x="68712" y="309039"/>
                  </a:cubicBezTo>
                  <a:cubicBezTo>
                    <a:pt x="89571" y="298885"/>
                    <a:pt x="111179" y="290303"/>
                    <a:pt x="133302" y="283362"/>
                  </a:cubicBezTo>
                  <a:cubicBezTo>
                    <a:pt x="178107" y="269004"/>
                    <a:pt x="225672" y="258200"/>
                    <a:pt x="270665" y="236592"/>
                  </a:cubicBezTo>
                  <a:cubicBezTo>
                    <a:pt x="316499" y="215387"/>
                    <a:pt x="355365" y="181685"/>
                    <a:pt x="382912" y="139358"/>
                  </a:cubicBezTo>
                  <a:cubicBezTo>
                    <a:pt x="396195" y="118297"/>
                    <a:pt x="407139" y="95876"/>
                    <a:pt x="415651" y="72477"/>
                  </a:cubicBezTo>
                  <a:cubicBezTo>
                    <a:pt x="420094" y="61117"/>
                    <a:pt x="423836" y="49494"/>
                    <a:pt x="426875" y="37680"/>
                  </a:cubicBezTo>
                  <a:cubicBezTo>
                    <a:pt x="427577" y="34678"/>
                    <a:pt x="427952" y="31600"/>
                    <a:pt x="427952" y="2851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E3A52171-E34C-45E5-963B-4018E4A68911}"/>
                </a:ext>
              </a:extLst>
            </p:cNvPr>
            <p:cNvSpPr/>
            <p:nvPr/>
          </p:nvSpPr>
          <p:spPr>
            <a:xfrm>
              <a:off x="7743067" y="5700194"/>
              <a:ext cx="395625" cy="300262"/>
            </a:xfrm>
            <a:custGeom>
              <a:avLst/>
              <a:gdLst>
                <a:gd name="connsiteX0" fmla="*/ 392031 w 395625"/>
                <a:gd name="connsiteY0" fmla="*/ 15558 h 300262"/>
                <a:gd name="connsiteX1" fmla="*/ 393107 w 395625"/>
                <a:gd name="connsiteY1" fmla="*/ -250 h 300262"/>
                <a:gd name="connsiteX2" fmla="*/ 393107 w 395625"/>
                <a:gd name="connsiteY2" fmla="*/ -250 h 300262"/>
                <a:gd name="connsiteX3" fmla="*/ 385016 w 395625"/>
                <a:gd name="connsiteY3" fmla="*/ 13360 h 300262"/>
                <a:gd name="connsiteX4" fmla="*/ 372856 w 395625"/>
                <a:gd name="connsiteY4" fmla="*/ 25426 h 300262"/>
                <a:gd name="connsiteX5" fmla="*/ 366402 w 395625"/>
                <a:gd name="connsiteY5" fmla="*/ 39083 h 300262"/>
                <a:gd name="connsiteX6" fmla="*/ 360743 w 395625"/>
                <a:gd name="connsiteY6" fmla="*/ 53114 h 300262"/>
                <a:gd name="connsiteX7" fmla="*/ 333148 w 395625"/>
                <a:gd name="connsiteY7" fmla="*/ 105122 h 300262"/>
                <a:gd name="connsiteX8" fmla="*/ 246297 w 395625"/>
                <a:gd name="connsiteY8" fmla="*/ 181778 h 300262"/>
                <a:gd name="connsiteX9" fmla="*/ 133114 w 395625"/>
                <a:gd name="connsiteY9" fmla="*/ 222982 h 300262"/>
                <a:gd name="connsiteX10" fmla="*/ 80685 w 395625"/>
                <a:gd name="connsiteY10" fmla="*/ 239679 h 300262"/>
                <a:gd name="connsiteX11" fmla="*/ 80685 w 395625"/>
                <a:gd name="connsiteY11" fmla="*/ 239679 h 300262"/>
                <a:gd name="connsiteX12" fmla="*/ 72360 w 395625"/>
                <a:gd name="connsiteY12" fmla="*/ 242485 h 300262"/>
                <a:gd name="connsiteX13" fmla="*/ 29332 w 395625"/>
                <a:gd name="connsiteY13" fmla="*/ 262643 h 300262"/>
                <a:gd name="connsiteX14" fmla="*/ 12261 w 395625"/>
                <a:gd name="connsiteY14" fmla="*/ 279714 h 300262"/>
                <a:gd name="connsiteX15" fmla="*/ 6602 w 395625"/>
                <a:gd name="connsiteY15" fmla="*/ 291500 h 300262"/>
                <a:gd name="connsiteX16" fmla="*/ -1069 w 395625"/>
                <a:gd name="connsiteY16" fmla="*/ 300012 h 300262"/>
                <a:gd name="connsiteX17" fmla="*/ -1069 w 395625"/>
                <a:gd name="connsiteY17" fmla="*/ 300012 h 300262"/>
                <a:gd name="connsiteX18" fmla="*/ 9127 w 395625"/>
                <a:gd name="connsiteY18" fmla="*/ 294727 h 300262"/>
                <a:gd name="connsiteX19" fmla="*/ 21380 w 395625"/>
                <a:gd name="connsiteY19" fmla="*/ 292576 h 300262"/>
                <a:gd name="connsiteX20" fmla="*/ 42286 w 395625"/>
                <a:gd name="connsiteY20" fmla="*/ 284952 h 300262"/>
                <a:gd name="connsiteX21" fmla="*/ 53418 w 395625"/>
                <a:gd name="connsiteY21" fmla="*/ 279153 h 300262"/>
                <a:gd name="connsiteX22" fmla="*/ 82556 w 395625"/>
                <a:gd name="connsiteY22" fmla="*/ 266759 h 300262"/>
                <a:gd name="connsiteX23" fmla="*/ 140363 w 395625"/>
                <a:gd name="connsiteY23" fmla="*/ 248051 h 300262"/>
                <a:gd name="connsiteX24" fmla="*/ 258410 w 395625"/>
                <a:gd name="connsiteY24" fmla="*/ 204835 h 300262"/>
                <a:gd name="connsiteX25" fmla="*/ 354569 w 395625"/>
                <a:gd name="connsiteY25" fmla="*/ 119855 h 300262"/>
                <a:gd name="connsiteX26" fmla="*/ 384922 w 395625"/>
                <a:gd name="connsiteY26" fmla="*/ 63263 h 300262"/>
                <a:gd name="connsiteX27" fmla="*/ 390582 w 395625"/>
                <a:gd name="connsiteY27" fmla="*/ 48437 h 300262"/>
                <a:gd name="connsiteX28" fmla="*/ 394557 w 395625"/>
                <a:gd name="connsiteY28" fmla="*/ 33097 h 300262"/>
                <a:gd name="connsiteX29" fmla="*/ 392031 w 395625"/>
                <a:gd name="connsiteY29" fmla="*/ 15558 h 300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95625" h="300262">
                  <a:moveTo>
                    <a:pt x="392031" y="15558"/>
                  </a:moveTo>
                  <a:cubicBezTo>
                    <a:pt x="391470" y="10268"/>
                    <a:pt x="391845" y="4913"/>
                    <a:pt x="393107" y="-250"/>
                  </a:cubicBezTo>
                  <a:lnTo>
                    <a:pt x="393107" y="-250"/>
                  </a:lnTo>
                  <a:cubicBezTo>
                    <a:pt x="391330" y="4768"/>
                    <a:pt x="388571" y="9389"/>
                    <a:pt x="385016" y="13360"/>
                  </a:cubicBezTo>
                  <a:cubicBezTo>
                    <a:pt x="380526" y="16924"/>
                    <a:pt x="376457" y="20969"/>
                    <a:pt x="372856" y="25426"/>
                  </a:cubicBezTo>
                  <a:cubicBezTo>
                    <a:pt x="370097" y="29678"/>
                    <a:pt x="367945" y="34266"/>
                    <a:pt x="366402" y="39083"/>
                  </a:cubicBezTo>
                  <a:lnTo>
                    <a:pt x="360743" y="53114"/>
                  </a:lnTo>
                  <a:cubicBezTo>
                    <a:pt x="353400" y="71378"/>
                    <a:pt x="344186" y="88814"/>
                    <a:pt x="333148" y="105122"/>
                  </a:cubicBezTo>
                  <a:cubicBezTo>
                    <a:pt x="310933" y="137398"/>
                    <a:pt x="281094" y="163720"/>
                    <a:pt x="246297" y="181778"/>
                  </a:cubicBezTo>
                  <a:cubicBezTo>
                    <a:pt x="211594" y="200486"/>
                    <a:pt x="172588" y="211383"/>
                    <a:pt x="133114" y="222982"/>
                  </a:cubicBezTo>
                  <a:cubicBezTo>
                    <a:pt x="115715" y="228174"/>
                    <a:pt x="98130" y="233505"/>
                    <a:pt x="80685" y="239679"/>
                  </a:cubicBezTo>
                  <a:lnTo>
                    <a:pt x="80685" y="239679"/>
                  </a:lnTo>
                  <a:cubicBezTo>
                    <a:pt x="77926" y="240568"/>
                    <a:pt x="75119" y="241503"/>
                    <a:pt x="72360" y="242485"/>
                  </a:cubicBezTo>
                  <a:cubicBezTo>
                    <a:pt x="57394" y="247775"/>
                    <a:pt x="42988" y="254528"/>
                    <a:pt x="29332" y="262643"/>
                  </a:cubicBezTo>
                  <a:cubicBezTo>
                    <a:pt x="21848" y="266197"/>
                    <a:pt x="15815" y="272226"/>
                    <a:pt x="12261" y="279714"/>
                  </a:cubicBezTo>
                  <a:cubicBezTo>
                    <a:pt x="10764" y="283811"/>
                    <a:pt x="8846" y="287754"/>
                    <a:pt x="6602" y="291500"/>
                  </a:cubicBezTo>
                  <a:cubicBezTo>
                    <a:pt x="4403" y="294643"/>
                    <a:pt x="1831" y="297505"/>
                    <a:pt x="-1069" y="300012"/>
                  </a:cubicBezTo>
                  <a:lnTo>
                    <a:pt x="-1069" y="300012"/>
                  </a:lnTo>
                  <a:cubicBezTo>
                    <a:pt x="2111" y="297837"/>
                    <a:pt x="5525" y="296065"/>
                    <a:pt x="9127" y="294727"/>
                  </a:cubicBezTo>
                  <a:cubicBezTo>
                    <a:pt x="13102" y="293516"/>
                    <a:pt x="17218" y="292795"/>
                    <a:pt x="21380" y="292576"/>
                  </a:cubicBezTo>
                  <a:cubicBezTo>
                    <a:pt x="28910" y="291926"/>
                    <a:pt x="36113" y="289297"/>
                    <a:pt x="42286" y="284952"/>
                  </a:cubicBezTo>
                  <a:cubicBezTo>
                    <a:pt x="45981" y="282988"/>
                    <a:pt x="49676" y="281024"/>
                    <a:pt x="53418" y="279153"/>
                  </a:cubicBezTo>
                  <a:cubicBezTo>
                    <a:pt x="62772" y="274476"/>
                    <a:pt x="72641" y="270500"/>
                    <a:pt x="82556" y="266759"/>
                  </a:cubicBezTo>
                  <a:cubicBezTo>
                    <a:pt x="101264" y="259837"/>
                    <a:pt x="120766" y="253944"/>
                    <a:pt x="140363" y="248051"/>
                  </a:cubicBezTo>
                  <a:cubicBezTo>
                    <a:pt x="179603" y="236452"/>
                    <a:pt x="220433" y="225087"/>
                    <a:pt x="258410" y="204835"/>
                  </a:cubicBezTo>
                  <a:cubicBezTo>
                    <a:pt x="296949" y="184813"/>
                    <a:pt x="329968" y="155629"/>
                    <a:pt x="354569" y="119855"/>
                  </a:cubicBezTo>
                  <a:cubicBezTo>
                    <a:pt x="366495" y="102021"/>
                    <a:pt x="376691" y="83070"/>
                    <a:pt x="384922" y="63263"/>
                  </a:cubicBezTo>
                  <a:cubicBezTo>
                    <a:pt x="386981" y="58586"/>
                    <a:pt x="388805" y="53395"/>
                    <a:pt x="390582" y="48437"/>
                  </a:cubicBezTo>
                  <a:cubicBezTo>
                    <a:pt x="392686" y="43555"/>
                    <a:pt x="394043" y="38382"/>
                    <a:pt x="394557" y="33097"/>
                  </a:cubicBezTo>
                  <a:cubicBezTo>
                    <a:pt x="394510" y="27162"/>
                    <a:pt x="393668" y="21264"/>
                    <a:pt x="392031" y="15558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5F7B9476-7A53-40B1-A321-61004DAC670C}"/>
                </a:ext>
              </a:extLst>
            </p:cNvPr>
            <p:cNvSpPr/>
            <p:nvPr/>
          </p:nvSpPr>
          <p:spPr>
            <a:xfrm>
              <a:off x="7730159" y="5688782"/>
              <a:ext cx="354328" cy="250920"/>
            </a:xfrm>
            <a:custGeom>
              <a:avLst/>
              <a:gdLst>
                <a:gd name="connsiteX0" fmla="*/ 353260 w 354328"/>
                <a:gd name="connsiteY0" fmla="*/ -250 h 250920"/>
                <a:gd name="connsiteX1" fmla="*/ 353260 w 354328"/>
                <a:gd name="connsiteY1" fmla="*/ -250 h 250920"/>
                <a:gd name="connsiteX2" fmla="*/ 346478 w 354328"/>
                <a:gd name="connsiteY2" fmla="*/ 11021 h 250920"/>
                <a:gd name="connsiteX3" fmla="*/ 335300 w 354328"/>
                <a:gd name="connsiteY3" fmla="*/ 20375 h 250920"/>
                <a:gd name="connsiteX4" fmla="*/ 321924 w 354328"/>
                <a:gd name="connsiteY4" fmla="*/ 41749 h 250920"/>
                <a:gd name="connsiteX5" fmla="*/ 296247 w 354328"/>
                <a:gd name="connsiteY5" fmla="*/ 83514 h 250920"/>
                <a:gd name="connsiteX6" fmla="*/ 222725 w 354328"/>
                <a:gd name="connsiteY6" fmla="*/ 147075 h 250920"/>
                <a:gd name="connsiteX7" fmla="*/ 129653 w 354328"/>
                <a:gd name="connsiteY7" fmla="*/ 183836 h 250920"/>
                <a:gd name="connsiteX8" fmla="*/ 52717 w 354328"/>
                <a:gd name="connsiteY8" fmla="*/ 207735 h 250920"/>
                <a:gd name="connsiteX9" fmla="*/ 52717 w 354328"/>
                <a:gd name="connsiteY9" fmla="*/ 207735 h 250920"/>
                <a:gd name="connsiteX10" fmla="*/ 51220 w 354328"/>
                <a:gd name="connsiteY10" fmla="*/ 208343 h 250920"/>
                <a:gd name="connsiteX11" fmla="*/ 46216 w 354328"/>
                <a:gd name="connsiteY11" fmla="*/ 210027 h 250920"/>
                <a:gd name="connsiteX12" fmla="*/ 46216 w 354328"/>
                <a:gd name="connsiteY12" fmla="*/ 210027 h 250920"/>
                <a:gd name="connsiteX13" fmla="*/ 32699 w 354328"/>
                <a:gd name="connsiteY13" fmla="*/ 216013 h 250920"/>
                <a:gd name="connsiteX14" fmla="*/ 13991 w 354328"/>
                <a:gd name="connsiteY14" fmla="*/ 231588 h 250920"/>
                <a:gd name="connsiteX15" fmla="*/ 7350 w 354328"/>
                <a:gd name="connsiteY15" fmla="*/ 242813 h 250920"/>
                <a:gd name="connsiteX16" fmla="*/ -1069 w 354328"/>
                <a:gd name="connsiteY16" fmla="*/ 250670 h 250920"/>
                <a:gd name="connsiteX17" fmla="*/ -1069 w 354328"/>
                <a:gd name="connsiteY17" fmla="*/ 250670 h 250920"/>
                <a:gd name="connsiteX18" fmla="*/ 9594 w 354328"/>
                <a:gd name="connsiteY18" fmla="*/ 245993 h 250920"/>
                <a:gd name="connsiteX19" fmla="*/ 21989 w 354328"/>
                <a:gd name="connsiteY19" fmla="*/ 244964 h 250920"/>
                <a:gd name="connsiteX20" fmla="*/ 43456 w 354328"/>
                <a:gd name="connsiteY20" fmla="*/ 239165 h 250920"/>
                <a:gd name="connsiteX21" fmla="*/ 57955 w 354328"/>
                <a:gd name="connsiteY21" fmla="*/ 232897 h 250920"/>
                <a:gd name="connsiteX22" fmla="*/ 136809 w 354328"/>
                <a:gd name="connsiteY22" fmla="*/ 208390 h 250920"/>
                <a:gd name="connsiteX23" fmla="*/ 235025 w 354328"/>
                <a:gd name="connsiteY23" fmla="*/ 169384 h 250920"/>
                <a:gd name="connsiteX24" fmla="*/ 316545 w 354328"/>
                <a:gd name="connsiteY24" fmla="*/ 98855 h 250920"/>
                <a:gd name="connsiteX25" fmla="*/ 344607 w 354328"/>
                <a:gd name="connsiteY25" fmla="*/ 52927 h 250920"/>
                <a:gd name="connsiteX26" fmla="*/ 352418 w 354328"/>
                <a:gd name="connsiteY26" fmla="*/ 27250 h 250920"/>
                <a:gd name="connsiteX27" fmla="*/ 350593 w 354328"/>
                <a:gd name="connsiteY27" fmla="*/ 12471 h 250920"/>
                <a:gd name="connsiteX28" fmla="*/ 353260 w 354328"/>
                <a:gd name="connsiteY28" fmla="*/ -250 h 250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54328" h="250920">
                  <a:moveTo>
                    <a:pt x="353260" y="-250"/>
                  </a:moveTo>
                  <a:lnTo>
                    <a:pt x="353260" y="-250"/>
                  </a:lnTo>
                  <a:cubicBezTo>
                    <a:pt x="351576" y="3819"/>
                    <a:pt x="349284" y="7616"/>
                    <a:pt x="346478" y="11021"/>
                  </a:cubicBezTo>
                  <a:cubicBezTo>
                    <a:pt x="343344" y="14389"/>
                    <a:pt x="338807" y="17195"/>
                    <a:pt x="335300" y="20375"/>
                  </a:cubicBezTo>
                  <a:cubicBezTo>
                    <a:pt x="328284" y="26549"/>
                    <a:pt x="325946" y="34406"/>
                    <a:pt x="321924" y="41749"/>
                  </a:cubicBezTo>
                  <a:cubicBezTo>
                    <a:pt x="314675" y="56449"/>
                    <a:pt x="306115" y="70428"/>
                    <a:pt x="296247" y="83514"/>
                  </a:cubicBezTo>
                  <a:cubicBezTo>
                    <a:pt x="276370" y="109547"/>
                    <a:pt x="251348" y="131187"/>
                    <a:pt x="222725" y="147075"/>
                  </a:cubicBezTo>
                  <a:cubicBezTo>
                    <a:pt x="194055" y="163164"/>
                    <a:pt x="162298" y="174061"/>
                    <a:pt x="129653" y="183836"/>
                  </a:cubicBezTo>
                  <a:cubicBezTo>
                    <a:pt x="104303" y="191412"/>
                    <a:pt x="78206" y="198662"/>
                    <a:pt x="52717" y="207735"/>
                  </a:cubicBezTo>
                  <a:lnTo>
                    <a:pt x="52717" y="207735"/>
                  </a:lnTo>
                  <a:lnTo>
                    <a:pt x="51220" y="208343"/>
                  </a:lnTo>
                  <a:cubicBezTo>
                    <a:pt x="49536" y="208905"/>
                    <a:pt x="47852" y="209419"/>
                    <a:pt x="46216" y="210027"/>
                  </a:cubicBezTo>
                  <a:cubicBezTo>
                    <a:pt x="46216" y="210027"/>
                    <a:pt x="46216" y="210027"/>
                    <a:pt x="46216" y="210027"/>
                  </a:cubicBezTo>
                  <a:cubicBezTo>
                    <a:pt x="41539" y="211851"/>
                    <a:pt x="36862" y="213769"/>
                    <a:pt x="32699" y="216013"/>
                  </a:cubicBezTo>
                  <a:cubicBezTo>
                    <a:pt x="24841" y="218885"/>
                    <a:pt x="18247" y="224385"/>
                    <a:pt x="13991" y="231588"/>
                  </a:cubicBezTo>
                  <a:cubicBezTo>
                    <a:pt x="12120" y="235535"/>
                    <a:pt x="9922" y="239296"/>
                    <a:pt x="7350" y="242813"/>
                  </a:cubicBezTo>
                  <a:cubicBezTo>
                    <a:pt x="4871" y="245740"/>
                    <a:pt x="2018" y="248378"/>
                    <a:pt x="-1069" y="250670"/>
                  </a:cubicBezTo>
                  <a:lnTo>
                    <a:pt x="-1069" y="250670"/>
                  </a:lnTo>
                  <a:cubicBezTo>
                    <a:pt x="2299" y="248673"/>
                    <a:pt x="5853" y="247102"/>
                    <a:pt x="9594" y="245993"/>
                  </a:cubicBezTo>
                  <a:cubicBezTo>
                    <a:pt x="13664" y="245146"/>
                    <a:pt x="17826" y="244800"/>
                    <a:pt x="21989" y="244964"/>
                  </a:cubicBezTo>
                  <a:cubicBezTo>
                    <a:pt x="29518" y="244950"/>
                    <a:pt x="36955" y="242953"/>
                    <a:pt x="43456" y="239165"/>
                  </a:cubicBezTo>
                  <a:cubicBezTo>
                    <a:pt x="48133" y="237060"/>
                    <a:pt x="58002" y="232991"/>
                    <a:pt x="57955" y="232897"/>
                  </a:cubicBezTo>
                  <a:cubicBezTo>
                    <a:pt x="83444" y="223543"/>
                    <a:pt x="109963" y="216341"/>
                    <a:pt x="136809" y="208390"/>
                  </a:cubicBezTo>
                  <a:cubicBezTo>
                    <a:pt x="169968" y="198428"/>
                    <a:pt x="203736" y="187016"/>
                    <a:pt x="235025" y="169384"/>
                  </a:cubicBezTo>
                  <a:cubicBezTo>
                    <a:pt x="266782" y="151747"/>
                    <a:pt x="294516" y="127735"/>
                    <a:pt x="316545" y="98855"/>
                  </a:cubicBezTo>
                  <a:cubicBezTo>
                    <a:pt x="327349" y="84483"/>
                    <a:pt x="336750" y="69100"/>
                    <a:pt x="344607" y="52927"/>
                  </a:cubicBezTo>
                  <a:cubicBezTo>
                    <a:pt x="348255" y="44789"/>
                    <a:pt x="352979" y="37025"/>
                    <a:pt x="352418" y="27250"/>
                  </a:cubicBezTo>
                  <a:cubicBezTo>
                    <a:pt x="352090" y="22573"/>
                    <a:pt x="350781" y="17148"/>
                    <a:pt x="350593" y="12471"/>
                  </a:cubicBezTo>
                  <a:cubicBezTo>
                    <a:pt x="350968" y="8140"/>
                    <a:pt x="351903" y="3875"/>
                    <a:pt x="353260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9176E5A7-D3D8-4443-A499-4265ABA0D53A}"/>
                </a:ext>
              </a:extLst>
            </p:cNvPr>
            <p:cNvSpPr/>
            <p:nvPr/>
          </p:nvSpPr>
          <p:spPr>
            <a:xfrm>
              <a:off x="7795356" y="5727694"/>
              <a:ext cx="446832" cy="385289"/>
            </a:xfrm>
            <a:custGeom>
              <a:avLst/>
              <a:gdLst>
                <a:gd name="connsiteX0" fmla="*/ 443666 w 446832"/>
                <a:gd name="connsiteY0" fmla="*/ 20141 h 385289"/>
                <a:gd name="connsiteX1" fmla="*/ 443666 w 446832"/>
                <a:gd name="connsiteY1" fmla="*/ -250 h 385289"/>
                <a:gd name="connsiteX2" fmla="*/ 443666 w 446832"/>
                <a:gd name="connsiteY2" fmla="*/ -250 h 385289"/>
                <a:gd name="connsiteX3" fmla="*/ 432207 w 446832"/>
                <a:gd name="connsiteY3" fmla="*/ 16680 h 385289"/>
                <a:gd name="connsiteX4" fmla="*/ 420188 w 446832"/>
                <a:gd name="connsiteY4" fmla="*/ 33517 h 385289"/>
                <a:gd name="connsiteX5" fmla="*/ 408775 w 446832"/>
                <a:gd name="connsiteY5" fmla="*/ 70466 h 385289"/>
                <a:gd name="connsiteX6" fmla="*/ 380152 w 446832"/>
                <a:gd name="connsiteY6" fmla="*/ 140293 h 385289"/>
                <a:gd name="connsiteX7" fmla="*/ 275294 w 446832"/>
                <a:gd name="connsiteY7" fmla="*/ 241643 h 385289"/>
                <a:gd name="connsiteX8" fmla="*/ 129980 w 446832"/>
                <a:gd name="connsiteY8" fmla="*/ 291874 h 385289"/>
                <a:gd name="connsiteX9" fmla="*/ 55897 w 446832"/>
                <a:gd name="connsiteY9" fmla="*/ 323210 h 385289"/>
                <a:gd name="connsiteX10" fmla="*/ 53933 w 446832"/>
                <a:gd name="connsiteY10" fmla="*/ 324613 h 385289"/>
                <a:gd name="connsiteX11" fmla="*/ 24374 w 446832"/>
                <a:gd name="connsiteY11" fmla="*/ 344256 h 385289"/>
                <a:gd name="connsiteX12" fmla="*/ 9595 w 446832"/>
                <a:gd name="connsiteY12" fmla="*/ 363338 h 385289"/>
                <a:gd name="connsiteX13" fmla="*/ 5479 w 446832"/>
                <a:gd name="connsiteY13" fmla="*/ 375686 h 385289"/>
                <a:gd name="connsiteX14" fmla="*/ -1069 w 446832"/>
                <a:gd name="connsiteY14" fmla="*/ 385040 h 385289"/>
                <a:gd name="connsiteX15" fmla="*/ -1069 w 446832"/>
                <a:gd name="connsiteY15" fmla="*/ 385040 h 385289"/>
                <a:gd name="connsiteX16" fmla="*/ 8285 w 446832"/>
                <a:gd name="connsiteY16" fmla="*/ 378492 h 385289"/>
                <a:gd name="connsiteX17" fmla="*/ 20212 w 446832"/>
                <a:gd name="connsiteY17" fmla="*/ 374844 h 385289"/>
                <a:gd name="connsiteX18" fmla="*/ 39949 w 446832"/>
                <a:gd name="connsiteY18" fmla="*/ 364648 h 385289"/>
                <a:gd name="connsiteX19" fmla="*/ 76336 w 446832"/>
                <a:gd name="connsiteY19" fmla="*/ 341824 h 385289"/>
                <a:gd name="connsiteX20" fmla="*/ 86625 w 446832"/>
                <a:gd name="connsiteY20" fmla="*/ 336680 h 385289"/>
                <a:gd name="connsiteX21" fmla="*/ 138072 w 446832"/>
                <a:gd name="connsiteY21" fmla="*/ 316522 h 385289"/>
                <a:gd name="connsiteX22" fmla="*/ 287127 w 446832"/>
                <a:gd name="connsiteY22" fmla="*/ 264701 h 385289"/>
                <a:gd name="connsiteX23" fmla="*/ 353774 w 446832"/>
                <a:gd name="connsiteY23" fmla="*/ 217931 h 385289"/>
                <a:gd name="connsiteX24" fmla="*/ 403023 w 446832"/>
                <a:gd name="connsiteY24" fmla="*/ 152734 h 385289"/>
                <a:gd name="connsiteX25" fmla="*/ 433564 w 446832"/>
                <a:gd name="connsiteY25" fmla="*/ 78463 h 385289"/>
                <a:gd name="connsiteX26" fmla="*/ 444835 w 446832"/>
                <a:gd name="connsiteY26" fmla="*/ 40767 h 385289"/>
                <a:gd name="connsiteX27" fmla="*/ 443666 w 446832"/>
                <a:gd name="connsiteY27" fmla="*/ 20141 h 385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46832" h="385289">
                  <a:moveTo>
                    <a:pt x="443666" y="20141"/>
                  </a:moveTo>
                  <a:cubicBezTo>
                    <a:pt x="441795" y="13472"/>
                    <a:pt x="441795" y="6419"/>
                    <a:pt x="443666" y="-250"/>
                  </a:cubicBezTo>
                  <a:lnTo>
                    <a:pt x="443666" y="-250"/>
                  </a:lnTo>
                  <a:cubicBezTo>
                    <a:pt x="441421" y="6302"/>
                    <a:pt x="437445" y="12139"/>
                    <a:pt x="432207" y="16680"/>
                  </a:cubicBezTo>
                  <a:cubicBezTo>
                    <a:pt x="426689" y="21025"/>
                    <a:pt x="422479" y="26872"/>
                    <a:pt x="420188" y="33517"/>
                  </a:cubicBezTo>
                  <a:lnTo>
                    <a:pt x="408775" y="70466"/>
                  </a:lnTo>
                  <a:cubicBezTo>
                    <a:pt x="401386" y="94566"/>
                    <a:pt x="391798" y="117937"/>
                    <a:pt x="380152" y="140293"/>
                  </a:cubicBezTo>
                  <a:cubicBezTo>
                    <a:pt x="356534" y="184116"/>
                    <a:pt x="319913" y="219531"/>
                    <a:pt x="275294" y="241643"/>
                  </a:cubicBezTo>
                  <a:cubicBezTo>
                    <a:pt x="230910" y="264561"/>
                    <a:pt x="180164" y="275458"/>
                    <a:pt x="129980" y="291874"/>
                  </a:cubicBezTo>
                  <a:cubicBezTo>
                    <a:pt x="104351" y="299989"/>
                    <a:pt x="79562" y="310479"/>
                    <a:pt x="55897" y="323210"/>
                  </a:cubicBezTo>
                  <a:lnTo>
                    <a:pt x="53933" y="324613"/>
                  </a:lnTo>
                  <a:cubicBezTo>
                    <a:pt x="43550" y="330291"/>
                    <a:pt x="33635" y="336862"/>
                    <a:pt x="24374" y="344256"/>
                  </a:cubicBezTo>
                  <a:cubicBezTo>
                    <a:pt x="17406" y="348723"/>
                    <a:pt x="12168" y="355467"/>
                    <a:pt x="9595" y="363338"/>
                  </a:cubicBezTo>
                  <a:cubicBezTo>
                    <a:pt x="8613" y="367580"/>
                    <a:pt x="7256" y="371715"/>
                    <a:pt x="5479" y="375686"/>
                  </a:cubicBezTo>
                  <a:cubicBezTo>
                    <a:pt x="3655" y="379048"/>
                    <a:pt x="1457" y="382187"/>
                    <a:pt x="-1069" y="385040"/>
                  </a:cubicBezTo>
                  <a:lnTo>
                    <a:pt x="-1069" y="385040"/>
                  </a:lnTo>
                  <a:cubicBezTo>
                    <a:pt x="1784" y="382491"/>
                    <a:pt x="4918" y="380293"/>
                    <a:pt x="8285" y="378492"/>
                  </a:cubicBezTo>
                  <a:cubicBezTo>
                    <a:pt x="12121" y="376818"/>
                    <a:pt x="16096" y="375592"/>
                    <a:pt x="20212" y="374844"/>
                  </a:cubicBezTo>
                  <a:cubicBezTo>
                    <a:pt x="27554" y="373235"/>
                    <a:pt x="34383" y="369718"/>
                    <a:pt x="39949" y="364648"/>
                  </a:cubicBezTo>
                  <a:cubicBezTo>
                    <a:pt x="51454" y="356108"/>
                    <a:pt x="63614" y="348475"/>
                    <a:pt x="76336" y="341824"/>
                  </a:cubicBezTo>
                  <a:cubicBezTo>
                    <a:pt x="79562" y="340141"/>
                    <a:pt x="83070" y="338410"/>
                    <a:pt x="86625" y="336680"/>
                  </a:cubicBezTo>
                  <a:cubicBezTo>
                    <a:pt x="102947" y="329150"/>
                    <a:pt x="120018" y="322929"/>
                    <a:pt x="138072" y="316522"/>
                  </a:cubicBezTo>
                  <a:cubicBezTo>
                    <a:pt x="186104" y="299311"/>
                    <a:pt x="238674" y="289582"/>
                    <a:pt x="287127" y="264701"/>
                  </a:cubicBezTo>
                  <a:cubicBezTo>
                    <a:pt x="311541" y="252503"/>
                    <a:pt x="333990" y="236742"/>
                    <a:pt x="353774" y="217931"/>
                  </a:cubicBezTo>
                  <a:cubicBezTo>
                    <a:pt x="373511" y="198900"/>
                    <a:pt x="390114" y="176900"/>
                    <a:pt x="403023" y="152734"/>
                  </a:cubicBezTo>
                  <a:cubicBezTo>
                    <a:pt x="415464" y="128970"/>
                    <a:pt x="425706" y="104107"/>
                    <a:pt x="433564" y="78463"/>
                  </a:cubicBezTo>
                  <a:cubicBezTo>
                    <a:pt x="437773" y="65882"/>
                    <a:pt x="441467" y="53348"/>
                    <a:pt x="444835" y="40767"/>
                  </a:cubicBezTo>
                  <a:cubicBezTo>
                    <a:pt x="446379" y="33920"/>
                    <a:pt x="446004" y="26769"/>
                    <a:pt x="443666" y="20141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50B578F3-53FC-449C-8B05-A25ABD7018E6}"/>
                </a:ext>
              </a:extLst>
            </p:cNvPr>
            <p:cNvSpPr/>
            <p:nvPr/>
          </p:nvSpPr>
          <p:spPr>
            <a:xfrm>
              <a:off x="7831649" y="5757767"/>
              <a:ext cx="456721" cy="404512"/>
            </a:xfrm>
            <a:custGeom>
              <a:avLst/>
              <a:gdLst>
                <a:gd name="connsiteX0" fmla="*/ 455078 w 456721"/>
                <a:gd name="connsiteY0" fmla="*/ -250 h 404512"/>
                <a:gd name="connsiteX1" fmla="*/ 454750 w 456721"/>
                <a:gd name="connsiteY1" fmla="*/ -250 h 404512"/>
                <a:gd name="connsiteX2" fmla="*/ 428746 w 456721"/>
                <a:gd name="connsiteY2" fmla="*/ 38195 h 404512"/>
                <a:gd name="connsiteX3" fmla="*/ 417147 w 456721"/>
                <a:gd name="connsiteY3" fmla="*/ 76546 h 404512"/>
                <a:gd name="connsiteX4" fmla="*/ 388477 w 456721"/>
                <a:gd name="connsiteY4" fmla="*/ 149179 h 404512"/>
                <a:gd name="connsiteX5" fmla="*/ 343344 w 456721"/>
                <a:gd name="connsiteY5" fmla="*/ 210401 h 404512"/>
                <a:gd name="connsiteX6" fmla="*/ 281140 w 456721"/>
                <a:gd name="connsiteY6" fmla="*/ 254458 h 404512"/>
                <a:gd name="connsiteX7" fmla="*/ 130916 w 456721"/>
                <a:gd name="connsiteY7" fmla="*/ 306279 h 404512"/>
                <a:gd name="connsiteX8" fmla="*/ 98738 w 456721"/>
                <a:gd name="connsiteY8" fmla="*/ 318206 h 404512"/>
                <a:gd name="connsiteX9" fmla="*/ 62211 w 456721"/>
                <a:gd name="connsiteY9" fmla="*/ 335698 h 404512"/>
                <a:gd name="connsiteX10" fmla="*/ 48180 w 456721"/>
                <a:gd name="connsiteY10" fmla="*/ 344163 h 404512"/>
                <a:gd name="connsiteX11" fmla="*/ 44906 w 456721"/>
                <a:gd name="connsiteY11" fmla="*/ 346174 h 404512"/>
                <a:gd name="connsiteX12" fmla="*/ 44906 w 456721"/>
                <a:gd name="connsiteY12" fmla="*/ 346174 h 404512"/>
                <a:gd name="connsiteX13" fmla="*/ 22877 w 456721"/>
                <a:gd name="connsiteY13" fmla="*/ 362497 h 404512"/>
                <a:gd name="connsiteX14" fmla="*/ 8846 w 456721"/>
                <a:gd name="connsiteY14" fmla="*/ 382093 h 404512"/>
                <a:gd name="connsiteX15" fmla="*/ 5151 w 456721"/>
                <a:gd name="connsiteY15" fmla="*/ 394581 h 404512"/>
                <a:gd name="connsiteX16" fmla="*/ -1069 w 456721"/>
                <a:gd name="connsiteY16" fmla="*/ 404262 h 404512"/>
                <a:gd name="connsiteX17" fmla="*/ -1069 w 456721"/>
                <a:gd name="connsiteY17" fmla="*/ 404262 h 404512"/>
                <a:gd name="connsiteX18" fmla="*/ 8285 w 456721"/>
                <a:gd name="connsiteY18" fmla="*/ 397387 h 404512"/>
                <a:gd name="connsiteX19" fmla="*/ 20071 w 456721"/>
                <a:gd name="connsiteY19" fmla="*/ 393318 h 404512"/>
                <a:gd name="connsiteX20" fmla="*/ 39434 w 456721"/>
                <a:gd name="connsiteY20" fmla="*/ 382421 h 404512"/>
                <a:gd name="connsiteX21" fmla="*/ 64129 w 456721"/>
                <a:gd name="connsiteY21" fmla="*/ 364882 h 404512"/>
                <a:gd name="connsiteX22" fmla="*/ 64129 w 456721"/>
                <a:gd name="connsiteY22" fmla="*/ 364882 h 404512"/>
                <a:gd name="connsiteX23" fmla="*/ 68338 w 456721"/>
                <a:gd name="connsiteY23" fmla="*/ 362403 h 404512"/>
                <a:gd name="connsiteX24" fmla="*/ 99954 w 456721"/>
                <a:gd name="connsiteY24" fmla="*/ 346080 h 404512"/>
                <a:gd name="connsiteX25" fmla="*/ 106034 w 456721"/>
                <a:gd name="connsiteY25" fmla="*/ 343414 h 404512"/>
                <a:gd name="connsiteX26" fmla="*/ 139241 w 456721"/>
                <a:gd name="connsiteY26" fmla="*/ 330927 h 404512"/>
                <a:gd name="connsiteX27" fmla="*/ 215990 w 456721"/>
                <a:gd name="connsiteY27" fmla="*/ 307542 h 404512"/>
                <a:gd name="connsiteX28" fmla="*/ 293020 w 456721"/>
                <a:gd name="connsiteY28" fmla="*/ 277609 h 404512"/>
                <a:gd name="connsiteX29" fmla="*/ 361678 w 456721"/>
                <a:gd name="connsiteY29" fmla="*/ 228922 h 404512"/>
                <a:gd name="connsiteX30" fmla="*/ 411535 w 456721"/>
                <a:gd name="connsiteY30" fmla="*/ 161012 h 404512"/>
                <a:gd name="connsiteX31" fmla="*/ 441982 w 456721"/>
                <a:gd name="connsiteY31" fmla="*/ 84076 h 404512"/>
                <a:gd name="connsiteX32" fmla="*/ 448015 w 456721"/>
                <a:gd name="connsiteY32" fmla="*/ 64666 h 404512"/>
                <a:gd name="connsiteX33" fmla="*/ 453441 w 456721"/>
                <a:gd name="connsiteY33" fmla="*/ 45257 h 404512"/>
                <a:gd name="connsiteX34" fmla="*/ 455078 w 456721"/>
                <a:gd name="connsiteY34" fmla="*/ -250 h 404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56721" h="404512">
                  <a:moveTo>
                    <a:pt x="455078" y="-250"/>
                  </a:moveTo>
                  <a:lnTo>
                    <a:pt x="454750" y="-250"/>
                  </a:lnTo>
                  <a:cubicBezTo>
                    <a:pt x="449185" y="9946"/>
                    <a:pt x="431085" y="24818"/>
                    <a:pt x="428746" y="38195"/>
                  </a:cubicBezTo>
                  <a:lnTo>
                    <a:pt x="417147" y="76546"/>
                  </a:lnTo>
                  <a:cubicBezTo>
                    <a:pt x="409757" y="101554"/>
                    <a:pt x="400170" y="125860"/>
                    <a:pt x="388477" y="149179"/>
                  </a:cubicBezTo>
                  <a:cubicBezTo>
                    <a:pt x="376691" y="171797"/>
                    <a:pt x="361444" y="192451"/>
                    <a:pt x="343344" y="210401"/>
                  </a:cubicBezTo>
                  <a:cubicBezTo>
                    <a:pt x="324917" y="228108"/>
                    <a:pt x="303964" y="242957"/>
                    <a:pt x="281140" y="254458"/>
                  </a:cubicBezTo>
                  <a:cubicBezTo>
                    <a:pt x="235306" y="278124"/>
                    <a:pt x="182643" y="288834"/>
                    <a:pt x="130916" y="306279"/>
                  </a:cubicBezTo>
                  <a:cubicBezTo>
                    <a:pt x="120112" y="309787"/>
                    <a:pt x="109355" y="313763"/>
                    <a:pt x="98738" y="318206"/>
                  </a:cubicBezTo>
                  <a:cubicBezTo>
                    <a:pt x="86204" y="323257"/>
                    <a:pt x="73997" y="329098"/>
                    <a:pt x="62211" y="335698"/>
                  </a:cubicBezTo>
                  <a:cubicBezTo>
                    <a:pt x="57534" y="338410"/>
                    <a:pt x="52857" y="341263"/>
                    <a:pt x="48180" y="344163"/>
                  </a:cubicBezTo>
                  <a:lnTo>
                    <a:pt x="44906" y="346174"/>
                  </a:lnTo>
                  <a:lnTo>
                    <a:pt x="44906" y="346174"/>
                  </a:lnTo>
                  <a:cubicBezTo>
                    <a:pt x="37189" y="351071"/>
                    <a:pt x="29799" y="356524"/>
                    <a:pt x="22877" y="362497"/>
                  </a:cubicBezTo>
                  <a:cubicBezTo>
                    <a:pt x="16096" y="367230"/>
                    <a:pt x="11138" y="374147"/>
                    <a:pt x="8846" y="382093"/>
                  </a:cubicBezTo>
                  <a:cubicBezTo>
                    <a:pt x="8005" y="386363"/>
                    <a:pt x="6789" y="390545"/>
                    <a:pt x="5151" y="394581"/>
                  </a:cubicBezTo>
                  <a:cubicBezTo>
                    <a:pt x="3468" y="398046"/>
                    <a:pt x="1410" y="401297"/>
                    <a:pt x="-1069" y="404262"/>
                  </a:cubicBezTo>
                  <a:lnTo>
                    <a:pt x="-1069" y="404262"/>
                  </a:lnTo>
                  <a:cubicBezTo>
                    <a:pt x="1737" y="401587"/>
                    <a:pt x="4871" y="399277"/>
                    <a:pt x="8285" y="397387"/>
                  </a:cubicBezTo>
                  <a:cubicBezTo>
                    <a:pt x="12027" y="395568"/>
                    <a:pt x="16002" y="394197"/>
                    <a:pt x="20071" y="393318"/>
                  </a:cubicBezTo>
                  <a:cubicBezTo>
                    <a:pt x="27367" y="391466"/>
                    <a:pt x="34055" y="387706"/>
                    <a:pt x="39434" y="382421"/>
                  </a:cubicBezTo>
                  <a:cubicBezTo>
                    <a:pt x="47432" y="376294"/>
                    <a:pt x="55569" y="370307"/>
                    <a:pt x="64129" y="364882"/>
                  </a:cubicBezTo>
                  <a:lnTo>
                    <a:pt x="64129" y="364882"/>
                  </a:lnTo>
                  <a:lnTo>
                    <a:pt x="68338" y="362403"/>
                  </a:lnTo>
                  <a:cubicBezTo>
                    <a:pt x="78534" y="356332"/>
                    <a:pt x="89104" y="350884"/>
                    <a:pt x="99954" y="346080"/>
                  </a:cubicBezTo>
                  <a:lnTo>
                    <a:pt x="106034" y="343414"/>
                  </a:lnTo>
                  <a:cubicBezTo>
                    <a:pt x="116838" y="338770"/>
                    <a:pt x="127876" y="334608"/>
                    <a:pt x="139241" y="330927"/>
                  </a:cubicBezTo>
                  <a:cubicBezTo>
                    <a:pt x="164216" y="322602"/>
                    <a:pt x="190033" y="315540"/>
                    <a:pt x="215990" y="307542"/>
                  </a:cubicBezTo>
                  <a:cubicBezTo>
                    <a:pt x="242508" y="299886"/>
                    <a:pt x="268279" y="289868"/>
                    <a:pt x="293020" y="277609"/>
                  </a:cubicBezTo>
                  <a:cubicBezTo>
                    <a:pt x="318229" y="264911"/>
                    <a:pt x="341380" y="248500"/>
                    <a:pt x="361678" y="228922"/>
                  </a:cubicBezTo>
                  <a:cubicBezTo>
                    <a:pt x="381695" y="209007"/>
                    <a:pt x="398533" y="186095"/>
                    <a:pt x="411535" y="161012"/>
                  </a:cubicBezTo>
                  <a:cubicBezTo>
                    <a:pt x="423929" y="136313"/>
                    <a:pt x="434125" y="110566"/>
                    <a:pt x="441982" y="84076"/>
                  </a:cubicBezTo>
                  <a:lnTo>
                    <a:pt x="448015" y="64666"/>
                  </a:lnTo>
                  <a:cubicBezTo>
                    <a:pt x="449980" y="58212"/>
                    <a:pt x="451476" y="51664"/>
                    <a:pt x="453441" y="45257"/>
                  </a:cubicBezTo>
                  <a:cubicBezTo>
                    <a:pt x="458632" y="32910"/>
                    <a:pt x="452739" y="8964"/>
                    <a:pt x="455078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D2EACFDF-095B-4070-B5F6-1B0804B58BF4}"/>
                </a:ext>
              </a:extLst>
            </p:cNvPr>
            <p:cNvSpPr/>
            <p:nvPr/>
          </p:nvSpPr>
          <p:spPr>
            <a:xfrm>
              <a:off x="7875192" y="5764502"/>
              <a:ext cx="467791" cy="439963"/>
            </a:xfrm>
            <a:custGeom>
              <a:avLst/>
              <a:gdLst>
                <a:gd name="connsiteX0" fmla="*/ 466723 w 467791"/>
                <a:gd name="connsiteY0" fmla="*/ -250 h 439963"/>
                <a:gd name="connsiteX1" fmla="*/ 466723 w 467791"/>
                <a:gd name="connsiteY1" fmla="*/ -250 h 439963"/>
                <a:gd name="connsiteX2" fmla="*/ 452224 w 467791"/>
                <a:gd name="connsiteY2" fmla="*/ 17195 h 439963"/>
                <a:gd name="connsiteX3" fmla="*/ 439643 w 467791"/>
                <a:gd name="connsiteY3" fmla="*/ 35903 h 439963"/>
                <a:gd name="connsiteX4" fmla="*/ 426922 w 467791"/>
                <a:gd name="connsiteY4" fmla="*/ 77154 h 439963"/>
                <a:gd name="connsiteX5" fmla="*/ 400544 w 467791"/>
                <a:gd name="connsiteY5" fmla="*/ 157130 h 439963"/>
                <a:gd name="connsiteX6" fmla="*/ 359714 w 467791"/>
                <a:gd name="connsiteY6" fmla="*/ 227566 h 439963"/>
                <a:gd name="connsiteX7" fmla="*/ 298913 w 467791"/>
                <a:gd name="connsiteY7" fmla="*/ 280275 h 439963"/>
                <a:gd name="connsiteX8" fmla="*/ 141860 w 467791"/>
                <a:gd name="connsiteY8" fmla="*/ 338597 h 439963"/>
                <a:gd name="connsiteX9" fmla="*/ 96353 w 467791"/>
                <a:gd name="connsiteY9" fmla="*/ 354499 h 439963"/>
                <a:gd name="connsiteX10" fmla="*/ 91114 w 467791"/>
                <a:gd name="connsiteY10" fmla="*/ 356744 h 439963"/>
                <a:gd name="connsiteX11" fmla="*/ 88870 w 467791"/>
                <a:gd name="connsiteY11" fmla="*/ 357726 h 439963"/>
                <a:gd name="connsiteX12" fmla="*/ 62538 w 467791"/>
                <a:gd name="connsiteY12" fmla="*/ 370962 h 439963"/>
                <a:gd name="connsiteX13" fmla="*/ 23298 w 467791"/>
                <a:gd name="connsiteY13" fmla="*/ 397761 h 439963"/>
                <a:gd name="connsiteX14" fmla="*/ 9267 w 467791"/>
                <a:gd name="connsiteY14" fmla="*/ 417358 h 439963"/>
                <a:gd name="connsiteX15" fmla="*/ 5151 w 467791"/>
                <a:gd name="connsiteY15" fmla="*/ 430032 h 439963"/>
                <a:gd name="connsiteX16" fmla="*/ -1069 w 467791"/>
                <a:gd name="connsiteY16" fmla="*/ 439714 h 439963"/>
                <a:gd name="connsiteX17" fmla="*/ -1069 w 467791"/>
                <a:gd name="connsiteY17" fmla="*/ 439714 h 439963"/>
                <a:gd name="connsiteX18" fmla="*/ 8285 w 467791"/>
                <a:gd name="connsiteY18" fmla="*/ 432838 h 439963"/>
                <a:gd name="connsiteX19" fmla="*/ 20025 w 467791"/>
                <a:gd name="connsiteY19" fmla="*/ 428769 h 439963"/>
                <a:gd name="connsiteX20" fmla="*/ 39434 w 467791"/>
                <a:gd name="connsiteY20" fmla="*/ 417919 h 439963"/>
                <a:gd name="connsiteX21" fmla="*/ 73202 w 467791"/>
                <a:gd name="connsiteY21" fmla="*/ 395236 h 439963"/>
                <a:gd name="connsiteX22" fmla="*/ 149530 w 467791"/>
                <a:gd name="connsiteY22" fmla="*/ 363572 h 439963"/>
                <a:gd name="connsiteX23" fmla="*/ 231471 w 467791"/>
                <a:gd name="connsiteY23" fmla="*/ 338597 h 439963"/>
                <a:gd name="connsiteX24" fmla="*/ 312149 w 467791"/>
                <a:gd name="connsiteY24" fmla="*/ 302678 h 439963"/>
                <a:gd name="connsiteX25" fmla="*/ 379871 w 467791"/>
                <a:gd name="connsiteY25" fmla="*/ 244169 h 439963"/>
                <a:gd name="connsiteX26" fmla="*/ 424630 w 467791"/>
                <a:gd name="connsiteY26" fmla="*/ 167139 h 439963"/>
                <a:gd name="connsiteX27" fmla="*/ 451850 w 467791"/>
                <a:gd name="connsiteY27" fmla="*/ 84637 h 439963"/>
                <a:gd name="connsiteX28" fmla="*/ 464198 w 467791"/>
                <a:gd name="connsiteY28" fmla="*/ 44134 h 439963"/>
                <a:gd name="connsiteX29" fmla="*/ 465647 w 467791"/>
                <a:gd name="connsiteY29" fmla="*/ 22340 h 439963"/>
                <a:gd name="connsiteX30" fmla="*/ 466723 w 467791"/>
                <a:gd name="connsiteY30" fmla="*/ -250 h 439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67791" h="439963">
                  <a:moveTo>
                    <a:pt x="466723" y="-250"/>
                  </a:moveTo>
                  <a:lnTo>
                    <a:pt x="466723" y="-250"/>
                  </a:lnTo>
                  <a:cubicBezTo>
                    <a:pt x="463543" y="6751"/>
                    <a:pt x="458538" y="12775"/>
                    <a:pt x="452224" y="17195"/>
                  </a:cubicBezTo>
                  <a:cubicBezTo>
                    <a:pt x="446098" y="21895"/>
                    <a:pt x="441701" y="28462"/>
                    <a:pt x="439643" y="35903"/>
                  </a:cubicBezTo>
                  <a:cubicBezTo>
                    <a:pt x="434639" y="49560"/>
                    <a:pt x="431084" y="63497"/>
                    <a:pt x="426922" y="77154"/>
                  </a:cubicBezTo>
                  <a:cubicBezTo>
                    <a:pt x="419485" y="104238"/>
                    <a:pt x="410693" y="130930"/>
                    <a:pt x="400544" y="157130"/>
                  </a:cubicBezTo>
                  <a:cubicBezTo>
                    <a:pt x="390535" y="182508"/>
                    <a:pt x="376738" y="206248"/>
                    <a:pt x="359714" y="227566"/>
                  </a:cubicBezTo>
                  <a:cubicBezTo>
                    <a:pt x="342596" y="248458"/>
                    <a:pt x="322017" y="266282"/>
                    <a:pt x="298913" y="280275"/>
                  </a:cubicBezTo>
                  <a:cubicBezTo>
                    <a:pt x="252470" y="309039"/>
                    <a:pt x="197095" y="321713"/>
                    <a:pt x="141860" y="338597"/>
                  </a:cubicBezTo>
                  <a:cubicBezTo>
                    <a:pt x="126426" y="343129"/>
                    <a:pt x="111226" y="348438"/>
                    <a:pt x="96353" y="354499"/>
                  </a:cubicBezTo>
                  <a:cubicBezTo>
                    <a:pt x="94622" y="355201"/>
                    <a:pt x="92845" y="355949"/>
                    <a:pt x="91114" y="356744"/>
                  </a:cubicBezTo>
                  <a:lnTo>
                    <a:pt x="88870" y="357726"/>
                  </a:lnTo>
                  <a:cubicBezTo>
                    <a:pt x="79983" y="361748"/>
                    <a:pt x="71190" y="366238"/>
                    <a:pt x="62538" y="370962"/>
                  </a:cubicBezTo>
                  <a:cubicBezTo>
                    <a:pt x="48601" y="378590"/>
                    <a:pt x="35458" y="387565"/>
                    <a:pt x="23298" y="397761"/>
                  </a:cubicBezTo>
                  <a:cubicBezTo>
                    <a:pt x="16517" y="402490"/>
                    <a:pt x="11559" y="409407"/>
                    <a:pt x="9267" y="417358"/>
                  </a:cubicBezTo>
                  <a:cubicBezTo>
                    <a:pt x="8332" y="421707"/>
                    <a:pt x="6929" y="425954"/>
                    <a:pt x="5151" y="430032"/>
                  </a:cubicBezTo>
                  <a:cubicBezTo>
                    <a:pt x="3468" y="433489"/>
                    <a:pt x="1363" y="436739"/>
                    <a:pt x="-1069" y="439714"/>
                  </a:cubicBezTo>
                  <a:lnTo>
                    <a:pt x="-1069" y="439714"/>
                  </a:lnTo>
                  <a:cubicBezTo>
                    <a:pt x="1784" y="437057"/>
                    <a:pt x="4917" y="434747"/>
                    <a:pt x="8285" y="432838"/>
                  </a:cubicBezTo>
                  <a:cubicBezTo>
                    <a:pt x="12027" y="431019"/>
                    <a:pt x="15956" y="429653"/>
                    <a:pt x="20025" y="428769"/>
                  </a:cubicBezTo>
                  <a:cubicBezTo>
                    <a:pt x="27320" y="426927"/>
                    <a:pt x="34055" y="423185"/>
                    <a:pt x="39434" y="417919"/>
                  </a:cubicBezTo>
                  <a:cubicBezTo>
                    <a:pt x="50144" y="409641"/>
                    <a:pt x="73155" y="395142"/>
                    <a:pt x="73202" y="395236"/>
                  </a:cubicBezTo>
                  <a:cubicBezTo>
                    <a:pt x="97522" y="382121"/>
                    <a:pt x="123058" y="371514"/>
                    <a:pt x="149530" y="363572"/>
                  </a:cubicBezTo>
                  <a:cubicBezTo>
                    <a:pt x="176235" y="354967"/>
                    <a:pt x="203876" y="347671"/>
                    <a:pt x="231471" y="338597"/>
                  </a:cubicBezTo>
                  <a:cubicBezTo>
                    <a:pt x="259673" y="329786"/>
                    <a:pt x="286752" y="317733"/>
                    <a:pt x="312149" y="302678"/>
                  </a:cubicBezTo>
                  <a:cubicBezTo>
                    <a:pt x="337872" y="287169"/>
                    <a:pt x="360790" y="267385"/>
                    <a:pt x="379871" y="244169"/>
                  </a:cubicBezTo>
                  <a:cubicBezTo>
                    <a:pt x="398533" y="220859"/>
                    <a:pt x="413639" y="194897"/>
                    <a:pt x="424630" y="167139"/>
                  </a:cubicBezTo>
                  <a:cubicBezTo>
                    <a:pt x="435107" y="140120"/>
                    <a:pt x="444180" y="112582"/>
                    <a:pt x="451850" y="84637"/>
                  </a:cubicBezTo>
                  <a:lnTo>
                    <a:pt x="464198" y="44134"/>
                  </a:lnTo>
                  <a:cubicBezTo>
                    <a:pt x="466816" y="37166"/>
                    <a:pt x="467285" y="29589"/>
                    <a:pt x="465647" y="22340"/>
                  </a:cubicBezTo>
                  <a:cubicBezTo>
                    <a:pt x="463683" y="14880"/>
                    <a:pt x="464057" y="6990"/>
                    <a:pt x="466723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82D4AD8C-8580-4ABC-9ADC-8EC48B46367C}"/>
                </a:ext>
              </a:extLst>
            </p:cNvPr>
            <p:cNvSpPr/>
            <p:nvPr/>
          </p:nvSpPr>
          <p:spPr>
            <a:xfrm>
              <a:off x="7948480" y="5767449"/>
              <a:ext cx="457502" cy="452545"/>
            </a:xfrm>
            <a:custGeom>
              <a:avLst/>
              <a:gdLst>
                <a:gd name="connsiteX0" fmla="*/ 456434 w 457502"/>
                <a:gd name="connsiteY0" fmla="*/ -250 h 452545"/>
                <a:gd name="connsiteX1" fmla="*/ 456434 w 457502"/>
                <a:gd name="connsiteY1" fmla="*/ -250 h 452545"/>
                <a:gd name="connsiteX2" fmla="*/ 439690 w 457502"/>
                <a:gd name="connsiteY2" fmla="*/ 15231 h 452545"/>
                <a:gd name="connsiteX3" fmla="*/ 425145 w 457502"/>
                <a:gd name="connsiteY3" fmla="*/ 32722 h 452545"/>
                <a:gd name="connsiteX4" fmla="*/ 409618 w 457502"/>
                <a:gd name="connsiteY4" fmla="*/ 73786 h 452545"/>
                <a:gd name="connsiteX5" fmla="*/ 384596 w 457502"/>
                <a:gd name="connsiteY5" fmla="*/ 155774 h 452545"/>
                <a:gd name="connsiteX6" fmla="*/ 352933 w 457502"/>
                <a:gd name="connsiteY6" fmla="*/ 232243 h 452545"/>
                <a:gd name="connsiteX7" fmla="*/ 302280 w 457502"/>
                <a:gd name="connsiteY7" fmla="*/ 295055 h 452545"/>
                <a:gd name="connsiteX8" fmla="*/ 233389 w 457502"/>
                <a:gd name="connsiteY8" fmla="*/ 338036 h 452545"/>
                <a:gd name="connsiteX9" fmla="*/ 153880 w 457502"/>
                <a:gd name="connsiteY9" fmla="*/ 365350 h 452545"/>
                <a:gd name="connsiteX10" fmla="*/ 71285 w 457502"/>
                <a:gd name="connsiteY10" fmla="*/ 391728 h 452545"/>
                <a:gd name="connsiteX11" fmla="*/ 50612 w 457502"/>
                <a:gd name="connsiteY11" fmla="*/ 401316 h 452545"/>
                <a:gd name="connsiteX12" fmla="*/ 50612 w 457502"/>
                <a:gd name="connsiteY12" fmla="*/ 401316 h 452545"/>
                <a:gd name="connsiteX13" fmla="*/ 28069 w 457502"/>
                <a:gd name="connsiteY13" fmla="*/ 413943 h 452545"/>
                <a:gd name="connsiteX14" fmla="*/ 11559 w 457502"/>
                <a:gd name="connsiteY14" fmla="*/ 431576 h 452545"/>
                <a:gd name="connsiteX15" fmla="*/ 6321 w 457502"/>
                <a:gd name="connsiteY15" fmla="*/ 443502 h 452545"/>
                <a:gd name="connsiteX16" fmla="*/ -1069 w 457502"/>
                <a:gd name="connsiteY16" fmla="*/ 452295 h 452545"/>
                <a:gd name="connsiteX17" fmla="*/ -1069 w 457502"/>
                <a:gd name="connsiteY17" fmla="*/ 452295 h 452545"/>
                <a:gd name="connsiteX18" fmla="*/ 8987 w 457502"/>
                <a:gd name="connsiteY18" fmla="*/ 446636 h 452545"/>
                <a:gd name="connsiteX19" fmla="*/ 21194 w 457502"/>
                <a:gd name="connsiteY19" fmla="*/ 444110 h 452545"/>
                <a:gd name="connsiteX20" fmla="*/ 41819 w 457502"/>
                <a:gd name="connsiteY20" fmla="*/ 435832 h 452545"/>
                <a:gd name="connsiteX21" fmla="*/ 61650 w 457502"/>
                <a:gd name="connsiteY21" fmla="*/ 424981 h 452545"/>
                <a:gd name="connsiteX22" fmla="*/ 81059 w 457502"/>
                <a:gd name="connsiteY22" fmla="*/ 416376 h 452545"/>
                <a:gd name="connsiteX23" fmla="*/ 161223 w 457502"/>
                <a:gd name="connsiteY23" fmla="*/ 390278 h 452545"/>
                <a:gd name="connsiteX24" fmla="*/ 243585 w 457502"/>
                <a:gd name="connsiteY24" fmla="*/ 361795 h 452545"/>
                <a:gd name="connsiteX25" fmla="*/ 319211 w 457502"/>
                <a:gd name="connsiteY25" fmla="*/ 314558 h 452545"/>
                <a:gd name="connsiteX26" fmla="*/ 375335 w 457502"/>
                <a:gd name="connsiteY26" fmla="*/ 244917 h 452545"/>
                <a:gd name="connsiteX27" fmla="*/ 409103 w 457502"/>
                <a:gd name="connsiteY27" fmla="*/ 163584 h 452545"/>
                <a:gd name="connsiteX28" fmla="*/ 433984 w 457502"/>
                <a:gd name="connsiteY28" fmla="*/ 81878 h 452545"/>
                <a:gd name="connsiteX29" fmla="*/ 448530 w 457502"/>
                <a:gd name="connsiteY29" fmla="*/ 42871 h 452545"/>
                <a:gd name="connsiteX30" fmla="*/ 456434 w 457502"/>
                <a:gd name="connsiteY30" fmla="*/ -250 h 45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57502" h="452545">
                  <a:moveTo>
                    <a:pt x="456434" y="-250"/>
                  </a:moveTo>
                  <a:lnTo>
                    <a:pt x="456434" y="-250"/>
                  </a:lnTo>
                  <a:cubicBezTo>
                    <a:pt x="452318" y="6307"/>
                    <a:pt x="446566" y="11648"/>
                    <a:pt x="439690" y="15231"/>
                  </a:cubicBezTo>
                  <a:cubicBezTo>
                    <a:pt x="433096" y="19351"/>
                    <a:pt x="427998" y="25483"/>
                    <a:pt x="425145" y="32722"/>
                  </a:cubicBezTo>
                  <a:cubicBezTo>
                    <a:pt x="419252" y="46127"/>
                    <a:pt x="414060" y="59830"/>
                    <a:pt x="409618" y="73786"/>
                  </a:cubicBezTo>
                  <a:cubicBezTo>
                    <a:pt x="400264" y="101381"/>
                    <a:pt x="393154" y="129022"/>
                    <a:pt x="384596" y="155774"/>
                  </a:cubicBezTo>
                  <a:cubicBezTo>
                    <a:pt x="376691" y="182283"/>
                    <a:pt x="366075" y="207908"/>
                    <a:pt x="352933" y="232243"/>
                  </a:cubicBezTo>
                  <a:cubicBezTo>
                    <a:pt x="339790" y="255950"/>
                    <a:pt x="322673" y="277198"/>
                    <a:pt x="302280" y="295055"/>
                  </a:cubicBezTo>
                  <a:cubicBezTo>
                    <a:pt x="281702" y="312860"/>
                    <a:pt x="258457" y="327363"/>
                    <a:pt x="233389" y="338036"/>
                  </a:cubicBezTo>
                  <a:cubicBezTo>
                    <a:pt x="207478" y="348817"/>
                    <a:pt x="180913" y="357941"/>
                    <a:pt x="153880" y="365350"/>
                  </a:cubicBezTo>
                  <a:cubicBezTo>
                    <a:pt x="126613" y="373441"/>
                    <a:pt x="98598" y="380784"/>
                    <a:pt x="71285" y="391728"/>
                  </a:cubicBezTo>
                  <a:cubicBezTo>
                    <a:pt x="63801" y="394721"/>
                    <a:pt x="57487" y="398088"/>
                    <a:pt x="50612" y="401316"/>
                  </a:cubicBezTo>
                  <a:lnTo>
                    <a:pt x="50612" y="401316"/>
                  </a:lnTo>
                  <a:cubicBezTo>
                    <a:pt x="42801" y="404982"/>
                    <a:pt x="35272" y="409201"/>
                    <a:pt x="28069" y="413943"/>
                  </a:cubicBezTo>
                  <a:cubicBezTo>
                    <a:pt x="20679" y="417741"/>
                    <a:pt x="14880" y="423971"/>
                    <a:pt x="11559" y="431576"/>
                  </a:cubicBezTo>
                  <a:cubicBezTo>
                    <a:pt x="10203" y="435710"/>
                    <a:pt x="8426" y="439704"/>
                    <a:pt x="6321" y="443502"/>
                  </a:cubicBezTo>
                  <a:cubicBezTo>
                    <a:pt x="4216" y="446706"/>
                    <a:pt x="1737" y="449657"/>
                    <a:pt x="-1069" y="452295"/>
                  </a:cubicBezTo>
                  <a:lnTo>
                    <a:pt x="-1069" y="452295"/>
                  </a:lnTo>
                  <a:cubicBezTo>
                    <a:pt x="2065" y="450012"/>
                    <a:pt x="5432" y="448109"/>
                    <a:pt x="8987" y="446636"/>
                  </a:cubicBezTo>
                  <a:cubicBezTo>
                    <a:pt x="12962" y="445321"/>
                    <a:pt x="17031" y="444470"/>
                    <a:pt x="21194" y="444110"/>
                  </a:cubicBezTo>
                  <a:cubicBezTo>
                    <a:pt x="28677" y="443226"/>
                    <a:pt x="35786" y="440373"/>
                    <a:pt x="41819" y="435832"/>
                  </a:cubicBezTo>
                  <a:cubicBezTo>
                    <a:pt x="48321" y="432043"/>
                    <a:pt x="54915" y="428395"/>
                    <a:pt x="61650" y="424981"/>
                  </a:cubicBezTo>
                  <a:cubicBezTo>
                    <a:pt x="68384" y="421567"/>
                    <a:pt x="74418" y="418995"/>
                    <a:pt x="81059" y="416376"/>
                  </a:cubicBezTo>
                  <a:cubicBezTo>
                    <a:pt x="106736" y="406133"/>
                    <a:pt x="133816" y="398369"/>
                    <a:pt x="161223" y="390278"/>
                  </a:cubicBezTo>
                  <a:cubicBezTo>
                    <a:pt x="189238" y="382537"/>
                    <a:pt x="216739" y="373024"/>
                    <a:pt x="243585" y="361795"/>
                  </a:cubicBezTo>
                  <a:cubicBezTo>
                    <a:pt x="271085" y="350065"/>
                    <a:pt x="296621" y="334126"/>
                    <a:pt x="319211" y="314558"/>
                  </a:cubicBezTo>
                  <a:cubicBezTo>
                    <a:pt x="341754" y="294732"/>
                    <a:pt x="360743" y="271178"/>
                    <a:pt x="375335" y="244917"/>
                  </a:cubicBezTo>
                  <a:cubicBezTo>
                    <a:pt x="389320" y="219030"/>
                    <a:pt x="400638" y="191777"/>
                    <a:pt x="409103" y="163584"/>
                  </a:cubicBezTo>
                  <a:cubicBezTo>
                    <a:pt x="417896" y="135990"/>
                    <a:pt x="425192" y="108443"/>
                    <a:pt x="433984" y="81878"/>
                  </a:cubicBezTo>
                  <a:cubicBezTo>
                    <a:pt x="438287" y="68548"/>
                    <a:pt x="443338" y="55733"/>
                    <a:pt x="448530" y="42871"/>
                  </a:cubicBezTo>
                  <a:cubicBezTo>
                    <a:pt x="456621" y="31694"/>
                    <a:pt x="448109" y="11816"/>
                    <a:pt x="456434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FDFCA5BE-89FA-4CBC-814A-87B29A15FC7A}"/>
                </a:ext>
              </a:extLst>
            </p:cNvPr>
            <p:cNvSpPr/>
            <p:nvPr/>
          </p:nvSpPr>
          <p:spPr>
            <a:xfrm>
              <a:off x="8014660" y="5788542"/>
              <a:ext cx="448382" cy="456613"/>
            </a:xfrm>
            <a:custGeom>
              <a:avLst/>
              <a:gdLst>
                <a:gd name="connsiteX0" fmla="*/ 447314 w 448382"/>
                <a:gd name="connsiteY0" fmla="*/ 77 h 456613"/>
                <a:gd name="connsiteX1" fmla="*/ 429167 w 448382"/>
                <a:gd name="connsiteY1" fmla="*/ 14108 h 456613"/>
                <a:gd name="connsiteX2" fmla="*/ 413125 w 448382"/>
                <a:gd name="connsiteY2" fmla="*/ 30384 h 456613"/>
                <a:gd name="connsiteX3" fmla="*/ 403256 w 448382"/>
                <a:gd name="connsiteY3" fmla="*/ 50355 h 456613"/>
                <a:gd name="connsiteX4" fmla="*/ 394885 w 448382"/>
                <a:gd name="connsiteY4" fmla="*/ 70793 h 456613"/>
                <a:gd name="connsiteX5" fmla="*/ 368553 w 448382"/>
                <a:gd name="connsiteY5" fmla="*/ 153248 h 456613"/>
                <a:gd name="connsiteX6" fmla="*/ 340492 w 448382"/>
                <a:gd name="connsiteY6" fmla="*/ 232055 h 456613"/>
                <a:gd name="connsiteX7" fmla="*/ 296013 w 448382"/>
                <a:gd name="connsiteY7" fmla="*/ 299872 h 456613"/>
                <a:gd name="connsiteX8" fmla="*/ 231939 w 448382"/>
                <a:gd name="connsiteY8" fmla="*/ 349074 h 456613"/>
                <a:gd name="connsiteX9" fmla="*/ 154909 w 448382"/>
                <a:gd name="connsiteY9" fmla="*/ 379755 h 456613"/>
                <a:gd name="connsiteX10" fmla="*/ 72734 w 448382"/>
                <a:gd name="connsiteY10" fmla="*/ 404917 h 456613"/>
                <a:gd name="connsiteX11" fmla="*/ 65344 w 448382"/>
                <a:gd name="connsiteY11" fmla="*/ 407583 h 456613"/>
                <a:gd name="connsiteX12" fmla="*/ 31857 w 448382"/>
                <a:gd name="connsiteY12" fmla="*/ 421193 h 456613"/>
                <a:gd name="connsiteX13" fmla="*/ 13664 w 448382"/>
                <a:gd name="connsiteY13" fmla="*/ 437048 h 456613"/>
                <a:gd name="connsiteX14" fmla="*/ 7210 w 448382"/>
                <a:gd name="connsiteY14" fmla="*/ 448366 h 456613"/>
                <a:gd name="connsiteX15" fmla="*/ -1069 w 448382"/>
                <a:gd name="connsiteY15" fmla="*/ 456364 h 456613"/>
                <a:gd name="connsiteX16" fmla="*/ -1069 w 448382"/>
                <a:gd name="connsiteY16" fmla="*/ 456364 h 456613"/>
                <a:gd name="connsiteX17" fmla="*/ 9501 w 448382"/>
                <a:gd name="connsiteY17" fmla="*/ 451687 h 456613"/>
                <a:gd name="connsiteX18" fmla="*/ 21895 w 448382"/>
                <a:gd name="connsiteY18" fmla="*/ 450424 h 456613"/>
                <a:gd name="connsiteX19" fmla="*/ 43222 w 448382"/>
                <a:gd name="connsiteY19" fmla="*/ 444297 h 456613"/>
                <a:gd name="connsiteX20" fmla="*/ 53652 w 448382"/>
                <a:gd name="connsiteY20" fmla="*/ 439620 h 456613"/>
                <a:gd name="connsiteX21" fmla="*/ 53652 w 448382"/>
                <a:gd name="connsiteY21" fmla="*/ 439620 h 456613"/>
                <a:gd name="connsiteX22" fmla="*/ 72360 w 448382"/>
                <a:gd name="connsiteY22" fmla="*/ 432277 h 456613"/>
                <a:gd name="connsiteX23" fmla="*/ 77318 w 448382"/>
                <a:gd name="connsiteY23" fmla="*/ 430640 h 456613"/>
                <a:gd name="connsiteX24" fmla="*/ 77318 w 448382"/>
                <a:gd name="connsiteY24" fmla="*/ 430640 h 456613"/>
                <a:gd name="connsiteX25" fmla="*/ 79703 w 448382"/>
                <a:gd name="connsiteY25" fmla="*/ 429799 h 456613"/>
                <a:gd name="connsiteX26" fmla="*/ 162626 w 448382"/>
                <a:gd name="connsiteY26" fmla="*/ 404309 h 456613"/>
                <a:gd name="connsiteX27" fmla="*/ 244239 w 448382"/>
                <a:gd name="connsiteY27" fmla="*/ 371570 h 456613"/>
                <a:gd name="connsiteX28" fmla="*/ 315142 w 448382"/>
                <a:gd name="connsiteY28" fmla="*/ 317083 h 456613"/>
                <a:gd name="connsiteX29" fmla="*/ 364110 w 448382"/>
                <a:gd name="connsiteY29" fmla="*/ 242485 h 456613"/>
                <a:gd name="connsiteX30" fmla="*/ 393388 w 448382"/>
                <a:gd name="connsiteY30" fmla="*/ 160170 h 456613"/>
                <a:gd name="connsiteX31" fmla="*/ 419065 w 448382"/>
                <a:gd name="connsiteY31" fmla="*/ 79679 h 456613"/>
                <a:gd name="connsiteX32" fmla="*/ 427063 w 448382"/>
                <a:gd name="connsiteY32" fmla="*/ 60551 h 456613"/>
                <a:gd name="connsiteX33" fmla="*/ 435855 w 448382"/>
                <a:gd name="connsiteY33" fmla="*/ 41843 h 456613"/>
                <a:gd name="connsiteX34" fmla="*/ 447220 w 448382"/>
                <a:gd name="connsiteY34" fmla="*/ -250 h 456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48382" h="456613">
                  <a:moveTo>
                    <a:pt x="447314" y="77"/>
                  </a:moveTo>
                  <a:cubicBezTo>
                    <a:pt x="442684" y="6344"/>
                    <a:pt x="436417" y="11204"/>
                    <a:pt x="429167" y="14108"/>
                  </a:cubicBezTo>
                  <a:cubicBezTo>
                    <a:pt x="422198" y="17681"/>
                    <a:pt x="416586" y="23387"/>
                    <a:pt x="413125" y="30384"/>
                  </a:cubicBezTo>
                  <a:cubicBezTo>
                    <a:pt x="409664" y="36978"/>
                    <a:pt x="406343" y="43573"/>
                    <a:pt x="403256" y="50355"/>
                  </a:cubicBezTo>
                  <a:lnTo>
                    <a:pt x="394885" y="70793"/>
                  </a:lnTo>
                  <a:cubicBezTo>
                    <a:pt x="384362" y="98200"/>
                    <a:pt x="376598" y="126028"/>
                    <a:pt x="368553" y="153248"/>
                  </a:cubicBezTo>
                  <a:cubicBezTo>
                    <a:pt x="361070" y="180150"/>
                    <a:pt x="351716" y="206487"/>
                    <a:pt x="340492" y="232055"/>
                  </a:cubicBezTo>
                  <a:cubicBezTo>
                    <a:pt x="329407" y="256904"/>
                    <a:pt x="314394" y="279803"/>
                    <a:pt x="296013" y="299872"/>
                  </a:cubicBezTo>
                  <a:cubicBezTo>
                    <a:pt x="277586" y="319763"/>
                    <a:pt x="255931" y="336399"/>
                    <a:pt x="231939" y="349074"/>
                  </a:cubicBezTo>
                  <a:cubicBezTo>
                    <a:pt x="207291" y="361739"/>
                    <a:pt x="181521" y="372010"/>
                    <a:pt x="154909" y="379755"/>
                  </a:cubicBezTo>
                  <a:cubicBezTo>
                    <a:pt x="128016" y="388126"/>
                    <a:pt x="100329" y="395516"/>
                    <a:pt x="72734" y="404917"/>
                  </a:cubicBezTo>
                  <a:lnTo>
                    <a:pt x="65344" y="407583"/>
                  </a:lnTo>
                  <a:cubicBezTo>
                    <a:pt x="53792" y="411119"/>
                    <a:pt x="42614" y="415674"/>
                    <a:pt x="31857" y="421193"/>
                  </a:cubicBezTo>
                  <a:cubicBezTo>
                    <a:pt x="24140" y="424223"/>
                    <a:pt x="17733" y="429822"/>
                    <a:pt x="13664" y="437048"/>
                  </a:cubicBezTo>
                  <a:cubicBezTo>
                    <a:pt x="11887" y="441023"/>
                    <a:pt x="9735" y="444811"/>
                    <a:pt x="7210" y="448366"/>
                  </a:cubicBezTo>
                  <a:cubicBezTo>
                    <a:pt x="4778" y="451331"/>
                    <a:pt x="1971" y="454016"/>
                    <a:pt x="-1069" y="456364"/>
                  </a:cubicBezTo>
                  <a:lnTo>
                    <a:pt x="-1069" y="456364"/>
                  </a:lnTo>
                  <a:cubicBezTo>
                    <a:pt x="2252" y="454381"/>
                    <a:pt x="5806" y="452809"/>
                    <a:pt x="9501" y="451687"/>
                  </a:cubicBezTo>
                  <a:cubicBezTo>
                    <a:pt x="13570" y="450737"/>
                    <a:pt x="17733" y="450312"/>
                    <a:pt x="21895" y="450424"/>
                  </a:cubicBezTo>
                  <a:cubicBezTo>
                    <a:pt x="29425" y="450293"/>
                    <a:pt x="36768" y="448179"/>
                    <a:pt x="43222" y="444297"/>
                  </a:cubicBezTo>
                  <a:cubicBezTo>
                    <a:pt x="46683" y="442707"/>
                    <a:pt x="50144" y="441210"/>
                    <a:pt x="53652" y="439620"/>
                  </a:cubicBezTo>
                  <a:lnTo>
                    <a:pt x="53652" y="439620"/>
                  </a:lnTo>
                  <a:cubicBezTo>
                    <a:pt x="60246" y="436954"/>
                    <a:pt x="66093" y="434569"/>
                    <a:pt x="72360" y="432277"/>
                  </a:cubicBezTo>
                  <a:lnTo>
                    <a:pt x="77318" y="430640"/>
                  </a:lnTo>
                  <a:lnTo>
                    <a:pt x="77318" y="430640"/>
                  </a:lnTo>
                  <a:lnTo>
                    <a:pt x="79703" y="429799"/>
                  </a:lnTo>
                  <a:cubicBezTo>
                    <a:pt x="106128" y="420772"/>
                    <a:pt x="135031" y="412914"/>
                    <a:pt x="162626" y="404309"/>
                  </a:cubicBezTo>
                  <a:cubicBezTo>
                    <a:pt x="190828" y="396021"/>
                    <a:pt x="218142" y="385058"/>
                    <a:pt x="244239" y="371570"/>
                  </a:cubicBezTo>
                  <a:cubicBezTo>
                    <a:pt x="270758" y="357516"/>
                    <a:pt x="294751" y="339098"/>
                    <a:pt x="315142" y="317083"/>
                  </a:cubicBezTo>
                  <a:cubicBezTo>
                    <a:pt x="335347" y="295008"/>
                    <a:pt x="351903" y="269817"/>
                    <a:pt x="364110" y="242485"/>
                  </a:cubicBezTo>
                  <a:cubicBezTo>
                    <a:pt x="375849" y="215784"/>
                    <a:pt x="385625" y="188274"/>
                    <a:pt x="393388" y="160170"/>
                  </a:cubicBezTo>
                  <a:cubicBezTo>
                    <a:pt x="401526" y="132716"/>
                    <a:pt x="409149" y="105543"/>
                    <a:pt x="419065" y="79679"/>
                  </a:cubicBezTo>
                  <a:cubicBezTo>
                    <a:pt x="421731" y="73319"/>
                    <a:pt x="424116" y="66771"/>
                    <a:pt x="427063" y="60551"/>
                  </a:cubicBezTo>
                  <a:cubicBezTo>
                    <a:pt x="430009" y="54330"/>
                    <a:pt x="432722" y="48063"/>
                    <a:pt x="435855" y="41843"/>
                  </a:cubicBezTo>
                  <a:cubicBezTo>
                    <a:pt x="444461" y="31413"/>
                    <a:pt x="437772" y="10928"/>
                    <a:pt x="447220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C05F10F5-7D1B-4131-8EE9-301931FE4A81}"/>
                </a:ext>
              </a:extLst>
            </p:cNvPr>
            <p:cNvSpPr/>
            <p:nvPr/>
          </p:nvSpPr>
          <p:spPr>
            <a:xfrm>
              <a:off x="8400464" y="5828370"/>
              <a:ext cx="486640" cy="502561"/>
            </a:xfrm>
            <a:custGeom>
              <a:avLst/>
              <a:gdLst>
                <a:gd name="connsiteX0" fmla="*/ 485431 w 486640"/>
                <a:gd name="connsiteY0" fmla="*/ 938 h 502561"/>
                <a:gd name="connsiteX1" fmla="*/ 473739 w 486640"/>
                <a:gd name="connsiteY1" fmla="*/ 2669 h 502561"/>
                <a:gd name="connsiteX2" fmla="*/ 460877 w 486640"/>
                <a:gd name="connsiteY2" fmla="*/ 471 h 502561"/>
                <a:gd name="connsiteX3" fmla="*/ 437492 w 486640"/>
                <a:gd name="connsiteY3" fmla="*/ 2762 h 502561"/>
                <a:gd name="connsiteX4" fmla="*/ 392687 w 486640"/>
                <a:gd name="connsiteY4" fmla="*/ 15998 h 502561"/>
                <a:gd name="connsiteX5" fmla="*/ 303824 w 486640"/>
                <a:gd name="connsiteY5" fmla="*/ 52104 h 502561"/>
                <a:gd name="connsiteX6" fmla="*/ 228992 w 486640"/>
                <a:gd name="connsiteY6" fmla="*/ 114402 h 502561"/>
                <a:gd name="connsiteX7" fmla="*/ 181100 w 486640"/>
                <a:gd name="connsiteY7" fmla="*/ 198588 h 502561"/>
                <a:gd name="connsiteX8" fmla="*/ 120299 w 486640"/>
                <a:gd name="connsiteY8" fmla="*/ 373226 h 502561"/>
                <a:gd name="connsiteX9" fmla="*/ 68010 w 486640"/>
                <a:gd name="connsiteY9" fmla="*/ 443942 h 502561"/>
                <a:gd name="connsiteX10" fmla="*/ 61743 w 486640"/>
                <a:gd name="connsiteY10" fmla="*/ 449602 h 502561"/>
                <a:gd name="connsiteX11" fmla="*/ 50706 w 486640"/>
                <a:gd name="connsiteY11" fmla="*/ 458394 h 502561"/>
                <a:gd name="connsiteX12" fmla="*/ 40276 w 486640"/>
                <a:gd name="connsiteY12" fmla="*/ 465877 h 502561"/>
                <a:gd name="connsiteX13" fmla="*/ 40276 w 486640"/>
                <a:gd name="connsiteY13" fmla="*/ 465877 h 502561"/>
                <a:gd name="connsiteX14" fmla="*/ 32512 w 486640"/>
                <a:gd name="connsiteY14" fmla="*/ 471116 h 502561"/>
                <a:gd name="connsiteX15" fmla="*/ 15956 w 486640"/>
                <a:gd name="connsiteY15" fmla="*/ 485988 h 502561"/>
                <a:gd name="connsiteX16" fmla="*/ 8285 w 486640"/>
                <a:gd name="connsiteY16" fmla="*/ 495763 h 502561"/>
                <a:gd name="connsiteX17" fmla="*/ -1069 w 486640"/>
                <a:gd name="connsiteY17" fmla="*/ 502311 h 502561"/>
                <a:gd name="connsiteX18" fmla="*/ -1069 w 486640"/>
                <a:gd name="connsiteY18" fmla="*/ 502311 h 502561"/>
                <a:gd name="connsiteX19" fmla="*/ 10109 w 486640"/>
                <a:gd name="connsiteY19" fmla="*/ 499552 h 502561"/>
                <a:gd name="connsiteX20" fmla="*/ 23158 w 486640"/>
                <a:gd name="connsiteY20" fmla="*/ 500113 h 502561"/>
                <a:gd name="connsiteX21" fmla="*/ 46262 w 486640"/>
                <a:gd name="connsiteY21" fmla="*/ 493097 h 502561"/>
                <a:gd name="connsiteX22" fmla="*/ 78300 w 486640"/>
                <a:gd name="connsiteY22" fmla="*/ 469713 h 502561"/>
                <a:gd name="connsiteX23" fmla="*/ 78300 w 486640"/>
                <a:gd name="connsiteY23" fmla="*/ 469713 h 502561"/>
                <a:gd name="connsiteX24" fmla="*/ 85876 w 486640"/>
                <a:gd name="connsiteY24" fmla="*/ 463024 h 502561"/>
                <a:gd name="connsiteX25" fmla="*/ 144011 w 486640"/>
                <a:gd name="connsiteY25" fmla="*/ 384872 h 502561"/>
                <a:gd name="connsiteX26" fmla="*/ 205561 w 486640"/>
                <a:gd name="connsiteY26" fmla="*/ 208082 h 502561"/>
                <a:gd name="connsiteX27" fmla="*/ 249337 w 486640"/>
                <a:gd name="connsiteY27" fmla="*/ 131005 h 502561"/>
                <a:gd name="connsiteX28" fmla="*/ 316826 w 486640"/>
                <a:gd name="connsiteY28" fmla="*/ 74881 h 502561"/>
                <a:gd name="connsiteX29" fmla="*/ 400357 w 486640"/>
                <a:gd name="connsiteY29" fmla="*/ 41020 h 502561"/>
                <a:gd name="connsiteX30" fmla="*/ 444835 w 486640"/>
                <a:gd name="connsiteY30" fmla="*/ 27738 h 502561"/>
                <a:gd name="connsiteX31" fmla="*/ 465881 w 486640"/>
                <a:gd name="connsiteY31" fmla="*/ 16326 h 502561"/>
                <a:gd name="connsiteX32" fmla="*/ 475235 w 486640"/>
                <a:gd name="connsiteY32" fmla="*/ 6972 h 502561"/>
                <a:gd name="connsiteX33" fmla="*/ 485572 w 486640"/>
                <a:gd name="connsiteY33" fmla="*/ 1126 h 502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86640" h="502561">
                  <a:moveTo>
                    <a:pt x="485431" y="938"/>
                  </a:moveTo>
                  <a:cubicBezTo>
                    <a:pt x="481643" y="1995"/>
                    <a:pt x="477714" y="2575"/>
                    <a:pt x="473739" y="2669"/>
                  </a:cubicBezTo>
                  <a:cubicBezTo>
                    <a:pt x="469389" y="2416"/>
                    <a:pt x="465086" y="1677"/>
                    <a:pt x="460877" y="471"/>
                  </a:cubicBezTo>
                  <a:cubicBezTo>
                    <a:pt x="453019" y="-1003"/>
                    <a:pt x="444928" y="-208"/>
                    <a:pt x="437492" y="2762"/>
                  </a:cubicBezTo>
                  <a:cubicBezTo>
                    <a:pt x="422573" y="6738"/>
                    <a:pt x="407793" y="11602"/>
                    <a:pt x="392687" y="15998"/>
                  </a:cubicBezTo>
                  <a:cubicBezTo>
                    <a:pt x="361865" y="24828"/>
                    <a:pt x="332073" y="36933"/>
                    <a:pt x="303824" y="52104"/>
                  </a:cubicBezTo>
                  <a:cubicBezTo>
                    <a:pt x="275201" y="68034"/>
                    <a:pt x="249852" y="89165"/>
                    <a:pt x="228992" y="114402"/>
                  </a:cubicBezTo>
                  <a:cubicBezTo>
                    <a:pt x="208694" y="139770"/>
                    <a:pt x="192512" y="168183"/>
                    <a:pt x="181100" y="198588"/>
                  </a:cubicBezTo>
                  <a:cubicBezTo>
                    <a:pt x="157715" y="258126"/>
                    <a:pt x="147566" y="320189"/>
                    <a:pt x="120299" y="373226"/>
                  </a:cubicBezTo>
                  <a:cubicBezTo>
                    <a:pt x="107063" y="399633"/>
                    <a:pt x="89384" y="423555"/>
                    <a:pt x="68010" y="443942"/>
                  </a:cubicBezTo>
                  <a:cubicBezTo>
                    <a:pt x="65953" y="445907"/>
                    <a:pt x="63895" y="447777"/>
                    <a:pt x="61743" y="449602"/>
                  </a:cubicBezTo>
                  <a:cubicBezTo>
                    <a:pt x="58142" y="452688"/>
                    <a:pt x="54447" y="455541"/>
                    <a:pt x="50706" y="458394"/>
                  </a:cubicBezTo>
                  <a:cubicBezTo>
                    <a:pt x="46964" y="461247"/>
                    <a:pt x="43830" y="463445"/>
                    <a:pt x="40276" y="465877"/>
                  </a:cubicBezTo>
                  <a:lnTo>
                    <a:pt x="40276" y="465877"/>
                  </a:lnTo>
                  <a:lnTo>
                    <a:pt x="32512" y="471116"/>
                  </a:lnTo>
                  <a:cubicBezTo>
                    <a:pt x="25777" y="474530"/>
                    <a:pt x="20071" y="479661"/>
                    <a:pt x="15956" y="485988"/>
                  </a:cubicBezTo>
                  <a:cubicBezTo>
                    <a:pt x="13804" y="489543"/>
                    <a:pt x="11232" y="492826"/>
                    <a:pt x="8285" y="495763"/>
                  </a:cubicBezTo>
                  <a:cubicBezTo>
                    <a:pt x="5432" y="498322"/>
                    <a:pt x="2299" y="500520"/>
                    <a:pt x="-1069" y="502311"/>
                  </a:cubicBezTo>
                  <a:lnTo>
                    <a:pt x="-1069" y="502311"/>
                  </a:lnTo>
                  <a:cubicBezTo>
                    <a:pt x="2533" y="500950"/>
                    <a:pt x="6274" y="500024"/>
                    <a:pt x="10109" y="499552"/>
                  </a:cubicBezTo>
                  <a:cubicBezTo>
                    <a:pt x="14459" y="499309"/>
                    <a:pt x="18855" y="499495"/>
                    <a:pt x="23158" y="500113"/>
                  </a:cubicBezTo>
                  <a:cubicBezTo>
                    <a:pt x="31437" y="500487"/>
                    <a:pt x="39575" y="498013"/>
                    <a:pt x="46262" y="493097"/>
                  </a:cubicBezTo>
                  <a:cubicBezTo>
                    <a:pt x="57628" y="486292"/>
                    <a:pt x="68338" y="478463"/>
                    <a:pt x="78300" y="469713"/>
                  </a:cubicBezTo>
                  <a:lnTo>
                    <a:pt x="78300" y="469713"/>
                  </a:lnTo>
                  <a:cubicBezTo>
                    <a:pt x="80825" y="467514"/>
                    <a:pt x="83351" y="465316"/>
                    <a:pt x="85876" y="463024"/>
                  </a:cubicBezTo>
                  <a:cubicBezTo>
                    <a:pt x="109636" y="440533"/>
                    <a:pt x="129279" y="414089"/>
                    <a:pt x="144011" y="384872"/>
                  </a:cubicBezTo>
                  <a:cubicBezTo>
                    <a:pt x="173243" y="326831"/>
                    <a:pt x="183439" y="264065"/>
                    <a:pt x="205561" y="208082"/>
                  </a:cubicBezTo>
                  <a:cubicBezTo>
                    <a:pt x="215990" y="180240"/>
                    <a:pt x="230770" y="154227"/>
                    <a:pt x="249337" y="131005"/>
                  </a:cubicBezTo>
                  <a:cubicBezTo>
                    <a:pt x="268139" y="108271"/>
                    <a:pt x="291056" y="89240"/>
                    <a:pt x="316826" y="74881"/>
                  </a:cubicBezTo>
                  <a:cubicBezTo>
                    <a:pt x="343391" y="60654"/>
                    <a:pt x="371406" y="49303"/>
                    <a:pt x="400357" y="41020"/>
                  </a:cubicBezTo>
                  <a:cubicBezTo>
                    <a:pt x="414949" y="36343"/>
                    <a:pt x="430009" y="32555"/>
                    <a:pt x="444835" y="27738"/>
                  </a:cubicBezTo>
                  <a:cubicBezTo>
                    <a:pt x="452833" y="26115"/>
                    <a:pt x="460175" y="22139"/>
                    <a:pt x="465881" y="16326"/>
                  </a:cubicBezTo>
                  <a:cubicBezTo>
                    <a:pt x="468735" y="12968"/>
                    <a:pt x="471868" y="9839"/>
                    <a:pt x="475235" y="6972"/>
                  </a:cubicBezTo>
                  <a:cubicBezTo>
                    <a:pt x="478416" y="4614"/>
                    <a:pt x="481924" y="2655"/>
                    <a:pt x="485572" y="112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18E42534-6DFF-4833-A471-13439A30AB43}"/>
                </a:ext>
              </a:extLst>
            </p:cNvPr>
            <p:cNvSpPr/>
            <p:nvPr/>
          </p:nvSpPr>
          <p:spPr>
            <a:xfrm>
              <a:off x="8099032" y="5795698"/>
              <a:ext cx="439916" cy="466482"/>
            </a:xfrm>
            <a:custGeom>
              <a:avLst/>
              <a:gdLst>
                <a:gd name="connsiteX0" fmla="*/ 438708 w 439916"/>
                <a:gd name="connsiteY0" fmla="*/ -250 h 466482"/>
                <a:gd name="connsiteX1" fmla="*/ 418363 w 439916"/>
                <a:gd name="connsiteY1" fmla="*/ 9946 h 466482"/>
                <a:gd name="connsiteX2" fmla="*/ 399328 w 439916"/>
                <a:gd name="connsiteY2" fmla="*/ 22901 h 466482"/>
                <a:gd name="connsiteX3" fmla="*/ 385952 w 439916"/>
                <a:gd name="connsiteY3" fmla="*/ 40954 h 466482"/>
                <a:gd name="connsiteX4" fmla="*/ 374446 w 439916"/>
                <a:gd name="connsiteY4" fmla="*/ 60223 h 466482"/>
                <a:gd name="connsiteX5" fmla="*/ 341006 w 439916"/>
                <a:gd name="connsiteY5" fmla="*/ 141603 h 466482"/>
                <a:gd name="connsiteX6" fmla="*/ 282356 w 439916"/>
                <a:gd name="connsiteY6" fmla="*/ 298375 h 466482"/>
                <a:gd name="connsiteX7" fmla="*/ 229132 w 439916"/>
                <a:gd name="connsiteY7" fmla="*/ 359176 h 466482"/>
                <a:gd name="connsiteX8" fmla="*/ 158416 w 439916"/>
                <a:gd name="connsiteY8" fmla="*/ 399585 h 466482"/>
                <a:gd name="connsiteX9" fmla="*/ 78346 w 439916"/>
                <a:gd name="connsiteY9" fmla="*/ 425776 h 466482"/>
                <a:gd name="connsiteX10" fmla="*/ 69647 w 439916"/>
                <a:gd name="connsiteY10" fmla="*/ 428395 h 466482"/>
                <a:gd name="connsiteX11" fmla="*/ 69647 w 439916"/>
                <a:gd name="connsiteY11" fmla="*/ 428395 h 466482"/>
                <a:gd name="connsiteX12" fmla="*/ 35084 w 439916"/>
                <a:gd name="connsiteY12" fmla="*/ 439152 h 466482"/>
                <a:gd name="connsiteX13" fmla="*/ 16376 w 439916"/>
                <a:gd name="connsiteY13" fmla="*/ 451734 h 466482"/>
                <a:gd name="connsiteX14" fmla="*/ -1069 w 439916"/>
                <a:gd name="connsiteY14" fmla="*/ 466232 h 466482"/>
                <a:gd name="connsiteX15" fmla="*/ -1069 w 439916"/>
                <a:gd name="connsiteY15" fmla="*/ 466232 h 466482"/>
                <a:gd name="connsiteX16" fmla="*/ 21287 w 439916"/>
                <a:gd name="connsiteY16" fmla="*/ 465156 h 466482"/>
                <a:gd name="connsiteX17" fmla="*/ 43082 w 439916"/>
                <a:gd name="connsiteY17" fmla="*/ 463660 h 466482"/>
                <a:gd name="connsiteX18" fmla="*/ 83585 w 439916"/>
                <a:gd name="connsiteY18" fmla="*/ 451359 h 466482"/>
                <a:gd name="connsiteX19" fmla="*/ 95277 w 439916"/>
                <a:gd name="connsiteY19" fmla="*/ 447898 h 466482"/>
                <a:gd name="connsiteX20" fmla="*/ 95277 w 439916"/>
                <a:gd name="connsiteY20" fmla="*/ 447898 h 466482"/>
                <a:gd name="connsiteX21" fmla="*/ 168097 w 439916"/>
                <a:gd name="connsiteY21" fmla="*/ 423672 h 466482"/>
                <a:gd name="connsiteX22" fmla="*/ 245361 w 439916"/>
                <a:gd name="connsiteY22" fmla="*/ 379474 h 466482"/>
                <a:gd name="connsiteX23" fmla="*/ 304432 w 439916"/>
                <a:gd name="connsiteY23" fmla="*/ 312219 h 466482"/>
                <a:gd name="connsiteX24" fmla="*/ 365747 w 439916"/>
                <a:gd name="connsiteY24" fmla="*/ 149647 h 466482"/>
                <a:gd name="connsiteX25" fmla="*/ 397130 w 439916"/>
                <a:gd name="connsiteY25" fmla="*/ 72991 h 466482"/>
                <a:gd name="connsiteX26" fmla="*/ 407700 w 439916"/>
                <a:gd name="connsiteY26" fmla="*/ 55593 h 466482"/>
                <a:gd name="connsiteX27" fmla="*/ 419532 w 439916"/>
                <a:gd name="connsiteY27" fmla="*/ 39083 h 466482"/>
                <a:gd name="connsiteX28" fmla="*/ 428886 w 439916"/>
                <a:gd name="connsiteY28" fmla="*/ 19908 h 466482"/>
                <a:gd name="connsiteX29" fmla="*/ 438848 w 439916"/>
                <a:gd name="connsiteY29" fmla="*/ -63 h 46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39916" h="466482">
                  <a:moveTo>
                    <a:pt x="438708" y="-250"/>
                  </a:moveTo>
                  <a:cubicBezTo>
                    <a:pt x="432768" y="4633"/>
                    <a:pt x="425847" y="8117"/>
                    <a:pt x="418363" y="9946"/>
                  </a:cubicBezTo>
                  <a:cubicBezTo>
                    <a:pt x="410739" y="12036"/>
                    <a:pt x="404052" y="16592"/>
                    <a:pt x="399328" y="22901"/>
                  </a:cubicBezTo>
                  <a:cubicBezTo>
                    <a:pt x="394651" y="28934"/>
                    <a:pt x="389974" y="34780"/>
                    <a:pt x="385952" y="40954"/>
                  </a:cubicBezTo>
                  <a:lnTo>
                    <a:pt x="374446" y="60223"/>
                  </a:lnTo>
                  <a:cubicBezTo>
                    <a:pt x="360649" y="86185"/>
                    <a:pt x="349471" y="113443"/>
                    <a:pt x="341006" y="141603"/>
                  </a:cubicBezTo>
                  <a:cubicBezTo>
                    <a:pt x="323607" y="196604"/>
                    <a:pt x="311494" y="252167"/>
                    <a:pt x="282356" y="298375"/>
                  </a:cubicBezTo>
                  <a:cubicBezTo>
                    <a:pt x="268185" y="321517"/>
                    <a:pt x="250179" y="342077"/>
                    <a:pt x="229132" y="359176"/>
                  </a:cubicBezTo>
                  <a:cubicBezTo>
                    <a:pt x="207712" y="376088"/>
                    <a:pt x="183859" y="389707"/>
                    <a:pt x="158416" y="399585"/>
                  </a:cubicBezTo>
                  <a:cubicBezTo>
                    <a:pt x="132787" y="409875"/>
                    <a:pt x="105800" y="417779"/>
                    <a:pt x="78346" y="425776"/>
                  </a:cubicBezTo>
                  <a:lnTo>
                    <a:pt x="69647" y="428395"/>
                  </a:lnTo>
                  <a:lnTo>
                    <a:pt x="69647" y="428395"/>
                  </a:lnTo>
                  <a:cubicBezTo>
                    <a:pt x="58141" y="431763"/>
                    <a:pt x="46543" y="434990"/>
                    <a:pt x="35084" y="439152"/>
                  </a:cubicBezTo>
                  <a:cubicBezTo>
                    <a:pt x="27648" y="441178"/>
                    <a:pt x="21053" y="445602"/>
                    <a:pt x="16376" y="451734"/>
                  </a:cubicBezTo>
                  <a:cubicBezTo>
                    <a:pt x="11933" y="458033"/>
                    <a:pt x="5947" y="463038"/>
                    <a:pt x="-1069" y="466232"/>
                  </a:cubicBezTo>
                  <a:lnTo>
                    <a:pt x="-1069" y="466232"/>
                  </a:lnTo>
                  <a:cubicBezTo>
                    <a:pt x="6087" y="463599"/>
                    <a:pt x="13897" y="463225"/>
                    <a:pt x="21287" y="465156"/>
                  </a:cubicBezTo>
                  <a:cubicBezTo>
                    <a:pt x="28536" y="466822"/>
                    <a:pt x="36113" y="466302"/>
                    <a:pt x="43082" y="463660"/>
                  </a:cubicBezTo>
                  <a:lnTo>
                    <a:pt x="83585" y="451359"/>
                  </a:lnTo>
                  <a:lnTo>
                    <a:pt x="95277" y="447898"/>
                  </a:lnTo>
                  <a:lnTo>
                    <a:pt x="95277" y="447898"/>
                  </a:lnTo>
                  <a:cubicBezTo>
                    <a:pt x="119457" y="440789"/>
                    <a:pt x="144011" y="433353"/>
                    <a:pt x="168097" y="423672"/>
                  </a:cubicBezTo>
                  <a:cubicBezTo>
                    <a:pt x="195879" y="412854"/>
                    <a:pt x="221930" y="397958"/>
                    <a:pt x="245361" y="379474"/>
                  </a:cubicBezTo>
                  <a:cubicBezTo>
                    <a:pt x="268699" y="360556"/>
                    <a:pt x="288670" y="337816"/>
                    <a:pt x="304432" y="312219"/>
                  </a:cubicBezTo>
                  <a:cubicBezTo>
                    <a:pt x="336422" y="260772"/>
                    <a:pt x="348723" y="202871"/>
                    <a:pt x="365747" y="149647"/>
                  </a:cubicBezTo>
                  <a:cubicBezTo>
                    <a:pt x="373698" y="123133"/>
                    <a:pt x="384174" y="97457"/>
                    <a:pt x="397130" y="72991"/>
                  </a:cubicBezTo>
                  <a:cubicBezTo>
                    <a:pt x="400684" y="67192"/>
                    <a:pt x="404005" y="61252"/>
                    <a:pt x="407700" y="55593"/>
                  </a:cubicBezTo>
                  <a:cubicBezTo>
                    <a:pt x="411394" y="49934"/>
                    <a:pt x="415557" y="44602"/>
                    <a:pt x="419532" y="39083"/>
                  </a:cubicBezTo>
                  <a:cubicBezTo>
                    <a:pt x="424443" y="33747"/>
                    <a:pt x="427717" y="27077"/>
                    <a:pt x="428886" y="19908"/>
                  </a:cubicBezTo>
                  <a:cubicBezTo>
                    <a:pt x="429822" y="12307"/>
                    <a:pt x="433330" y="5255"/>
                    <a:pt x="438848" y="-6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962DC4D1-1269-4A01-826B-EEB39632BA03}"/>
                </a:ext>
              </a:extLst>
            </p:cNvPr>
            <p:cNvSpPr/>
            <p:nvPr/>
          </p:nvSpPr>
          <p:spPr>
            <a:xfrm>
              <a:off x="8172181" y="5816463"/>
              <a:ext cx="438045" cy="478837"/>
            </a:xfrm>
            <a:custGeom>
              <a:avLst/>
              <a:gdLst>
                <a:gd name="connsiteX0" fmla="*/ 436884 w 438045"/>
                <a:gd name="connsiteY0" fmla="*/ -250 h 478837"/>
                <a:gd name="connsiteX1" fmla="*/ 415089 w 438045"/>
                <a:gd name="connsiteY1" fmla="*/ 6672 h 478837"/>
                <a:gd name="connsiteX2" fmla="*/ 394510 w 438045"/>
                <a:gd name="connsiteY2" fmla="*/ 16868 h 478837"/>
                <a:gd name="connsiteX3" fmla="*/ 378889 w 438045"/>
                <a:gd name="connsiteY3" fmla="*/ 33050 h 478837"/>
                <a:gd name="connsiteX4" fmla="*/ 371406 w 438045"/>
                <a:gd name="connsiteY4" fmla="*/ 41515 h 478837"/>
                <a:gd name="connsiteX5" fmla="*/ 364671 w 438045"/>
                <a:gd name="connsiteY5" fmla="*/ 50495 h 478837"/>
                <a:gd name="connsiteX6" fmla="*/ 322578 w 438045"/>
                <a:gd name="connsiteY6" fmla="*/ 128741 h 478837"/>
                <a:gd name="connsiteX7" fmla="*/ 268279 w 438045"/>
                <a:gd name="connsiteY7" fmla="*/ 289957 h 478837"/>
                <a:gd name="connsiteX8" fmla="*/ 223613 w 438045"/>
                <a:gd name="connsiteY8" fmla="*/ 357633 h 478837"/>
                <a:gd name="connsiteX9" fmla="*/ 159492 w 438045"/>
                <a:gd name="connsiteY9" fmla="*/ 406741 h 478837"/>
                <a:gd name="connsiteX10" fmla="*/ 82369 w 438045"/>
                <a:gd name="connsiteY10" fmla="*/ 437282 h 478837"/>
                <a:gd name="connsiteX11" fmla="*/ 75727 w 438045"/>
                <a:gd name="connsiteY11" fmla="*/ 439339 h 478837"/>
                <a:gd name="connsiteX12" fmla="*/ 35131 w 438045"/>
                <a:gd name="connsiteY12" fmla="*/ 451687 h 478837"/>
                <a:gd name="connsiteX13" fmla="*/ 16423 w 438045"/>
                <a:gd name="connsiteY13" fmla="*/ 464128 h 478837"/>
                <a:gd name="connsiteX14" fmla="*/ -1069 w 438045"/>
                <a:gd name="connsiteY14" fmla="*/ 478579 h 478837"/>
                <a:gd name="connsiteX15" fmla="*/ -1069 w 438045"/>
                <a:gd name="connsiteY15" fmla="*/ 478579 h 478837"/>
                <a:gd name="connsiteX16" fmla="*/ 21287 w 438045"/>
                <a:gd name="connsiteY16" fmla="*/ 477597 h 478837"/>
                <a:gd name="connsiteX17" fmla="*/ 43082 w 438045"/>
                <a:gd name="connsiteY17" fmla="*/ 476241 h 478837"/>
                <a:gd name="connsiteX18" fmla="*/ 68057 w 438045"/>
                <a:gd name="connsiteY18" fmla="*/ 468758 h 478837"/>
                <a:gd name="connsiteX19" fmla="*/ 68057 w 438045"/>
                <a:gd name="connsiteY19" fmla="*/ 468758 h 478837"/>
                <a:gd name="connsiteX20" fmla="*/ 80825 w 438045"/>
                <a:gd name="connsiteY20" fmla="*/ 464876 h 478837"/>
                <a:gd name="connsiteX21" fmla="*/ 83678 w 438045"/>
                <a:gd name="connsiteY21" fmla="*/ 464034 h 478837"/>
                <a:gd name="connsiteX22" fmla="*/ 95324 w 438045"/>
                <a:gd name="connsiteY22" fmla="*/ 460620 h 478837"/>
                <a:gd name="connsiteX23" fmla="*/ 171792 w 438045"/>
                <a:gd name="connsiteY23" fmla="*/ 429845 h 478837"/>
                <a:gd name="connsiteX24" fmla="*/ 242789 w 438045"/>
                <a:gd name="connsiteY24" fmla="*/ 375452 h 478837"/>
                <a:gd name="connsiteX25" fmla="*/ 291991 w 438045"/>
                <a:gd name="connsiteY25" fmla="*/ 300948 h 478837"/>
                <a:gd name="connsiteX26" fmla="*/ 346992 w 438045"/>
                <a:gd name="connsiteY26" fmla="*/ 138142 h 478837"/>
                <a:gd name="connsiteX27" fmla="*/ 385577 w 438045"/>
                <a:gd name="connsiteY27" fmla="*/ 66210 h 478837"/>
                <a:gd name="connsiteX28" fmla="*/ 391657 w 438045"/>
                <a:gd name="connsiteY28" fmla="*/ 58119 h 478837"/>
                <a:gd name="connsiteX29" fmla="*/ 398533 w 438045"/>
                <a:gd name="connsiteY29" fmla="*/ 50635 h 478837"/>
                <a:gd name="connsiteX30" fmla="*/ 412283 w 438045"/>
                <a:gd name="connsiteY30" fmla="*/ 35763 h 478837"/>
                <a:gd name="connsiteX31" fmla="*/ 424069 w 438045"/>
                <a:gd name="connsiteY31" fmla="*/ 18037 h 478837"/>
                <a:gd name="connsiteX32" fmla="*/ 436977 w 438045"/>
                <a:gd name="connsiteY32" fmla="*/ -110 h 478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38045" h="478837">
                  <a:moveTo>
                    <a:pt x="436884" y="-250"/>
                  </a:moveTo>
                  <a:cubicBezTo>
                    <a:pt x="430289" y="3744"/>
                    <a:pt x="422806" y="6115"/>
                    <a:pt x="415089" y="6672"/>
                  </a:cubicBezTo>
                  <a:cubicBezTo>
                    <a:pt x="407232" y="7565"/>
                    <a:pt x="399983" y="11171"/>
                    <a:pt x="394510" y="16868"/>
                  </a:cubicBezTo>
                  <a:cubicBezTo>
                    <a:pt x="388945" y="21923"/>
                    <a:pt x="383753" y="27330"/>
                    <a:pt x="378889" y="33050"/>
                  </a:cubicBezTo>
                  <a:lnTo>
                    <a:pt x="371406" y="41515"/>
                  </a:lnTo>
                  <a:cubicBezTo>
                    <a:pt x="368974" y="44322"/>
                    <a:pt x="366729" y="47502"/>
                    <a:pt x="364671" y="50495"/>
                  </a:cubicBezTo>
                  <a:cubicBezTo>
                    <a:pt x="346945" y="74418"/>
                    <a:pt x="332774" y="100773"/>
                    <a:pt x="322578" y="128741"/>
                  </a:cubicBezTo>
                  <a:cubicBezTo>
                    <a:pt x="301859" y="183602"/>
                    <a:pt x="291290" y="239960"/>
                    <a:pt x="268279" y="289957"/>
                  </a:cubicBezTo>
                  <a:cubicBezTo>
                    <a:pt x="257288" y="314852"/>
                    <a:pt x="242181" y="337728"/>
                    <a:pt x="223613" y="357633"/>
                  </a:cubicBezTo>
                  <a:cubicBezTo>
                    <a:pt x="205327" y="377659"/>
                    <a:pt x="183579" y="394286"/>
                    <a:pt x="159492" y="406741"/>
                  </a:cubicBezTo>
                  <a:cubicBezTo>
                    <a:pt x="134797" y="419359"/>
                    <a:pt x="108980" y="429588"/>
                    <a:pt x="82369" y="437282"/>
                  </a:cubicBezTo>
                  <a:lnTo>
                    <a:pt x="75727" y="439339"/>
                  </a:lnTo>
                  <a:cubicBezTo>
                    <a:pt x="62257" y="443315"/>
                    <a:pt x="48554" y="446823"/>
                    <a:pt x="35131" y="451687"/>
                  </a:cubicBezTo>
                  <a:cubicBezTo>
                    <a:pt x="27694" y="453684"/>
                    <a:pt x="21147" y="458052"/>
                    <a:pt x="16423" y="464128"/>
                  </a:cubicBezTo>
                  <a:cubicBezTo>
                    <a:pt x="11980" y="470418"/>
                    <a:pt x="5947" y="475404"/>
                    <a:pt x="-1069" y="478579"/>
                  </a:cubicBezTo>
                  <a:lnTo>
                    <a:pt x="-1069" y="478579"/>
                  </a:lnTo>
                  <a:cubicBezTo>
                    <a:pt x="6087" y="475979"/>
                    <a:pt x="13897" y="475638"/>
                    <a:pt x="21287" y="477597"/>
                  </a:cubicBezTo>
                  <a:cubicBezTo>
                    <a:pt x="28536" y="479281"/>
                    <a:pt x="36113" y="478809"/>
                    <a:pt x="43082" y="476241"/>
                  </a:cubicBezTo>
                  <a:lnTo>
                    <a:pt x="68057" y="468758"/>
                  </a:lnTo>
                  <a:lnTo>
                    <a:pt x="68057" y="468758"/>
                  </a:lnTo>
                  <a:lnTo>
                    <a:pt x="80825" y="464876"/>
                  </a:lnTo>
                  <a:lnTo>
                    <a:pt x="83678" y="464034"/>
                  </a:lnTo>
                  <a:lnTo>
                    <a:pt x="95324" y="460620"/>
                  </a:lnTo>
                  <a:cubicBezTo>
                    <a:pt x="121702" y="452748"/>
                    <a:pt x="147332" y="442445"/>
                    <a:pt x="171792" y="429845"/>
                  </a:cubicBezTo>
                  <a:cubicBezTo>
                    <a:pt x="198451" y="416011"/>
                    <a:pt x="222491" y="397602"/>
                    <a:pt x="242789" y="375452"/>
                  </a:cubicBezTo>
                  <a:cubicBezTo>
                    <a:pt x="263228" y="353536"/>
                    <a:pt x="279877" y="328355"/>
                    <a:pt x="291991" y="300948"/>
                  </a:cubicBezTo>
                  <a:cubicBezTo>
                    <a:pt x="316685" y="246975"/>
                    <a:pt x="327209" y="189916"/>
                    <a:pt x="346992" y="138142"/>
                  </a:cubicBezTo>
                  <a:cubicBezTo>
                    <a:pt x="356346" y="112432"/>
                    <a:pt x="369301" y="88206"/>
                    <a:pt x="385577" y="66210"/>
                  </a:cubicBezTo>
                  <a:cubicBezTo>
                    <a:pt x="387635" y="63497"/>
                    <a:pt x="389459" y="60644"/>
                    <a:pt x="391657" y="58119"/>
                  </a:cubicBezTo>
                  <a:lnTo>
                    <a:pt x="398533" y="50635"/>
                  </a:lnTo>
                  <a:cubicBezTo>
                    <a:pt x="403210" y="45958"/>
                    <a:pt x="407278" y="40346"/>
                    <a:pt x="412283" y="35763"/>
                  </a:cubicBezTo>
                  <a:cubicBezTo>
                    <a:pt x="417802" y="31067"/>
                    <a:pt x="421871" y="24926"/>
                    <a:pt x="424069" y="18037"/>
                  </a:cubicBezTo>
                  <a:cubicBezTo>
                    <a:pt x="426267" y="10731"/>
                    <a:pt x="430804" y="4352"/>
                    <a:pt x="436977" y="-11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E5E8E35C-7EC3-4BC2-BCFA-DB54C636C2DF}"/>
                </a:ext>
              </a:extLst>
            </p:cNvPr>
            <p:cNvSpPr/>
            <p:nvPr/>
          </p:nvSpPr>
          <p:spPr>
            <a:xfrm>
              <a:off x="8288684" y="5825958"/>
              <a:ext cx="431873" cy="490339"/>
            </a:xfrm>
            <a:custGeom>
              <a:avLst/>
              <a:gdLst>
                <a:gd name="connsiteX0" fmla="*/ 430804 w 431873"/>
                <a:gd name="connsiteY0" fmla="*/ -250 h 490339"/>
                <a:gd name="connsiteX1" fmla="*/ 408121 w 431873"/>
                <a:gd name="connsiteY1" fmla="*/ 1059 h 490339"/>
                <a:gd name="connsiteX2" fmla="*/ 385718 w 431873"/>
                <a:gd name="connsiteY2" fmla="*/ 5128 h 490339"/>
                <a:gd name="connsiteX3" fmla="*/ 347320 w 431873"/>
                <a:gd name="connsiteY3" fmla="*/ 28092 h 490339"/>
                <a:gd name="connsiteX4" fmla="*/ 284695 w 431873"/>
                <a:gd name="connsiteY4" fmla="*/ 92167 h 490339"/>
                <a:gd name="connsiteX5" fmla="*/ 245268 w 431873"/>
                <a:gd name="connsiteY5" fmla="*/ 171676 h 490339"/>
                <a:gd name="connsiteX6" fmla="*/ 219638 w 431873"/>
                <a:gd name="connsiteY6" fmla="*/ 253991 h 490339"/>
                <a:gd name="connsiteX7" fmla="*/ 190220 w 431873"/>
                <a:gd name="connsiteY7" fmla="*/ 331862 h 490339"/>
                <a:gd name="connsiteX8" fmla="*/ 143450 w 431873"/>
                <a:gd name="connsiteY8" fmla="*/ 397948 h 490339"/>
                <a:gd name="connsiteX9" fmla="*/ 83585 w 431873"/>
                <a:gd name="connsiteY9" fmla="*/ 441210 h 490339"/>
                <a:gd name="connsiteX10" fmla="*/ 73108 w 431873"/>
                <a:gd name="connsiteY10" fmla="*/ 445887 h 490339"/>
                <a:gd name="connsiteX11" fmla="*/ 34243 w 431873"/>
                <a:gd name="connsiteY11" fmla="*/ 462678 h 490339"/>
                <a:gd name="connsiteX12" fmla="*/ 16704 w 431873"/>
                <a:gd name="connsiteY12" fmla="*/ 475680 h 490339"/>
                <a:gd name="connsiteX13" fmla="*/ -1069 w 431873"/>
                <a:gd name="connsiteY13" fmla="*/ 489290 h 490339"/>
                <a:gd name="connsiteX14" fmla="*/ -1069 w 431873"/>
                <a:gd name="connsiteY14" fmla="*/ 489290 h 490339"/>
                <a:gd name="connsiteX15" fmla="*/ 21615 w 431873"/>
                <a:gd name="connsiteY15" fmla="*/ 489290 h 490339"/>
                <a:gd name="connsiteX16" fmla="*/ 43971 w 431873"/>
                <a:gd name="connsiteY16" fmla="*/ 486811 h 490339"/>
                <a:gd name="connsiteX17" fmla="*/ 52810 w 431873"/>
                <a:gd name="connsiteY17" fmla="*/ 483350 h 490339"/>
                <a:gd name="connsiteX18" fmla="*/ 88683 w 431873"/>
                <a:gd name="connsiteY18" fmla="*/ 468056 h 490339"/>
                <a:gd name="connsiteX19" fmla="*/ 94716 w 431873"/>
                <a:gd name="connsiteY19" fmla="*/ 464969 h 490339"/>
                <a:gd name="connsiteX20" fmla="*/ 97242 w 431873"/>
                <a:gd name="connsiteY20" fmla="*/ 463847 h 490339"/>
                <a:gd name="connsiteX21" fmla="*/ 97242 w 431873"/>
                <a:gd name="connsiteY21" fmla="*/ 463847 h 490339"/>
                <a:gd name="connsiteX22" fmla="*/ 161831 w 431873"/>
                <a:gd name="connsiteY22" fmla="*/ 416796 h 490339"/>
                <a:gd name="connsiteX23" fmla="*/ 213699 w 431873"/>
                <a:gd name="connsiteY23" fmla="*/ 343414 h 490339"/>
                <a:gd name="connsiteX24" fmla="*/ 244801 w 431873"/>
                <a:gd name="connsiteY24" fmla="*/ 261427 h 490339"/>
                <a:gd name="connsiteX25" fmla="*/ 306303 w 431873"/>
                <a:gd name="connsiteY25" fmla="*/ 107087 h 490339"/>
                <a:gd name="connsiteX26" fmla="*/ 362427 w 431873"/>
                <a:gd name="connsiteY26" fmla="*/ 49419 h 490339"/>
                <a:gd name="connsiteX27" fmla="*/ 397270 w 431873"/>
                <a:gd name="connsiteY27" fmla="*/ 28326 h 490339"/>
                <a:gd name="connsiteX28" fmla="*/ 413686 w 431873"/>
                <a:gd name="connsiteY28" fmla="*/ 14295 h 490339"/>
                <a:gd name="connsiteX29" fmla="*/ 430758 w 431873"/>
                <a:gd name="connsiteY29" fmla="*/ -157 h 490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31873" h="490339">
                  <a:moveTo>
                    <a:pt x="430804" y="-250"/>
                  </a:moveTo>
                  <a:cubicBezTo>
                    <a:pt x="423461" y="2098"/>
                    <a:pt x="415651" y="2551"/>
                    <a:pt x="408121" y="1059"/>
                  </a:cubicBezTo>
                  <a:cubicBezTo>
                    <a:pt x="400404" y="-175"/>
                    <a:pt x="392500" y="1260"/>
                    <a:pt x="385718" y="5128"/>
                  </a:cubicBezTo>
                  <a:cubicBezTo>
                    <a:pt x="372248" y="11611"/>
                    <a:pt x="359387" y="19295"/>
                    <a:pt x="347320" y="28092"/>
                  </a:cubicBezTo>
                  <a:cubicBezTo>
                    <a:pt x="322859" y="45622"/>
                    <a:pt x="301673" y="67309"/>
                    <a:pt x="284695" y="92167"/>
                  </a:cubicBezTo>
                  <a:cubicBezTo>
                    <a:pt x="268186" y="116866"/>
                    <a:pt x="254949" y="143590"/>
                    <a:pt x="245268" y="171676"/>
                  </a:cubicBezTo>
                  <a:cubicBezTo>
                    <a:pt x="235353" y="199176"/>
                    <a:pt x="227776" y="226957"/>
                    <a:pt x="219638" y="253991"/>
                  </a:cubicBezTo>
                  <a:cubicBezTo>
                    <a:pt x="212062" y="280743"/>
                    <a:pt x="202240" y="306794"/>
                    <a:pt x="190220" y="331862"/>
                  </a:cubicBezTo>
                  <a:cubicBezTo>
                    <a:pt x="178200" y="356211"/>
                    <a:pt x="162439" y="378515"/>
                    <a:pt x="143450" y="397948"/>
                  </a:cubicBezTo>
                  <a:cubicBezTo>
                    <a:pt x="125771" y="415309"/>
                    <a:pt x="105614" y="429897"/>
                    <a:pt x="83585" y="441210"/>
                  </a:cubicBezTo>
                  <a:lnTo>
                    <a:pt x="73108" y="445887"/>
                  </a:lnTo>
                  <a:lnTo>
                    <a:pt x="34243" y="462678"/>
                  </a:lnTo>
                  <a:cubicBezTo>
                    <a:pt x="27227" y="465184"/>
                    <a:pt x="21147" y="469712"/>
                    <a:pt x="16704" y="475680"/>
                  </a:cubicBezTo>
                  <a:cubicBezTo>
                    <a:pt x="12307" y="481923"/>
                    <a:pt x="6087" y="486675"/>
                    <a:pt x="-1069" y="489290"/>
                  </a:cubicBezTo>
                  <a:lnTo>
                    <a:pt x="-1069" y="489290"/>
                  </a:lnTo>
                  <a:cubicBezTo>
                    <a:pt x="6368" y="487288"/>
                    <a:pt x="14178" y="487288"/>
                    <a:pt x="21615" y="489290"/>
                  </a:cubicBezTo>
                  <a:cubicBezTo>
                    <a:pt x="29145" y="490917"/>
                    <a:pt x="37002" y="490047"/>
                    <a:pt x="43971" y="486811"/>
                  </a:cubicBezTo>
                  <a:cubicBezTo>
                    <a:pt x="46964" y="485688"/>
                    <a:pt x="49864" y="484519"/>
                    <a:pt x="52810" y="483350"/>
                  </a:cubicBezTo>
                  <a:cubicBezTo>
                    <a:pt x="65017" y="478879"/>
                    <a:pt x="76990" y="473771"/>
                    <a:pt x="88683" y="468056"/>
                  </a:cubicBezTo>
                  <a:lnTo>
                    <a:pt x="94716" y="464969"/>
                  </a:lnTo>
                  <a:lnTo>
                    <a:pt x="97242" y="463847"/>
                  </a:lnTo>
                  <a:lnTo>
                    <a:pt x="97242" y="463847"/>
                  </a:lnTo>
                  <a:cubicBezTo>
                    <a:pt x="121001" y="451472"/>
                    <a:pt x="142749" y="435612"/>
                    <a:pt x="161831" y="416796"/>
                  </a:cubicBezTo>
                  <a:cubicBezTo>
                    <a:pt x="182924" y="395259"/>
                    <a:pt x="200416" y="370485"/>
                    <a:pt x="213699" y="343414"/>
                  </a:cubicBezTo>
                  <a:cubicBezTo>
                    <a:pt x="226420" y="317027"/>
                    <a:pt x="236803" y="289596"/>
                    <a:pt x="244801" y="261427"/>
                  </a:cubicBezTo>
                  <a:cubicBezTo>
                    <a:pt x="261076" y="206473"/>
                    <a:pt x="275248" y="151752"/>
                    <a:pt x="306303" y="107087"/>
                  </a:cubicBezTo>
                  <a:cubicBezTo>
                    <a:pt x="321503" y="84749"/>
                    <a:pt x="340492" y="65232"/>
                    <a:pt x="362427" y="49419"/>
                  </a:cubicBezTo>
                  <a:cubicBezTo>
                    <a:pt x="373558" y="41637"/>
                    <a:pt x="385204" y="34593"/>
                    <a:pt x="397270" y="28326"/>
                  </a:cubicBezTo>
                  <a:cubicBezTo>
                    <a:pt x="403959" y="25328"/>
                    <a:pt x="409664" y="20455"/>
                    <a:pt x="413686" y="14295"/>
                  </a:cubicBezTo>
                  <a:cubicBezTo>
                    <a:pt x="417709" y="7803"/>
                    <a:pt x="423695" y="2748"/>
                    <a:pt x="430758" y="-15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BD90EC42-605C-43D7-973D-586364E74887}"/>
                </a:ext>
              </a:extLst>
            </p:cNvPr>
            <p:cNvSpPr/>
            <p:nvPr/>
          </p:nvSpPr>
          <p:spPr>
            <a:xfrm>
              <a:off x="8934248" y="5411624"/>
              <a:ext cx="1007911" cy="965282"/>
            </a:xfrm>
            <a:custGeom>
              <a:avLst/>
              <a:gdLst>
                <a:gd name="connsiteX0" fmla="*/ 1006026 w 1007911"/>
                <a:gd name="connsiteY0" fmla="*/ 23883 h 965282"/>
                <a:gd name="connsiteX1" fmla="*/ 1003968 w 1007911"/>
                <a:gd name="connsiteY1" fmla="*/ 11208 h 965282"/>
                <a:gd name="connsiteX2" fmla="*/ 1005372 w 1007911"/>
                <a:gd name="connsiteY2" fmla="*/ -250 h 965282"/>
                <a:gd name="connsiteX3" fmla="*/ 1005372 w 1007911"/>
                <a:gd name="connsiteY3" fmla="*/ -250 h 965282"/>
                <a:gd name="connsiteX4" fmla="*/ 1000320 w 1007911"/>
                <a:gd name="connsiteY4" fmla="*/ 10180 h 965282"/>
                <a:gd name="connsiteX5" fmla="*/ 991902 w 1007911"/>
                <a:gd name="connsiteY5" fmla="*/ 19534 h 965282"/>
                <a:gd name="connsiteX6" fmla="*/ 981004 w 1007911"/>
                <a:gd name="connsiteY6" fmla="*/ 39878 h 965282"/>
                <a:gd name="connsiteX7" fmla="*/ 965991 w 1007911"/>
                <a:gd name="connsiteY7" fmla="*/ 81971 h 965282"/>
                <a:gd name="connsiteX8" fmla="*/ 921840 w 1007911"/>
                <a:gd name="connsiteY8" fmla="*/ 156803 h 965282"/>
                <a:gd name="connsiteX9" fmla="*/ 907061 w 1007911"/>
                <a:gd name="connsiteY9" fmla="*/ 172658 h 965282"/>
                <a:gd name="connsiteX10" fmla="*/ 890926 w 1007911"/>
                <a:gd name="connsiteY10" fmla="*/ 187157 h 965282"/>
                <a:gd name="connsiteX11" fmla="*/ 873387 w 1007911"/>
                <a:gd name="connsiteY11" fmla="*/ 199878 h 965282"/>
                <a:gd name="connsiteX12" fmla="*/ 854679 w 1007911"/>
                <a:gd name="connsiteY12" fmla="*/ 211196 h 965282"/>
                <a:gd name="connsiteX13" fmla="*/ 772645 w 1007911"/>
                <a:gd name="connsiteY13" fmla="*/ 244356 h 965282"/>
                <a:gd name="connsiteX14" fmla="*/ 685045 w 1007911"/>
                <a:gd name="connsiteY14" fmla="*/ 271436 h 965282"/>
                <a:gd name="connsiteX15" fmla="*/ 600579 w 1007911"/>
                <a:gd name="connsiteY15" fmla="*/ 313529 h 965282"/>
                <a:gd name="connsiteX16" fmla="*/ 533885 w 1007911"/>
                <a:gd name="connsiteY16" fmla="*/ 381579 h 965282"/>
                <a:gd name="connsiteX17" fmla="*/ 493569 w 1007911"/>
                <a:gd name="connsiteY17" fmla="*/ 466793 h 965282"/>
                <a:gd name="connsiteX18" fmla="*/ 432020 w 1007911"/>
                <a:gd name="connsiteY18" fmla="*/ 635165 h 965282"/>
                <a:gd name="connsiteX19" fmla="*/ 375896 w 1007911"/>
                <a:gd name="connsiteY19" fmla="*/ 700643 h 965282"/>
                <a:gd name="connsiteX20" fmla="*/ 299895 w 1007911"/>
                <a:gd name="connsiteY20" fmla="*/ 742735 h 965282"/>
                <a:gd name="connsiteX21" fmla="*/ 126566 w 1007911"/>
                <a:gd name="connsiteY21" fmla="*/ 802694 h 965282"/>
                <a:gd name="connsiteX22" fmla="*/ 49302 w 1007911"/>
                <a:gd name="connsiteY22" fmla="*/ 858444 h 965282"/>
                <a:gd name="connsiteX23" fmla="*/ 11887 w 1007911"/>
                <a:gd name="connsiteY23" fmla="*/ 908488 h 965282"/>
                <a:gd name="connsiteX24" fmla="*/ 9642 w 1007911"/>
                <a:gd name="connsiteY24" fmla="*/ 912230 h 965282"/>
                <a:gd name="connsiteX25" fmla="*/ 8052 w 1007911"/>
                <a:gd name="connsiteY25" fmla="*/ 914942 h 965282"/>
                <a:gd name="connsiteX26" fmla="*/ 8052 w 1007911"/>
                <a:gd name="connsiteY26" fmla="*/ 914942 h 965282"/>
                <a:gd name="connsiteX27" fmla="*/ 5947 w 1007911"/>
                <a:gd name="connsiteY27" fmla="*/ 919058 h 965282"/>
                <a:gd name="connsiteX28" fmla="*/ 1270 w 1007911"/>
                <a:gd name="connsiteY28" fmla="*/ 942443 h 965282"/>
                <a:gd name="connsiteX29" fmla="*/ -1069 w 1007911"/>
                <a:gd name="connsiteY29" fmla="*/ 965033 h 965282"/>
                <a:gd name="connsiteX30" fmla="*/ -1069 w 1007911"/>
                <a:gd name="connsiteY30" fmla="*/ 965033 h 965282"/>
                <a:gd name="connsiteX31" fmla="*/ 14178 w 1007911"/>
                <a:gd name="connsiteY31" fmla="*/ 948616 h 965282"/>
                <a:gd name="connsiteX32" fmla="*/ 28770 w 1007911"/>
                <a:gd name="connsiteY32" fmla="*/ 932387 h 965282"/>
                <a:gd name="connsiteX33" fmla="*/ 35459 w 1007911"/>
                <a:gd name="connsiteY33" fmla="*/ 920274 h 965282"/>
                <a:gd name="connsiteX34" fmla="*/ 68572 w 1007911"/>
                <a:gd name="connsiteY34" fmla="*/ 876450 h 965282"/>
                <a:gd name="connsiteX35" fmla="*/ 138726 w 1007911"/>
                <a:gd name="connsiteY35" fmla="*/ 826079 h 965282"/>
                <a:gd name="connsiteX36" fmla="*/ 309904 w 1007911"/>
                <a:gd name="connsiteY36" fmla="*/ 767009 h 965282"/>
                <a:gd name="connsiteX37" fmla="*/ 392734 w 1007911"/>
                <a:gd name="connsiteY37" fmla="*/ 720894 h 965282"/>
                <a:gd name="connsiteX38" fmla="*/ 454890 w 1007911"/>
                <a:gd name="connsiteY38" fmla="*/ 648541 h 965282"/>
                <a:gd name="connsiteX39" fmla="*/ 518264 w 1007911"/>
                <a:gd name="connsiteY39" fmla="*/ 475118 h 965282"/>
                <a:gd name="connsiteX40" fmla="*/ 555680 w 1007911"/>
                <a:gd name="connsiteY40" fmla="*/ 395610 h 965282"/>
                <a:gd name="connsiteX41" fmla="*/ 615732 w 1007911"/>
                <a:gd name="connsiteY41" fmla="*/ 333967 h 965282"/>
                <a:gd name="connsiteX42" fmla="*/ 780642 w 1007911"/>
                <a:gd name="connsiteY42" fmla="*/ 268068 h 965282"/>
                <a:gd name="connsiteX43" fmla="*/ 867354 w 1007911"/>
                <a:gd name="connsiteY43" fmla="*/ 232710 h 965282"/>
                <a:gd name="connsiteX44" fmla="*/ 940829 w 1007911"/>
                <a:gd name="connsiteY44" fmla="*/ 172377 h 965282"/>
                <a:gd name="connsiteX45" fmla="*/ 988675 w 1007911"/>
                <a:gd name="connsiteY45" fmla="*/ 90764 h 965282"/>
                <a:gd name="connsiteX46" fmla="*/ 1004156 w 1007911"/>
                <a:gd name="connsiteY46" fmla="*/ 46847 h 965282"/>
                <a:gd name="connsiteX47" fmla="*/ 1006026 w 1007911"/>
                <a:gd name="connsiteY47" fmla="*/ 23883 h 965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007911" h="965282">
                  <a:moveTo>
                    <a:pt x="1006026" y="23883"/>
                  </a:moveTo>
                  <a:cubicBezTo>
                    <a:pt x="1004904" y="19739"/>
                    <a:pt x="1004249" y="15493"/>
                    <a:pt x="1003968" y="11208"/>
                  </a:cubicBezTo>
                  <a:cubicBezTo>
                    <a:pt x="1004015" y="7350"/>
                    <a:pt x="1004483" y="3506"/>
                    <a:pt x="1005372" y="-250"/>
                  </a:cubicBezTo>
                  <a:lnTo>
                    <a:pt x="1005372" y="-250"/>
                  </a:lnTo>
                  <a:cubicBezTo>
                    <a:pt x="1004062" y="3398"/>
                    <a:pt x="1002378" y="6896"/>
                    <a:pt x="1000320" y="10180"/>
                  </a:cubicBezTo>
                  <a:cubicBezTo>
                    <a:pt x="997841" y="13570"/>
                    <a:pt x="995035" y="16704"/>
                    <a:pt x="991902" y="19534"/>
                  </a:cubicBezTo>
                  <a:cubicBezTo>
                    <a:pt x="986477" y="25188"/>
                    <a:pt x="982688" y="32227"/>
                    <a:pt x="981004" y="39878"/>
                  </a:cubicBezTo>
                  <a:cubicBezTo>
                    <a:pt x="976327" y="53909"/>
                    <a:pt x="971650" y="68315"/>
                    <a:pt x="965991" y="81971"/>
                  </a:cubicBezTo>
                  <a:cubicBezTo>
                    <a:pt x="955374" y="109126"/>
                    <a:pt x="940502" y="134395"/>
                    <a:pt x="921840" y="156803"/>
                  </a:cubicBezTo>
                  <a:cubicBezTo>
                    <a:pt x="917210" y="162345"/>
                    <a:pt x="912253" y="167635"/>
                    <a:pt x="907061" y="172658"/>
                  </a:cubicBezTo>
                  <a:lnTo>
                    <a:pt x="890926" y="187157"/>
                  </a:lnTo>
                  <a:cubicBezTo>
                    <a:pt x="885173" y="191506"/>
                    <a:pt x="879186" y="195622"/>
                    <a:pt x="873387" y="199878"/>
                  </a:cubicBezTo>
                  <a:cubicBezTo>
                    <a:pt x="867587" y="204134"/>
                    <a:pt x="860946" y="207408"/>
                    <a:pt x="854679" y="211196"/>
                  </a:cubicBezTo>
                  <a:cubicBezTo>
                    <a:pt x="828582" y="225078"/>
                    <a:pt x="801081" y="236195"/>
                    <a:pt x="772645" y="244356"/>
                  </a:cubicBezTo>
                  <a:cubicBezTo>
                    <a:pt x="743975" y="253242"/>
                    <a:pt x="714416" y="261146"/>
                    <a:pt x="685045" y="271436"/>
                  </a:cubicBezTo>
                  <a:cubicBezTo>
                    <a:pt x="655112" y="281529"/>
                    <a:pt x="626676" y="295695"/>
                    <a:pt x="600579" y="313529"/>
                  </a:cubicBezTo>
                  <a:cubicBezTo>
                    <a:pt x="574294" y="331872"/>
                    <a:pt x="551704" y="354948"/>
                    <a:pt x="533885" y="381579"/>
                  </a:cubicBezTo>
                  <a:cubicBezTo>
                    <a:pt x="516860" y="408135"/>
                    <a:pt x="503297" y="436777"/>
                    <a:pt x="493569" y="466793"/>
                  </a:cubicBezTo>
                  <a:cubicBezTo>
                    <a:pt x="473505" y="525349"/>
                    <a:pt x="462093" y="585261"/>
                    <a:pt x="432020" y="635165"/>
                  </a:cubicBezTo>
                  <a:cubicBezTo>
                    <a:pt x="417381" y="660177"/>
                    <a:pt x="398393" y="682356"/>
                    <a:pt x="375896" y="700643"/>
                  </a:cubicBezTo>
                  <a:cubicBezTo>
                    <a:pt x="352886" y="718518"/>
                    <a:pt x="327256" y="732717"/>
                    <a:pt x="299895" y="742735"/>
                  </a:cubicBezTo>
                  <a:cubicBezTo>
                    <a:pt x="244941" y="764156"/>
                    <a:pt x="183579" y="774492"/>
                    <a:pt x="126566" y="802694"/>
                  </a:cubicBezTo>
                  <a:cubicBezTo>
                    <a:pt x="97850" y="816814"/>
                    <a:pt x="71752" y="835662"/>
                    <a:pt x="49302" y="858444"/>
                  </a:cubicBezTo>
                  <a:cubicBezTo>
                    <a:pt x="34898" y="873598"/>
                    <a:pt x="22363" y="890397"/>
                    <a:pt x="11887" y="908488"/>
                  </a:cubicBezTo>
                  <a:cubicBezTo>
                    <a:pt x="11091" y="909704"/>
                    <a:pt x="10390" y="910967"/>
                    <a:pt x="9642" y="912230"/>
                  </a:cubicBezTo>
                  <a:cubicBezTo>
                    <a:pt x="8893" y="913492"/>
                    <a:pt x="8566" y="914007"/>
                    <a:pt x="8052" y="914942"/>
                  </a:cubicBezTo>
                  <a:lnTo>
                    <a:pt x="8052" y="914942"/>
                  </a:lnTo>
                  <a:cubicBezTo>
                    <a:pt x="7350" y="916252"/>
                    <a:pt x="6648" y="917608"/>
                    <a:pt x="5947" y="919058"/>
                  </a:cubicBezTo>
                  <a:cubicBezTo>
                    <a:pt x="2065" y="926195"/>
                    <a:pt x="428" y="934352"/>
                    <a:pt x="1270" y="942443"/>
                  </a:cubicBezTo>
                  <a:cubicBezTo>
                    <a:pt x="2486" y="950048"/>
                    <a:pt x="1691" y="957844"/>
                    <a:pt x="-1069" y="965033"/>
                  </a:cubicBezTo>
                  <a:lnTo>
                    <a:pt x="-1069" y="965033"/>
                  </a:lnTo>
                  <a:cubicBezTo>
                    <a:pt x="2252" y="958148"/>
                    <a:pt x="7537" y="952423"/>
                    <a:pt x="14178" y="948616"/>
                  </a:cubicBezTo>
                  <a:cubicBezTo>
                    <a:pt x="20539" y="944777"/>
                    <a:pt x="25637" y="939127"/>
                    <a:pt x="28770" y="932387"/>
                  </a:cubicBezTo>
                  <a:lnTo>
                    <a:pt x="35459" y="920274"/>
                  </a:lnTo>
                  <a:cubicBezTo>
                    <a:pt x="44719" y="904405"/>
                    <a:pt x="55850" y="889696"/>
                    <a:pt x="68572" y="876450"/>
                  </a:cubicBezTo>
                  <a:cubicBezTo>
                    <a:pt x="88963" y="855830"/>
                    <a:pt x="112676" y="838801"/>
                    <a:pt x="138726" y="826079"/>
                  </a:cubicBezTo>
                  <a:cubicBezTo>
                    <a:pt x="191062" y="799888"/>
                    <a:pt x="251488" y="789552"/>
                    <a:pt x="309904" y="767009"/>
                  </a:cubicBezTo>
                  <a:cubicBezTo>
                    <a:pt x="339743" y="755995"/>
                    <a:pt x="367665" y="740439"/>
                    <a:pt x="392734" y="720894"/>
                  </a:cubicBezTo>
                  <a:cubicBezTo>
                    <a:pt x="417615" y="700671"/>
                    <a:pt x="438661" y="676168"/>
                    <a:pt x="454890" y="648541"/>
                  </a:cubicBezTo>
                  <a:cubicBezTo>
                    <a:pt x="487629" y="593212"/>
                    <a:pt x="499228" y="531336"/>
                    <a:pt x="518264" y="475118"/>
                  </a:cubicBezTo>
                  <a:cubicBezTo>
                    <a:pt x="527197" y="447085"/>
                    <a:pt x="539778" y="420346"/>
                    <a:pt x="555680" y="395610"/>
                  </a:cubicBezTo>
                  <a:cubicBezTo>
                    <a:pt x="571675" y="371491"/>
                    <a:pt x="592020" y="350584"/>
                    <a:pt x="615732" y="333967"/>
                  </a:cubicBezTo>
                  <a:cubicBezTo>
                    <a:pt x="663063" y="300012"/>
                    <a:pt x="722087" y="285981"/>
                    <a:pt x="780642" y="268068"/>
                  </a:cubicBezTo>
                  <a:cubicBezTo>
                    <a:pt x="810669" y="259299"/>
                    <a:pt x="839760" y="247452"/>
                    <a:pt x="867354" y="232710"/>
                  </a:cubicBezTo>
                  <a:cubicBezTo>
                    <a:pt x="895322" y="217258"/>
                    <a:pt x="920250" y="196805"/>
                    <a:pt x="940829" y="172377"/>
                  </a:cubicBezTo>
                  <a:cubicBezTo>
                    <a:pt x="961174" y="147987"/>
                    <a:pt x="977310" y="120411"/>
                    <a:pt x="988675" y="90764"/>
                  </a:cubicBezTo>
                  <a:cubicBezTo>
                    <a:pt x="994380" y="76219"/>
                    <a:pt x="999946" y="61673"/>
                    <a:pt x="1004156" y="46847"/>
                  </a:cubicBezTo>
                  <a:cubicBezTo>
                    <a:pt x="1006915" y="39514"/>
                    <a:pt x="1007570" y="31563"/>
                    <a:pt x="1006026" y="2388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6BADD4A0-23E0-4E63-8712-BBC93C0F51DB}"/>
                </a:ext>
              </a:extLst>
            </p:cNvPr>
            <p:cNvSpPr/>
            <p:nvPr/>
          </p:nvSpPr>
          <p:spPr>
            <a:xfrm>
              <a:off x="9011465" y="5370560"/>
              <a:ext cx="1001669" cy="978097"/>
            </a:xfrm>
            <a:custGeom>
              <a:avLst/>
              <a:gdLst>
                <a:gd name="connsiteX0" fmla="*/ 997794 w 1001669"/>
                <a:gd name="connsiteY0" fmla="*/ 11208 h 978097"/>
                <a:gd name="connsiteX1" fmla="*/ 1000601 w 1001669"/>
                <a:gd name="connsiteY1" fmla="*/ -250 h 978097"/>
                <a:gd name="connsiteX2" fmla="*/ 1000601 w 1001669"/>
                <a:gd name="connsiteY2" fmla="*/ -250 h 978097"/>
                <a:gd name="connsiteX3" fmla="*/ 994194 w 1001669"/>
                <a:gd name="connsiteY3" fmla="*/ 9712 h 978097"/>
                <a:gd name="connsiteX4" fmla="*/ 984606 w 1001669"/>
                <a:gd name="connsiteY4" fmla="*/ 18505 h 978097"/>
                <a:gd name="connsiteX5" fmla="*/ 972492 w 1001669"/>
                <a:gd name="connsiteY5" fmla="*/ 39317 h 978097"/>
                <a:gd name="connsiteX6" fmla="*/ 958461 w 1001669"/>
                <a:gd name="connsiteY6" fmla="*/ 84216 h 978097"/>
                <a:gd name="connsiteX7" fmla="*/ 929417 w 1001669"/>
                <a:gd name="connsiteY7" fmla="*/ 171114 h 978097"/>
                <a:gd name="connsiteX8" fmla="*/ 882647 w 1001669"/>
                <a:gd name="connsiteY8" fmla="*/ 246414 h 978097"/>
                <a:gd name="connsiteX9" fmla="*/ 812492 w 1001669"/>
                <a:gd name="connsiteY9" fmla="*/ 299685 h 978097"/>
                <a:gd name="connsiteX10" fmla="*/ 638088 w 1001669"/>
                <a:gd name="connsiteY10" fmla="*/ 360205 h 978097"/>
                <a:gd name="connsiteX11" fmla="*/ 553528 w 1001669"/>
                <a:gd name="connsiteY11" fmla="*/ 406975 h 978097"/>
                <a:gd name="connsiteX12" fmla="*/ 490482 w 1001669"/>
                <a:gd name="connsiteY12" fmla="*/ 480964 h 978097"/>
                <a:gd name="connsiteX13" fmla="*/ 425987 w 1001669"/>
                <a:gd name="connsiteY13" fmla="*/ 657708 h 978097"/>
                <a:gd name="connsiteX14" fmla="*/ 386139 w 1001669"/>
                <a:gd name="connsiteY14" fmla="*/ 737217 h 978097"/>
                <a:gd name="connsiteX15" fmla="*/ 322953 w 1001669"/>
                <a:gd name="connsiteY15" fmla="*/ 798017 h 978097"/>
                <a:gd name="connsiteX16" fmla="*/ 152570 w 1001669"/>
                <a:gd name="connsiteY16" fmla="*/ 862466 h 978097"/>
                <a:gd name="connsiteX17" fmla="*/ 64923 w 1001669"/>
                <a:gd name="connsiteY17" fmla="*/ 901893 h 978097"/>
                <a:gd name="connsiteX18" fmla="*/ 33775 w 1001669"/>
                <a:gd name="connsiteY18" fmla="*/ 925044 h 978097"/>
                <a:gd name="connsiteX19" fmla="*/ 23112 w 1001669"/>
                <a:gd name="connsiteY19" fmla="*/ 934772 h 978097"/>
                <a:gd name="connsiteX20" fmla="*/ 22129 w 1001669"/>
                <a:gd name="connsiteY20" fmla="*/ 935755 h 978097"/>
                <a:gd name="connsiteX21" fmla="*/ 20492 w 1001669"/>
                <a:gd name="connsiteY21" fmla="*/ 937391 h 978097"/>
                <a:gd name="connsiteX22" fmla="*/ 8285 w 1001669"/>
                <a:gd name="connsiteY22" fmla="*/ 957269 h 978097"/>
                <a:gd name="connsiteX23" fmla="*/ -1069 w 1001669"/>
                <a:gd name="connsiteY23" fmla="*/ 977847 h 978097"/>
                <a:gd name="connsiteX24" fmla="*/ -1069 w 1001669"/>
                <a:gd name="connsiteY24" fmla="*/ 977847 h 978097"/>
                <a:gd name="connsiteX25" fmla="*/ 18668 w 1001669"/>
                <a:gd name="connsiteY25" fmla="*/ 967231 h 978097"/>
                <a:gd name="connsiteX26" fmla="*/ 37704 w 1001669"/>
                <a:gd name="connsiteY26" fmla="*/ 956614 h 978097"/>
                <a:gd name="connsiteX27" fmla="*/ 41445 w 1001669"/>
                <a:gd name="connsiteY27" fmla="*/ 953246 h 978097"/>
                <a:gd name="connsiteX28" fmla="*/ 44158 w 1001669"/>
                <a:gd name="connsiteY28" fmla="*/ 950814 h 978097"/>
                <a:gd name="connsiteX29" fmla="*/ 52483 w 1001669"/>
                <a:gd name="connsiteY29" fmla="*/ 943565 h 978097"/>
                <a:gd name="connsiteX30" fmla="*/ 60995 w 1001669"/>
                <a:gd name="connsiteY30" fmla="*/ 936550 h 978097"/>
                <a:gd name="connsiteX31" fmla="*/ 79048 w 1001669"/>
                <a:gd name="connsiteY31" fmla="*/ 923875 h 978097"/>
                <a:gd name="connsiteX32" fmla="*/ 160802 w 1001669"/>
                <a:gd name="connsiteY32" fmla="*/ 887161 h 978097"/>
                <a:gd name="connsiteX33" fmla="*/ 249664 w 1001669"/>
                <a:gd name="connsiteY33" fmla="*/ 859987 h 978097"/>
                <a:gd name="connsiteX34" fmla="*/ 337077 w 1001669"/>
                <a:gd name="connsiteY34" fmla="*/ 819812 h 978097"/>
                <a:gd name="connsiteX35" fmla="*/ 407232 w 1001669"/>
                <a:gd name="connsiteY35" fmla="*/ 752323 h 978097"/>
                <a:gd name="connsiteX36" fmla="*/ 450260 w 1001669"/>
                <a:gd name="connsiteY36" fmla="*/ 666080 h 978097"/>
                <a:gd name="connsiteX37" fmla="*/ 512371 w 1001669"/>
                <a:gd name="connsiteY37" fmla="*/ 493499 h 978097"/>
                <a:gd name="connsiteX38" fmla="*/ 569196 w 1001669"/>
                <a:gd name="connsiteY38" fmla="*/ 426431 h 978097"/>
                <a:gd name="connsiteX39" fmla="*/ 646928 w 1001669"/>
                <a:gd name="connsiteY39" fmla="*/ 383309 h 978097"/>
                <a:gd name="connsiteX40" fmla="*/ 823670 w 1001669"/>
                <a:gd name="connsiteY40" fmla="*/ 321339 h 978097"/>
                <a:gd name="connsiteX41" fmla="*/ 900467 w 1001669"/>
                <a:gd name="connsiteY41" fmla="*/ 262736 h 978097"/>
                <a:gd name="connsiteX42" fmla="*/ 929651 w 1001669"/>
                <a:gd name="connsiteY42" fmla="*/ 223730 h 978097"/>
                <a:gd name="connsiteX43" fmla="*/ 951399 w 1001669"/>
                <a:gd name="connsiteY43" fmla="*/ 180655 h 978097"/>
                <a:gd name="connsiteX44" fmla="*/ 981238 w 1001669"/>
                <a:gd name="connsiteY44" fmla="*/ 91044 h 978097"/>
                <a:gd name="connsiteX45" fmla="*/ 994802 w 1001669"/>
                <a:gd name="connsiteY45" fmla="*/ 46987 h 978097"/>
                <a:gd name="connsiteX46" fmla="*/ 998590 w 1001669"/>
                <a:gd name="connsiteY46" fmla="*/ 24070 h 978097"/>
                <a:gd name="connsiteX47" fmla="*/ 997794 w 1001669"/>
                <a:gd name="connsiteY47" fmla="*/ 11208 h 97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001669" h="978097">
                  <a:moveTo>
                    <a:pt x="997794" y="11208"/>
                  </a:moveTo>
                  <a:cubicBezTo>
                    <a:pt x="998309" y="7294"/>
                    <a:pt x="999245" y="3449"/>
                    <a:pt x="1000601" y="-250"/>
                  </a:cubicBezTo>
                  <a:lnTo>
                    <a:pt x="1000601" y="-250"/>
                  </a:lnTo>
                  <a:cubicBezTo>
                    <a:pt x="998824" y="3299"/>
                    <a:pt x="996672" y="6639"/>
                    <a:pt x="994194" y="9712"/>
                  </a:cubicBezTo>
                  <a:cubicBezTo>
                    <a:pt x="991154" y="12831"/>
                    <a:pt x="987973" y="15764"/>
                    <a:pt x="984606" y="18505"/>
                  </a:cubicBezTo>
                  <a:cubicBezTo>
                    <a:pt x="978666" y="24136"/>
                    <a:pt x="974456" y="31361"/>
                    <a:pt x="972492" y="39317"/>
                  </a:cubicBezTo>
                  <a:cubicBezTo>
                    <a:pt x="966973" y="54190"/>
                    <a:pt x="963138" y="69343"/>
                    <a:pt x="958461" y="84216"/>
                  </a:cubicBezTo>
                  <a:cubicBezTo>
                    <a:pt x="950510" y="113737"/>
                    <a:pt x="940829" y="142758"/>
                    <a:pt x="929417" y="171114"/>
                  </a:cubicBezTo>
                  <a:cubicBezTo>
                    <a:pt x="918240" y="198709"/>
                    <a:pt x="902431" y="224179"/>
                    <a:pt x="882647" y="246414"/>
                  </a:cubicBezTo>
                  <a:cubicBezTo>
                    <a:pt x="862583" y="268181"/>
                    <a:pt x="838824" y="286220"/>
                    <a:pt x="812492" y="299685"/>
                  </a:cubicBezTo>
                  <a:cubicBezTo>
                    <a:pt x="759362" y="327279"/>
                    <a:pt x="697673" y="337521"/>
                    <a:pt x="638088" y="360205"/>
                  </a:cubicBezTo>
                  <a:cubicBezTo>
                    <a:pt x="607641" y="371289"/>
                    <a:pt x="579111" y="387069"/>
                    <a:pt x="553528" y="406975"/>
                  </a:cubicBezTo>
                  <a:cubicBezTo>
                    <a:pt x="528132" y="427553"/>
                    <a:pt x="506758" y="452636"/>
                    <a:pt x="490482" y="480964"/>
                  </a:cubicBezTo>
                  <a:cubicBezTo>
                    <a:pt x="457743" y="537556"/>
                    <a:pt x="446144" y="600695"/>
                    <a:pt x="425987" y="657708"/>
                  </a:cubicBezTo>
                  <a:cubicBezTo>
                    <a:pt x="416493" y="685943"/>
                    <a:pt x="403070" y="712704"/>
                    <a:pt x="386139" y="737217"/>
                  </a:cubicBezTo>
                  <a:cubicBezTo>
                    <a:pt x="369068" y="761251"/>
                    <a:pt x="347647" y="781872"/>
                    <a:pt x="322953" y="798017"/>
                  </a:cubicBezTo>
                  <a:cubicBezTo>
                    <a:pt x="273283" y="830756"/>
                    <a:pt x="212389" y="843057"/>
                    <a:pt x="152570" y="862466"/>
                  </a:cubicBezTo>
                  <a:cubicBezTo>
                    <a:pt x="121796" y="871862"/>
                    <a:pt x="92377" y="885112"/>
                    <a:pt x="64923" y="901893"/>
                  </a:cubicBezTo>
                  <a:cubicBezTo>
                    <a:pt x="54026" y="908913"/>
                    <a:pt x="43644" y="916649"/>
                    <a:pt x="33775" y="925044"/>
                  </a:cubicBezTo>
                  <a:cubicBezTo>
                    <a:pt x="30080" y="928103"/>
                    <a:pt x="26479" y="931353"/>
                    <a:pt x="23112" y="934772"/>
                  </a:cubicBezTo>
                  <a:lnTo>
                    <a:pt x="22129" y="935755"/>
                  </a:lnTo>
                  <a:lnTo>
                    <a:pt x="20492" y="937391"/>
                  </a:lnTo>
                  <a:cubicBezTo>
                    <a:pt x="14412" y="942559"/>
                    <a:pt x="10156" y="949519"/>
                    <a:pt x="8285" y="957269"/>
                  </a:cubicBezTo>
                  <a:cubicBezTo>
                    <a:pt x="7022" y="964827"/>
                    <a:pt x="3796" y="971917"/>
                    <a:pt x="-1069" y="977847"/>
                  </a:cubicBezTo>
                  <a:lnTo>
                    <a:pt x="-1069" y="977847"/>
                  </a:lnTo>
                  <a:cubicBezTo>
                    <a:pt x="4263" y="972389"/>
                    <a:pt x="11185" y="968685"/>
                    <a:pt x="18668" y="967231"/>
                  </a:cubicBezTo>
                  <a:cubicBezTo>
                    <a:pt x="25918" y="965659"/>
                    <a:pt x="32559" y="961964"/>
                    <a:pt x="37704" y="956614"/>
                  </a:cubicBezTo>
                  <a:lnTo>
                    <a:pt x="41445" y="953246"/>
                  </a:lnTo>
                  <a:lnTo>
                    <a:pt x="44158" y="950814"/>
                  </a:lnTo>
                  <a:cubicBezTo>
                    <a:pt x="46917" y="948382"/>
                    <a:pt x="49770" y="946137"/>
                    <a:pt x="52483" y="943565"/>
                  </a:cubicBezTo>
                  <a:cubicBezTo>
                    <a:pt x="55149" y="941002"/>
                    <a:pt x="57955" y="938654"/>
                    <a:pt x="60995" y="936550"/>
                  </a:cubicBezTo>
                  <a:cubicBezTo>
                    <a:pt x="67028" y="932387"/>
                    <a:pt x="72594" y="927570"/>
                    <a:pt x="79048" y="923875"/>
                  </a:cubicBezTo>
                  <a:cubicBezTo>
                    <a:pt x="104631" y="908240"/>
                    <a:pt x="132132" y="895902"/>
                    <a:pt x="160802" y="887161"/>
                  </a:cubicBezTo>
                  <a:cubicBezTo>
                    <a:pt x="189752" y="877807"/>
                    <a:pt x="219872" y="869903"/>
                    <a:pt x="249664" y="859987"/>
                  </a:cubicBezTo>
                  <a:cubicBezTo>
                    <a:pt x="280439" y="850460"/>
                    <a:pt x="309810" y="836958"/>
                    <a:pt x="337077" y="819812"/>
                  </a:cubicBezTo>
                  <a:cubicBezTo>
                    <a:pt x="364485" y="801885"/>
                    <a:pt x="388243" y="778996"/>
                    <a:pt x="407232" y="752323"/>
                  </a:cubicBezTo>
                  <a:cubicBezTo>
                    <a:pt x="425612" y="725786"/>
                    <a:pt x="440111" y="696742"/>
                    <a:pt x="450260" y="666080"/>
                  </a:cubicBezTo>
                  <a:cubicBezTo>
                    <a:pt x="471307" y="606308"/>
                    <a:pt x="482157" y="544946"/>
                    <a:pt x="512371" y="493499"/>
                  </a:cubicBezTo>
                  <a:cubicBezTo>
                    <a:pt x="527103" y="467888"/>
                    <a:pt x="546372" y="445162"/>
                    <a:pt x="569196" y="426431"/>
                  </a:cubicBezTo>
                  <a:cubicBezTo>
                    <a:pt x="592674" y="408032"/>
                    <a:pt x="618913" y="393477"/>
                    <a:pt x="646928" y="383309"/>
                  </a:cubicBezTo>
                  <a:cubicBezTo>
                    <a:pt x="703051" y="361561"/>
                    <a:pt x="766003" y="351272"/>
                    <a:pt x="823670" y="321339"/>
                  </a:cubicBezTo>
                  <a:cubicBezTo>
                    <a:pt x="852574" y="306536"/>
                    <a:pt x="878578" y="286692"/>
                    <a:pt x="900467" y="262736"/>
                  </a:cubicBezTo>
                  <a:cubicBezTo>
                    <a:pt x="911317" y="250609"/>
                    <a:pt x="921092" y="237560"/>
                    <a:pt x="929651" y="223730"/>
                  </a:cubicBezTo>
                  <a:cubicBezTo>
                    <a:pt x="937929" y="209915"/>
                    <a:pt x="945178" y="195519"/>
                    <a:pt x="951399" y="180655"/>
                  </a:cubicBezTo>
                  <a:cubicBezTo>
                    <a:pt x="963045" y="151378"/>
                    <a:pt x="973007" y="121459"/>
                    <a:pt x="981238" y="91044"/>
                  </a:cubicBezTo>
                  <a:cubicBezTo>
                    <a:pt x="985495" y="76172"/>
                    <a:pt x="990265" y="61533"/>
                    <a:pt x="994802" y="46987"/>
                  </a:cubicBezTo>
                  <a:cubicBezTo>
                    <a:pt x="997935" y="39771"/>
                    <a:pt x="999198" y="31904"/>
                    <a:pt x="998590" y="24070"/>
                  </a:cubicBezTo>
                  <a:cubicBezTo>
                    <a:pt x="997748" y="19837"/>
                    <a:pt x="997514" y="15511"/>
                    <a:pt x="997794" y="11208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75A2E19E-7C6F-417F-A008-D9B90DFBBE71}"/>
                </a:ext>
              </a:extLst>
            </p:cNvPr>
            <p:cNvSpPr/>
            <p:nvPr/>
          </p:nvSpPr>
          <p:spPr>
            <a:xfrm>
              <a:off x="9108372" y="4283863"/>
              <a:ext cx="2057171" cy="2053195"/>
            </a:xfrm>
            <a:custGeom>
              <a:avLst/>
              <a:gdLst>
                <a:gd name="connsiteX0" fmla="*/ 2056056 w 2057171"/>
                <a:gd name="connsiteY0" fmla="*/ -204 h 2053195"/>
                <a:gd name="connsiteX1" fmla="*/ 2045299 w 2057171"/>
                <a:gd name="connsiteY1" fmla="*/ 5643 h 2053195"/>
                <a:gd name="connsiteX2" fmla="*/ 2032718 w 2057171"/>
                <a:gd name="connsiteY2" fmla="*/ 9712 h 2053195"/>
                <a:gd name="connsiteX3" fmla="*/ 2012701 w 2057171"/>
                <a:gd name="connsiteY3" fmla="*/ 24912 h 2053195"/>
                <a:gd name="connsiteX4" fmla="*/ 1981879 w 2057171"/>
                <a:gd name="connsiteY4" fmla="*/ 64479 h 2053195"/>
                <a:gd name="connsiteX5" fmla="*/ 1941516 w 2057171"/>
                <a:gd name="connsiteY5" fmla="*/ 154838 h 2053195"/>
                <a:gd name="connsiteX6" fmla="*/ 1912987 w 2057171"/>
                <a:gd name="connsiteY6" fmla="*/ 247022 h 2053195"/>
                <a:gd name="connsiteX7" fmla="*/ 1871549 w 2057171"/>
                <a:gd name="connsiteY7" fmla="*/ 330787 h 2053195"/>
                <a:gd name="connsiteX8" fmla="*/ 1804481 w 2057171"/>
                <a:gd name="connsiteY8" fmla="*/ 393879 h 2053195"/>
                <a:gd name="connsiteX9" fmla="*/ 1718659 w 2057171"/>
                <a:gd name="connsiteY9" fmla="*/ 431763 h 2053195"/>
                <a:gd name="connsiteX10" fmla="*/ 1625960 w 2057171"/>
                <a:gd name="connsiteY10" fmla="*/ 460292 h 2053195"/>
                <a:gd name="connsiteX11" fmla="*/ 1537098 w 2057171"/>
                <a:gd name="connsiteY11" fmla="*/ 504349 h 2053195"/>
                <a:gd name="connsiteX12" fmla="*/ 1468393 w 2057171"/>
                <a:gd name="connsiteY12" fmla="*/ 577264 h 2053195"/>
                <a:gd name="connsiteX13" fmla="*/ 1428124 w 2057171"/>
                <a:gd name="connsiteY13" fmla="*/ 667857 h 2053195"/>
                <a:gd name="connsiteX14" fmla="*/ 1399594 w 2057171"/>
                <a:gd name="connsiteY14" fmla="*/ 759993 h 2053195"/>
                <a:gd name="connsiteX15" fmla="*/ 1358016 w 2057171"/>
                <a:gd name="connsiteY15" fmla="*/ 843337 h 2053195"/>
                <a:gd name="connsiteX16" fmla="*/ 1291042 w 2057171"/>
                <a:gd name="connsiteY16" fmla="*/ 906056 h 2053195"/>
                <a:gd name="connsiteX17" fmla="*/ 1205313 w 2057171"/>
                <a:gd name="connsiteY17" fmla="*/ 943472 h 2053195"/>
                <a:gd name="connsiteX18" fmla="*/ 1112615 w 2057171"/>
                <a:gd name="connsiteY18" fmla="*/ 972001 h 2053195"/>
                <a:gd name="connsiteX19" fmla="*/ 1023331 w 2057171"/>
                <a:gd name="connsiteY19" fmla="*/ 1016386 h 2053195"/>
                <a:gd name="connsiteX20" fmla="*/ 954580 w 2057171"/>
                <a:gd name="connsiteY20" fmla="*/ 1089768 h 2053195"/>
                <a:gd name="connsiteX21" fmla="*/ 914030 w 2057171"/>
                <a:gd name="connsiteY21" fmla="*/ 1181062 h 2053195"/>
                <a:gd name="connsiteX22" fmla="*/ 885547 w 2057171"/>
                <a:gd name="connsiteY22" fmla="*/ 1273199 h 2053195"/>
                <a:gd name="connsiteX23" fmla="*/ 843875 w 2057171"/>
                <a:gd name="connsiteY23" fmla="*/ 1355982 h 2053195"/>
                <a:gd name="connsiteX24" fmla="*/ 776901 w 2057171"/>
                <a:gd name="connsiteY24" fmla="*/ 1418139 h 2053195"/>
                <a:gd name="connsiteX25" fmla="*/ 691312 w 2057171"/>
                <a:gd name="connsiteY25" fmla="*/ 1455555 h 2053195"/>
                <a:gd name="connsiteX26" fmla="*/ 598568 w 2057171"/>
                <a:gd name="connsiteY26" fmla="*/ 1484131 h 2053195"/>
                <a:gd name="connsiteX27" fmla="*/ 509144 w 2057171"/>
                <a:gd name="connsiteY27" fmla="*/ 1528890 h 2053195"/>
                <a:gd name="connsiteX28" fmla="*/ 440345 w 2057171"/>
                <a:gd name="connsiteY28" fmla="*/ 1602739 h 2053195"/>
                <a:gd name="connsiteX29" fmla="*/ 400217 w 2057171"/>
                <a:gd name="connsiteY29" fmla="*/ 1693894 h 2053195"/>
                <a:gd name="connsiteX30" fmla="*/ 371734 w 2057171"/>
                <a:gd name="connsiteY30" fmla="*/ 1785937 h 2053195"/>
                <a:gd name="connsiteX31" fmla="*/ 330342 w 2057171"/>
                <a:gd name="connsiteY31" fmla="*/ 1868579 h 2053195"/>
                <a:gd name="connsiteX32" fmla="*/ 263555 w 2057171"/>
                <a:gd name="connsiteY32" fmla="*/ 1930502 h 2053195"/>
                <a:gd name="connsiteX33" fmla="*/ 178107 w 2057171"/>
                <a:gd name="connsiteY33" fmla="*/ 1967918 h 2053195"/>
                <a:gd name="connsiteX34" fmla="*/ 85316 w 2057171"/>
                <a:gd name="connsiteY34" fmla="*/ 1996541 h 2053195"/>
                <a:gd name="connsiteX35" fmla="*/ 61931 w 2057171"/>
                <a:gd name="connsiteY35" fmla="*/ 2005334 h 2053195"/>
                <a:gd name="connsiteX36" fmla="*/ 51594 w 2057171"/>
                <a:gd name="connsiteY36" fmla="*/ 2009590 h 2053195"/>
                <a:gd name="connsiteX37" fmla="*/ 30782 w 2057171"/>
                <a:gd name="connsiteY37" fmla="*/ 2019879 h 2053195"/>
                <a:gd name="connsiteX38" fmla="*/ 13664 w 2057171"/>
                <a:gd name="connsiteY38" fmla="*/ 2035688 h 2053195"/>
                <a:gd name="connsiteX39" fmla="*/ -1069 w 2057171"/>
                <a:gd name="connsiteY39" fmla="*/ 2052946 h 2053195"/>
                <a:gd name="connsiteX40" fmla="*/ -1069 w 2057171"/>
                <a:gd name="connsiteY40" fmla="*/ 2052946 h 2053195"/>
                <a:gd name="connsiteX41" fmla="*/ 20820 w 2057171"/>
                <a:gd name="connsiteY41" fmla="*/ 2048269 h 2053195"/>
                <a:gd name="connsiteX42" fmla="*/ 42007 w 2057171"/>
                <a:gd name="connsiteY42" fmla="*/ 2043171 h 2053195"/>
                <a:gd name="connsiteX43" fmla="*/ 43269 w 2057171"/>
                <a:gd name="connsiteY43" fmla="*/ 2042516 h 2053195"/>
                <a:gd name="connsiteX44" fmla="*/ 43269 w 2057171"/>
                <a:gd name="connsiteY44" fmla="*/ 2042516 h 2053195"/>
                <a:gd name="connsiteX45" fmla="*/ 50519 w 2057171"/>
                <a:gd name="connsiteY45" fmla="*/ 2039008 h 2053195"/>
                <a:gd name="connsiteX46" fmla="*/ 93781 w 2057171"/>
                <a:gd name="connsiteY46" fmla="*/ 2021236 h 2053195"/>
                <a:gd name="connsiteX47" fmla="*/ 185871 w 2057171"/>
                <a:gd name="connsiteY47" fmla="*/ 1992846 h 2053195"/>
                <a:gd name="connsiteX48" fmla="*/ 277165 w 2057171"/>
                <a:gd name="connsiteY48" fmla="*/ 1952858 h 2053195"/>
                <a:gd name="connsiteX49" fmla="*/ 351249 w 2057171"/>
                <a:gd name="connsiteY49" fmla="*/ 1884153 h 2053195"/>
                <a:gd name="connsiteX50" fmla="*/ 396195 w 2057171"/>
                <a:gd name="connsiteY50" fmla="*/ 1794683 h 2053195"/>
                <a:gd name="connsiteX51" fmla="*/ 424818 w 2057171"/>
                <a:gd name="connsiteY51" fmla="*/ 1701938 h 2053195"/>
                <a:gd name="connsiteX52" fmla="*/ 462234 w 2057171"/>
                <a:gd name="connsiteY52" fmla="*/ 1616349 h 2053195"/>
                <a:gd name="connsiteX53" fmla="*/ 524297 w 2057171"/>
                <a:gd name="connsiteY53" fmla="*/ 1549515 h 2053195"/>
                <a:gd name="connsiteX54" fmla="*/ 607126 w 2057171"/>
                <a:gd name="connsiteY54" fmla="*/ 1507984 h 2053195"/>
                <a:gd name="connsiteX55" fmla="*/ 699170 w 2057171"/>
                <a:gd name="connsiteY55" fmla="*/ 1479407 h 2053195"/>
                <a:gd name="connsiteX56" fmla="*/ 790277 w 2057171"/>
                <a:gd name="connsiteY56" fmla="*/ 1439325 h 2053195"/>
                <a:gd name="connsiteX57" fmla="*/ 863799 w 2057171"/>
                <a:gd name="connsiteY57" fmla="*/ 1370433 h 2053195"/>
                <a:gd name="connsiteX58" fmla="*/ 908324 w 2057171"/>
                <a:gd name="connsiteY58" fmla="*/ 1281103 h 2053195"/>
                <a:gd name="connsiteX59" fmla="*/ 936947 w 2057171"/>
                <a:gd name="connsiteY59" fmla="*/ 1188358 h 2053195"/>
                <a:gd name="connsiteX60" fmla="*/ 974363 w 2057171"/>
                <a:gd name="connsiteY60" fmla="*/ 1102676 h 2053195"/>
                <a:gd name="connsiteX61" fmla="*/ 1036848 w 2057171"/>
                <a:gd name="connsiteY61" fmla="*/ 1035702 h 2053195"/>
                <a:gd name="connsiteX62" fmla="*/ 1119817 w 2057171"/>
                <a:gd name="connsiteY62" fmla="*/ 993983 h 2053195"/>
                <a:gd name="connsiteX63" fmla="*/ 1211954 w 2057171"/>
                <a:gd name="connsiteY63" fmla="*/ 965453 h 2053195"/>
                <a:gd name="connsiteX64" fmla="*/ 1302734 w 2057171"/>
                <a:gd name="connsiteY64" fmla="*/ 925278 h 2053195"/>
                <a:gd name="connsiteX65" fmla="*/ 1375882 w 2057171"/>
                <a:gd name="connsiteY65" fmla="*/ 856480 h 2053195"/>
                <a:gd name="connsiteX66" fmla="*/ 1419986 w 2057171"/>
                <a:gd name="connsiteY66" fmla="*/ 767243 h 2053195"/>
                <a:gd name="connsiteX67" fmla="*/ 1448563 w 2057171"/>
                <a:gd name="connsiteY67" fmla="*/ 674592 h 2053195"/>
                <a:gd name="connsiteX68" fmla="*/ 1485979 w 2057171"/>
                <a:gd name="connsiteY68" fmla="*/ 588722 h 2053195"/>
                <a:gd name="connsiteX69" fmla="*/ 1549305 w 2057171"/>
                <a:gd name="connsiteY69" fmla="*/ 521608 h 2053195"/>
                <a:gd name="connsiteX70" fmla="*/ 1632929 w 2057171"/>
                <a:gd name="connsiteY70" fmla="*/ 480170 h 2053195"/>
                <a:gd name="connsiteX71" fmla="*/ 1725066 w 2057171"/>
                <a:gd name="connsiteY71" fmla="*/ 451593 h 2053195"/>
                <a:gd name="connsiteX72" fmla="*/ 1815612 w 2057171"/>
                <a:gd name="connsiteY72" fmla="*/ 411418 h 2053195"/>
                <a:gd name="connsiteX73" fmla="*/ 1888246 w 2057171"/>
                <a:gd name="connsiteY73" fmla="*/ 342619 h 2053195"/>
                <a:gd name="connsiteX74" fmla="*/ 1932162 w 2057171"/>
                <a:gd name="connsiteY74" fmla="*/ 253757 h 2053195"/>
                <a:gd name="connsiteX75" fmla="*/ 1960693 w 2057171"/>
                <a:gd name="connsiteY75" fmla="*/ 161059 h 2053195"/>
                <a:gd name="connsiteX76" fmla="*/ 1998576 w 2057171"/>
                <a:gd name="connsiteY76" fmla="*/ 75096 h 2053195"/>
                <a:gd name="connsiteX77" fmla="*/ 2011952 w 2057171"/>
                <a:gd name="connsiteY77" fmla="*/ 56107 h 2053195"/>
                <a:gd name="connsiteX78" fmla="*/ 2019388 w 2057171"/>
                <a:gd name="connsiteY78" fmla="*/ 47221 h 2053195"/>
                <a:gd name="connsiteX79" fmla="*/ 2027012 w 2057171"/>
                <a:gd name="connsiteY79" fmla="*/ 38475 h 2053195"/>
                <a:gd name="connsiteX80" fmla="*/ 2041510 w 2057171"/>
                <a:gd name="connsiteY80" fmla="*/ 19767 h 2053195"/>
                <a:gd name="connsiteX81" fmla="*/ 2047497 w 2057171"/>
                <a:gd name="connsiteY81" fmla="*/ 8402 h 2053195"/>
                <a:gd name="connsiteX82" fmla="*/ 2056103 w 2057171"/>
                <a:gd name="connsiteY82" fmla="*/ -250 h 2053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057171" h="2053195">
                  <a:moveTo>
                    <a:pt x="2056056" y="-204"/>
                  </a:moveTo>
                  <a:cubicBezTo>
                    <a:pt x="2052642" y="2023"/>
                    <a:pt x="2049041" y="3978"/>
                    <a:pt x="2045299" y="5643"/>
                  </a:cubicBezTo>
                  <a:cubicBezTo>
                    <a:pt x="2041510" y="7373"/>
                    <a:pt x="2036927" y="8215"/>
                    <a:pt x="2032718" y="9712"/>
                  </a:cubicBezTo>
                  <a:cubicBezTo>
                    <a:pt x="2024767" y="12869"/>
                    <a:pt x="2017892" y="18126"/>
                    <a:pt x="2012701" y="24912"/>
                  </a:cubicBezTo>
                  <a:cubicBezTo>
                    <a:pt x="2001102" y="36997"/>
                    <a:pt x="1990765" y="50261"/>
                    <a:pt x="1981879" y="64479"/>
                  </a:cubicBezTo>
                  <a:cubicBezTo>
                    <a:pt x="1964621" y="92747"/>
                    <a:pt x="1951058" y="123114"/>
                    <a:pt x="1941516" y="154838"/>
                  </a:cubicBezTo>
                  <a:cubicBezTo>
                    <a:pt x="1931508" y="185894"/>
                    <a:pt x="1923510" y="217136"/>
                    <a:pt x="1912987" y="247022"/>
                  </a:cubicBezTo>
                  <a:cubicBezTo>
                    <a:pt x="1903259" y="276791"/>
                    <a:pt x="1889322" y="305002"/>
                    <a:pt x="1871549" y="330787"/>
                  </a:cubicBezTo>
                  <a:cubicBezTo>
                    <a:pt x="1853543" y="356010"/>
                    <a:pt x="1830766" y="377449"/>
                    <a:pt x="1804481" y="393879"/>
                  </a:cubicBezTo>
                  <a:cubicBezTo>
                    <a:pt x="1777635" y="410132"/>
                    <a:pt x="1748778" y="422863"/>
                    <a:pt x="1718659" y="431763"/>
                  </a:cubicBezTo>
                  <a:cubicBezTo>
                    <a:pt x="1688352" y="441444"/>
                    <a:pt x="1656969" y="449489"/>
                    <a:pt x="1625960" y="460292"/>
                  </a:cubicBezTo>
                  <a:cubicBezTo>
                    <a:pt x="1594344" y="470549"/>
                    <a:pt x="1564412" y="485394"/>
                    <a:pt x="1537098" y="504349"/>
                  </a:cubicBezTo>
                  <a:cubicBezTo>
                    <a:pt x="1509644" y="523927"/>
                    <a:pt x="1486306" y="548701"/>
                    <a:pt x="1468393" y="577264"/>
                  </a:cubicBezTo>
                  <a:cubicBezTo>
                    <a:pt x="1451182" y="605634"/>
                    <a:pt x="1437665" y="636077"/>
                    <a:pt x="1428124" y="667857"/>
                  </a:cubicBezTo>
                  <a:cubicBezTo>
                    <a:pt x="1418069" y="698959"/>
                    <a:pt x="1410118" y="730154"/>
                    <a:pt x="1399594" y="759993"/>
                  </a:cubicBezTo>
                  <a:cubicBezTo>
                    <a:pt x="1389820" y="789627"/>
                    <a:pt x="1375789" y="817698"/>
                    <a:pt x="1358016" y="843337"/>
                  </a:cubicBezTo>
                  <a:cubicBezTo>
                    <a:pt x="1339963" y="868369"/>
                    <a:pt x="1317186" y="889667"/>
                    <a:pt x="1291042" y="906056"/>
                  </a:cubicBezTo>
                  <a:cubicBezTo>
                    <a:pt x="1264149" y="922070"/>
                    <a:pt x="1235339" y="934637"/>
                    <a:pt x="1205313" y="943472"/>
                  </a:cubicBezTo>
                  <a:cubicBezTo>
                    <a:pt x="1175053" y="953153"/>
                    <a:pt x="1143623" y="961104"/>
                    <a:pt x="1112615" y="972001"/>
                  </a:cubicBezTo>
                  <a:cubicBezTo>
                    <a:pt x="1080858" y="982332"/>
                    <a:pt x="1050738" y="997289"/>
                    <a:pt x="1023331" y="1016386"/>
                  </a:cubicBezTo>
                  <a:cubicBezTo>
                    <a:pt x="995877" y="1036146"/>
                    <a:pt x="972492" y="1061070"/>
                    <a:pt x="954580" y="1089768"/>
                  </a:cubicBezTo>
                  <a:cubicBezTo>
                    <a:pt x="937275" y="1118377"/>
                    <a:pt x="923665" y="1149049"/>
                    <a:pt x="914030" y="1181062"/>
                  </a:cubicBezTo>
                  <a:cubicBezTo>
                    <a:pt x="904021" y="1212211"/>
                    <a:pt x="896024" y="1243407"/>
                    <a:pt x="885547" y="1273199"/>
                  </a:cubicBezTo>
                  <a:cubicBezTo>
                    <a:pt x="875772" y="1302678"/>
                    <a:pt x="861741" y="1330571"/>
                    <a:pt x="843875" y="1355982"/>
                  </a:cubicBezTo>
                  <a:cubicBezTo>
                    <a:pt x="825822" y="1380858"/>
                    <a:pt x="803045" y="1401970"/>
                    <a:pt x="776901" y="1418139"/>
                  </a:cubicBezTo>
                  <a:cubicBezTo>
                    <a:pt x="750009" y="1434106"/>
                    <a:pt x="721292" y="1446673"/>
                    <a:pt x="691312" y="1455555"/>
                  </a:cubicBezTo>
                  <a:cubicBezTo>
                    <a:pt x="661099" y="1465283"/>
                    <a:pt x="629669" y="1473233"/>
                    <a:pt x="598568" y="1484131"/>
                  </a:cubicBezTo>
                  <a:cubicBezTo>
                    <a:pt x="566717" y="1494603"/>
                    <a:pt x="536598" y="1509681"/>
                    <a:pt x="509144" y="1528890"/>
                  </a:cubicBezTo>
                  <a:cubicBezTo>
                    <a:pt x="481643" y="1548804"/>
                    <a:pt x="458258" y="1573892"/>
                    <a:pt x="440345" y="1602739"/>
                  </a:cubicBezTo>
                  <a:cubicBezTo>
                    <a:pt x="423274" y="1631367"/>
                    <a:pt x="409804" y="1661978"/>
                    <a:pt x="400217" y="1693894"/>
                  </a:cubicBezTo>
                  <a:cubicBezTo>
                    <a:pt x="390208" y="1725042"/>
                    <a:pt x="382210" y="1756191"/>
                    <a:pt x="371734" y="1785937"/>
                  </a:cubicBezTo>
                  <a:cubicBezTo>
                    <a:pt x="362052" y="1815359"/>
                    <a:pt x="348115" y="1843202"/>
                    <a:pt x="330342" y="1868579"/>
                  </a:cubicBezTo>
                  <a:cubicBezTo>
                    <a:pt x="312336" y="1893367"/>
                    <a:pt x="289653" y="1914399"/>
                    <a:pt x="263555" y="1930502"/>
                  </a:cubicBezTo>
                  <a:cubicBezTo>
                    <a:pt x="236756" y="1946479"/>
                    <a:pt x="208040" y="1959051"/>
                    <a:pt x="178107" y="1967918"/>
                  </a:cubicBezTo>
                  <a:cubicBezTo>
                    <a:pt x="147800" y="1977272"/>
                    <a:pt x="116417" y="1985644"/>
                    <a:pt x="85316" y="1996541"/>
                  </a:cubicBezTo>
                  <a:cubicBezTo>
                    <a:pt x="77505" y="1999113"/>
                    <a:pt x="69788" y="2002247"/>
                    <a:pt x="61931" y="2005334"/>
                  </a:cubicBezTo>
                  <a:cubicBezTo>
                    <a:pt x="58423" y="2006597"/>
                    <a:pt x="55008" y="2008093"/>
                    <a:pt x="51594" y="2009590"/>
                  </a:cubicBezTo>
                  <a:cubicBezTo>
                    <a:pt x="44392" y="2012462"/>
                    <a:pt x="37423" y="2015904"/>
                    <a:pt x="30782" y="2019879"/>
                  </a:cubicBezTo>
                  <a:cubicBezTo>
                    <a:pt x="23532" y="2023191"/>
                    <a:pt x="17546" y="2028733"/>
                    <a:pt x="13664" y="2035688"/>
                  </a:cubicBezTo>
                  <a:cubicBezTo>
                    <a:pt x="10343" y="2042628"/>
                    <a:pt x="5245" y="2048582"/>
                    <a:pt x="-1069" y="2052946"/>
                  </a:cubicBezTo>
                  <a:lnTo>
                    <a:pt x="-1069" y="2052946"/>
                  </a:lnTo>
                  <a:cubicBezTo>
                    <a:pt x="5573" y="2049190"/>
                    <a:pt x="13196" y="2047558"/>
                    <a:pt x="20820" y="2048269"/>
                  </a:cubicBezTo>
                  <a:cubicBezTo>
                    <a:pt x="28209" y="2048680"/>
                    <a:pt x="35599" y="2046908"/>
                    <a:pt x="42007" y="2043171"/>
                  </a:cubicBezTo>
                  <a:lnTo>
                    <a:pt x="43269" y="2042516"/>
                  </a:lnTo>
                  <a:lnTo>
                    <a:pt x="43269" y="2042516"/>
                  </a:lnTo>
                  <a:cubicBezTo>
                    <a:pt x="45701" y="2041347"/>
                    <a:pt x="47946" y="2040084"/>
                    <a:pt x="50519" y="2039008"/>
                  </a:cubicBezTo>
                  <a:cubicBezTo>
                    <a:pt x="64596" y="2032311"/>
                    <a:pt x="79048" y="2026380"/>
                    <a:pt x="93781" y="2021236"/>
                  </a:cubicBezTo>
                  <a:cubicBezTo>
                    <a:pt x="123526" y="2010806"/>
                    <a:pt x="154581" y="2002528"/>
                    <a:pt x="185871" y="1992846"/>
                  </a:cubicBezTo>
                  <a:cubicBezTo>
                    <a:pt x="217861" y="1983385"/>
                    <a:pt x="248542" y="1969948"/>
                    <a:pt x="277165" y="1952858"/>
                  </a:cubicBezTo>
                  <a:cubicBezTo>
                    <a:pt x="306116" y="1935006"/>
                    <a:pt x="331278" y="1911668"/>
                    <a:pt x="351249" y="1884153"/>
                  </a:cubicBezTo>
                  <a:cubicBezTo>
                    <a:pt x="370612" y="1856751"/>
                    <a:pt x="385765" y="1826589"/>
                    <a:pt x="396195" y="1794683"/>
                  </a:cubicBezTo>
                  <a:cubicBezTo>
                    <a:pt x="407045" y="1763581"/>
                    <a:pt x="415230" y="1732198"/>
                    <a:pt x="424818" y="1701938"/>
                  </a:cubicBezTo>
                  <a:cubicBezTo>
                    <a:pt x="433657" y="1671944"/>
                    <a:pt x="446191" y="1643191"/>
                    <a:pt x="462234" y="1616349"/>
                  </a:cubicBezTo>
                  <a:cubicBezTo>
                    <a:pt x="478463" y="1590303"/>
                    <a:pt x="499509" y="1567615"/>
                    <a:pt x="524297" y="1549515"/>
                  </a:cubicBezTo>
                  <a:cubicBezTo>
                    <a:pt x="549693" y="1531635"/>
                    <a:pt x="577614" y="1517637"/>
                    <a:pt x="607126" y="1507984"/>
                  </a:cubicBezTo>
                  <a:cubicBezTo>
                    <a:pt x="636919" y="1497554"/>
                    <a:pt x="667927" y="1489276"/>
                    <a:pt x="699170" y="1479407"/>
                  </a:cubicBezTo>
                  <a:cubicBezTo>
                    <a:pt x="731113" y="1469983"/>
                    <a:pt x="761747" y="1456513"/>
                    <a:pt x="790277" y="1439325"/>
                  </a:cubicBezTo>
                  <a:cubicBezTo>
                    <a:pt x="818994" y="1421296"/>
                    <a:pt x="843922" y="1397906"/>
                    <a:pt x="863799" y="1370433"/>
                  </a:cubicBezTo>
                  <a:cubicBezTo>
                    <a:pt x="882975" y="1343022"/>
                    <a:pt x="897988" y="1312916"/>
                    <a:pt x="908324" y="1281103"/>
                  </a:cubicBezTo>
                  <a:cubicBezTo>
                    <a:pt x="919128" y="1250001"/>
                    <a:pt x="927032" y="1218665"/>
                    <a:pt x="936947" y="1188358"/>
                  </a:cubicBezTo>
                  <a:cubicBezTo>
                    <a:pt x="945740" y="1158332"/>
                    <a:pt x="958321" y="1129541"/>
                    <a:pt x="974363" y="1102676"/>
                  </a:cubicBezTo>
                  <a:cubicBezTo>
                    <a:pt x="990686" y="1076550"/>
                    <a:pt x="1011920" y="1053816"/>
                    <a:pt x="1036848" y="1035702"/>
                  </a:cubicBezTo>
                  <a:cubicBezTo>
                    <a:pt x="1062337" y="1017850"/>
                    <a:pt x="1090305" y="1003800"/>
                    <a:pt x="1119817" y="993983"/>
                  </a:cubicBezTo>
                  <a:cubicBezTo>
                    <a:pt x="1149703" y="983600"/>
                    <a:pt x="1180618" y="975275"/>
                    <a:pt x="1211954" y="965453"/>
                  </a:cubicBezTo>
                  <a:cubicBezTo>
                    <a:pt x="1243804" y="955945"/>
                    <a:pt x="1274298" y="942443"/>
                    <a:pt x="1302734" y="925278"/>
                  </a:cubicBezTo>
                  <a:cubicBezTo>
                    <a:pt x="1331357" y="907323"/>
                    <a:pt x="1356192" y="883952"/>
                    <a:pt x="1375882" y="856480"/>
                  </a:cubicBezTo>
                  <a:cubicBezTo>
                    <a:pt x="1394964" y="829110"/>
                    <a:pt x="1409837" y="799027"/>
                    <a:pt x="1419986" y="767243"/>
                  </a:cubicBezTo>
                  <a:cubicBezTo>
                    <a:pt x="1430743" y="736188"/>
                    <a:pt x="1438694" y="704852"/>
                    <a:pt x="1448563" y="674592"/>
                  </a:cubicBezTo>
                  <a:cubicBezTo>
                    <a:pt x="1457356" y="644505"/>
                    <a:pt x="1469936" y="615648"/>
                    <a:pt x="1485979" y="588722"/>
                  </a:cubicBezTo>
                  <a:cubicBezTo>
                    <a:pt x="1502582" y="562480"/>
                    <a:pt x="1524049" y="539689"/>
                    <a:pt x="1549305" y="521608"/>
                  </a:cubicBezTo>
                  <a:cubicBezTo>
                    <a:pt x="1575028" y="503840"/>
                    <a:pt x="1603184" y="489884"/>
                    <a:pt x="1632929" y="480170"/>
                  </a:cubicBezTo>
                  <a:cubicBezTo>
                    <a:pt x="1662815" y="469740"/>
                    <a:pt x="1694011" y="461695"/>
                    <a:pt x="1725066" y="451593"/>
                  </a:cubicBezTo>
                  <a:cubicBezTo>
                    <a:pt x="1756822" y="442089"/>
                    <a:pt x="1787270" y="428592"/>
                    <a:pt x="1815612" y="411418"/>
                  </a:cubicBezTo>
                  <a:cubicBezTo>
                    <a:pt x="1844001" y="393355"/>
                    <a:pt x="1868649" y="369999"/>
                    <a:pt x="1888246" y="342619"/>
                  </a:cubicBezTo>
                  <a:cubicBezTo>
                    <a:pt x="1907188" y="315315"/>
                    <a:pt x="1921967" y="285373"/>
                    <a:pt x="1932162" y="253757"/>
                  </a:cubicBezTo>
                  <a:cubicBezTo>
                    <a:pt x="1942779" y="222702"/>
                    <a:pt x="1950870" y="191412"/>
                    <a:pt x="1960693" y="161059"/>
                  </a:cubicBezTo>
                  <a:cubicBezTo>
                    <a:pt x="1969625" y="130911"/>
                    <a:pt x="1982347" y="102021"/>
                    <a:pt x="1998576" y="75096"/>
                  </a:cubicBezTo>
                  <a:cubicBezTo>
                    <a:pt x="2002411" y="68361"/>
                    <a:pt x="2007556" y="62468"/>
                    <a:pt x="2011952" y="56107"/>
                  </a:cubicBezTo>
                  <a:cubicBezTo>
                    <a:pt x="2014197" y="52960"/>
                    <a:pt x="2016676" y="49985"/>
                    <a:pt x="2019388" y="47221"/>
                  </a:cubicBezTo>
                  <a:lnTo>
                    <a:pt x="2027012" y="38475"/>
                  </a:lnTo>
                  <a:cubicBezTo>
                    <a:pt x="2031970" y="32489"/>
                    <a:pt x="2037910" y="27625"/>
                    <a:pt x="2041510" y="19767"/>
                  </a:cubicBezTo>
                  <a:cubicBezTo>
                    <a:pt x="2043101" y="15782"/>
                    <a:pt x="2045112" y="11975"/>
                    <a:pt x="2047497" y="8402"/>
                  </a:cubicBezTo>
                  <a:cubicBezTo>
                    <a:pt x="2050023" y="5180"/>
                    <a:pt x="2052876" y="2275"/>
                    <a:pt x="2056103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B06EAB4D-04FE-40A4-9E42-73F52D6F8023}"/>
                </a:ext>
              </a:extLst>
            </p:cNvPr>
            <p:cNvSpPr/>
            <p:nvPr/>
          </p:nvSpPr>
          <p:spPr>
            <a:xfrm>
              <a:off x="8641188" y="5767308"/>
              <a:ext cx="556713" cy="604032"/>
            </a:xfrm>
            <a:custGeom>
              <a:avLst/>
              <a:gdLst>
                <a:gd name="connsiteX0" fmla="*/ 553388 w 556713"/>
                <a:gd name="connsiteY0" fmla="*/ 13313 h 604032"/>
                <a:gd name="connsiteX1" fmla="*/ 555165 w 556713"/>
                <a:gd name="connsiteY1" fmla="*/ -250 h 604032"/>
                <a:gd name="connsiteX2" fmla="*/ 555165 w 556713"/>
                <a:gd name="connsiteY2" fmla="*/ -250 h 604032"/>
                <a:gd name="connsiteX3" fmla="*/ 548197 w 556713"/>
                <a:gd name="connsiteY3" fmla="*/ 11442 h 604032"/>
                <a:gd name="connsiteX4" fmla="*/ 536831 w 556713"/>
                <a:gd name="connsiteY4" fmla="*/ 21264 h 604032"/>
                <a:gd name="connsiteX5" fmla="*/ 523830 w 556713"/>
                <a:gd name="connsiteY5" fmla="*/ 43854 h 604032"/>
                <a:gd name="connsiteX6" fmla="*/ 497872 w 556713"/>
                <a:gd name="connsiteY6" fmla="*/ 87677 h 604032"/>
                <a:gd name="connsiteX7" fmla="*/ 463403 w 556713"/>
                <a:gd name="connsiteY7" fmla="*/ 124625 h 604032"/>
                <a:gd name="connsiteX8" fmla="*/ 422012 w 556713"/>
                <a:gd name="connsiteY8" fmla="*/ 153856 h 604032"/>
                <a:gd name="connsiteX9" fmla="*/ 222491 w 556713"/>
                <a:gd name="connsiteY9" fmla="*/ 226022 h 604032"/>
                <a:gd name="connsiteX10" fmla="*/ 130261 w 556713"/>
                <a:gd name="connsiteY10" fmla="*/ 288367 h 604032"/>
                <a:gd name="connsiteX11" fmla="*/ 70817 w 556713"/>
                <a:gd name="connsiteY11" fmla="*/ 382327 h 604032"/>
                <a:gd name="connsiteX12" fmla="*/ 37516 w 556713"/>
                <a:gd name="connsiteY12" fmla="*/ 485221 h 604032"/>
                <a:gd name="connsiteX13" fmla="*/ 12214 w 556713"/>
                <a:gd name="connsiteY13" fmla="*/ 553458 h 604032"/>
                <a:gd name="connsiteX14" fmla="*/ 8660 w 556713"/>
                <a:gd name="connsiteY14" fmla="*/ 560661 h 604032"/>
                <a:gd name="connsiteX15" fmla="*/ 3608 w 556713"/>
                <a:gd name="connsiteY15" fmla="*/ 581894 h 604032"/>
                <a:gd name="connsiteX16" fmla="*/ -1069 w 556713"/>
                <a:gd name="connsiteY16" fmla="*/ 603782 h 604032"/>
                <a:gd name="connsiteX17" fmla="*/ -1069 w 556713"/>
                <a:gd name="connsiteY17" fmla="*/ 603782 h 604032"/>
                <a:gd name="connsiteX18" fmla="*/ 16143 w 556713"/>
                <a:gd name="connsiteY18" fmla="*/ 589003 h 604032"/>
                <a:gd name="connsiteX19" fmla="*/ 32559 w 556713"/>
                <a:gd name="connsiteY19" fmla="*/ 572026 h 604032"/>
                <a:gd name="connsiteX20" fmla="*/ 42193 w 556713"/>
                <a:gd name="connsiteY20" fmla="*/ 550699 h 604032"/>
                <a:gd name="connsiteX21" fmla="*/ 42193 w 556713"/>
                <a:gd name="connsiteY21" fmla="*/ 550699 h 604032"/>
                <a:gd name="connsiteX22" fmla="*/ 95137 w 556713"/>
                <a:gd name="connsiteY22" fmla="*/ 392196 h 604032"/>
                <a:gd name="connsiteX23" fmla="*/ 149203 w 556713"/>
                <a:gd name="connsiteY23" fmla="*/ 306466 h 604032"/>
                <a:gd name="connsiteX24" fmla="*/ 233015 w 556713"/>
                <a:gd name="connsiteY24" fmla="*/ 249922 h 604032"/>
                <a:gd name="connsiteX25" fmla="*/ 333009 w 556713"/>
                <a:gd name="connsiteY25" fmla="*/ 216715 h 604032"/>
                <a:gd name="connsiteX26" fmla="*/ 434967 w 556713"/>
                <a:gd name="connsiteY26" fmla="*/ 176587 h 604032"/>
                <a:gd name="connsiteX27" fmla="*/ 480754 w 556713"/>
                <a:gd name="connsiteY27" fmla="*/ 144269 h 604032"/>
                <a:gd name="connsiteX28" fmla="*/ 518965 w 556713"/>
                <a:gd name="connsiteY28" fmla="*/ 103111 h 604032"/>
                <a:gd name="connsiteX29" fmla="*/ 547495 w 556713"/>
                <a:gd name="connsiteY29" fmla="*/ 55032 h 604032"/>
                <a:gd name="connsiteX30" fmla="*/ 555633 w 556713"/>
                <a:gd name="connsiteY30" fmla="*/ 28560 h 604032"/>
                <a:gd name="connsiteX31" fmla="*/ 553388 w 556713"/>
                <a:gd name="connsiteY31" fmla="*/ 13313 h 604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56713" h="604032">
                  <a:moveTo>
                    <a:pt x="553388" y="13313"/>
                  </a:moveTo>
                  <a:cubicBezTo>
                    <a:pt x="553341" y="8730"/>
                    <a:pt x="553949" y="4170"/>
                    <a:pt x="555165" y="-250"/>
                  </a:cubicBezTo>
                  <a:lnTo>
                    <a:pt x="555165" y="-250"/>
                  </a:lnTo>
                  <a:cubicBezTo>
                    <a:pt x="553482" y="3983"/>
                    <a:pt x="551096" y="7930"/>
                    <a:pt x="548197" y="11442"/>
                  </a:cubicBezTo>
                  <a:cubicBezTo>
                    <a:pt x="544922" y="14997"/>
                    <a:pt x="540245" y="17943"/>
                    <a:pt x="536831" y="21264"/>
                  </a:cubicBezTo>
                  <a:cubicBezTo>
                    <a:pt x="530003" y="27905"/>
                    <a:pt x="527899" y="36277"/>
                    <a:pt x="523830" y="43854"/>
                  </a:cubicBezTo>
                  <a:cubicBezTo>
                    <a:pt x="516627" y="59279"/>
                    <a:pt x="507928" y="73959"/>
                    <a:pt x="497872" y="87677"/>
                  </a:cubicBezTo>
                  <a:cubicBezTo>
                    <a:pt x="487863" y="101292"/>
                    <a:pt x="476311" y="113695"/>
                    <a:pt x="463403" y="124625"/>
                  </a:cubicBezTo>
                  <a:cubicBezTo>
                    <a:pt x="450682" y="135813"/>
                    <a:pt x="436790" y="145611"/>
                    <a:pt x="422012" y="153856"/>
                  </a:cubicBezTo>
                  <a:cubicBezTo>
                    <a:pt x="362520" y="187858"/>
                    <a:pt x="290261" y="196791"/>
                    <a:pt x="222491" y="226022"/>
                  </a:cubicBezTo>
                  <a:cubicBezTo>
                    <a:pt x="187835" y="240334"/>
                    <a:pt x="156452" y="261549"/>
                    <a:pt x="130261" y="288367"/>
                  </a:cubicBezTo>
                  <a:cubicBezTo>
                    <a:pt x="104538" y="315544"/>
                    <a:pt x="84380" y="347455"/>
                    <a:pt x="70817" y="382327"/>
                  </a:cubicBezTo>
                  <a:cubicBezTo>
                    <a:pt x="56786" y="416422"/>
                    <a:pt x="47759" y="451406"/>
                    <a:pt x="37516" y="485221"/>
                  </a:cubicBezTo>
                  <a:cubicBezTo>
                    <a:pt x="30735" y="508545"/>
                    <a:pt x="22269" y="531350"/>
                    <a:pt x="12214" y="553458"/>
                  </a:cubicBezTo>
                  <a:lnTo>
                    <a:pt x="8660" y="560661"/>
                  </a:lnTo>
                  <a:cubicBezTo>
                    <a:pt x="4918" y="567077"/>
                    <a:pt x="3141" y="574472"/>
                    <a:pt x="3608" y="581894"/>
                  </a:cubicBezTo>
                  <a:cubicBezTo>
                    <a:pt x="4310" y="589494"/>
                    <a:pt x="2673" y="597136"/>
                    <a:pt x="-1069" y="603782"/>
                  </a:cubicBezTo>
                  <a:lnTo>
                    <a:pt x="-1069" y="603782"/>
                  </a:lnTo>
                  <a:cubicBezTo>
                    <a:pt x="3281" y="597422"/>
                    <a:pt x="9221" y="592324"/>
                    <a:pt x="16143" y="589003"/>
                  </a:cubicBezTo>
                  <a:cubicBezTo>
                    <a:pt x="23252" y="585182"/>
                    <a:pt x="28958" y="579247"/>
                    <a:pt x="32559" y="572026"/>
                  </a:cubicBezTo>
                  <a:cubicBezTo>
                    <a:pt x="36347" y="565188"/>
                    <a:pt x="39575" y="558056"/>
                    <a:pt x="42193" y="550699"/>
                  </a:cubicBezTo>
                  <a:lnTo>
                    <a:pt x="42193" y="550699"/>
                  </a:lnTo>
                  <a:cubicBezTo>
                    <a:pt x="64222" y="497708"/>
                    <a:pt x="74652" y="441912"/>
                    <a:pt x="95137" y="392196"/>
                  </a:cubicBezTo>
                  <a:cubicBezTo>
                    <a:pt x="107438" y="360378"/>
                    <a:pt x="125771" y="331254"/>
                    <a:pt x="149203" y="306466"/>
                  </a:cubicBezTo>
                  <a:cubicBezTo>
                    <a:pt x="173009" y="282118"/>
                    <a:pt x="201539" y="262877"/>
                    <a:pt x="233015" y="249922"/>
                  </a:cubicBezTo>
                  <a:cubicBezTo>
                    <a:pt x="264678" y="236265"/>
                    <a:pt x="298492" y="226958"/>
                    <a:pt x="333009" y="216715"/>
                  </a:cubicBezTo>
                  <a:cubicBezTo>
                    <a:pt x="367525" y="206473"/>
                    <a:pt x="402462" y="195107"/>
                    <a:pt x="434967" y="176587"/>
                  </a:cubicBezTo>
                  <a:cubicBezTo>
                    <a:pt x="451336" y="167467"/>
                    <a:pt x="466676" y="156630"/>
                    <a:pt x="480754" y="144269"/>
                  </a:cubicBezTo>
                  <a:cubicBezTo>
                    <a:pt x="495066" y="132094"/>
                    <a:pt x="507881" y="118279"/>
                    <a:pt x="518965" y="103111"/>
                  </a:cubicBezTo>
                  <a:cubicBezTo>
                    <a:pt x="529909" y="87981"/>
                    <a:pt x="539451" y="71888"/>
                    <a:pt x="547495" y="55032"/>
                  </a:cubicBezTo>
                  <a:cubicBezTo>
                    <a:pt x="551003" y="46473"/>
                    <a:pt x="555914" y="38475"/>
                    <a:pt x="555633" y="28560"/>
                  </a:cubicBezTo>
                  <a:cubicBezTo>
                    <a:pt x="555165" y="23556"/>
                    <a:pt x="553669" y="18177"/>
                    <a:pt x="553388" y="1331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FF5D7D14-25ED-4FB5-B61F-B9AD1598EC7C}"/>
                </a:ext>
              </a:extLst>
            </p:cNvPr>
            <p:cNvSpPr/>
            <p:nvPr/>
          </p:nvSpPr>
          <p:spPr>
            <a:xfrm>
              <a:off x="8574354" y="5792283"/>
              <a:ext cx="551837" cy="565400"/>
            </a:xfrm>
            <a:custGeom>
              <a:avLst/>
              <a:gdLst>
                <a:gd name="connsiteX0" fmla="*/ 550348 w 551837"/>
                <a:gd name="connsiteY0" fmla="*/ -250 h 565400"/>
                <a:gd name="connsiteX1" fmla="*/ 541461 w 551837"/>
                <a:gd name="connsiteY1" fmla="*/ 9571 h 565400"/>
                <a:gd name="connsiteX2" fmla="*/ 528506 w 551837"/>
                <a:gd name="connsiteY2" fmla="*/ 16306 h 565400"/>
                <a:gd name="connsiteX3" fmla="*/ 510686 w 551837"/>
                <a:gd name="connsiteY3" fmla="*/ 33985 h 565400"/>
                <a:gd name="connsiteX4" fmla="*/ 493382 w 551837"/>
                <a:gd name="connsiteY4" fmla="*/ 51618 h 565400"/>
                <a:gd name="connsiteX5" fmla="*/ 474674 w 551837"/>
                <a:gd name="connsiteY5" fmla="*/ 67566 h 565400"/>
                <a:gd name="connsiteX6" fmla="*/ 385811 w 551837"/>
                <a:gd name="connsiteY6" fmla="*/ 112605 h 565400"/>
                <a:gd name="connsiteX7" fmla="*/ 286144 w 551837"/>
                <a:gd name="connsiteY7" fmla="*/ 143427 h 565400"/>
                <a:gd name="connsiteX8" fmla="*/ 189237 w 551837"/>
                <a:gd name="connsiteY8" fmla="*/ 190945 h 565400"/>
                <a:gd name="connsiteX9" fmla="*/ 116277 w 551837"/>
                <a:gd name="connsiteY9" fmla="*/ 271857 h 565400"/>
                <a:gd name="connsiteX10" fmla="*/ 75774 w 551837"/>
                <a:gd name="connsiteY10" fmla="*/ 371149 h 565400"/>
                <a:gd name="connsiteX11" fmla="*/ 44064 w 551837"/>
                <a:gd name="connsiteY11" fmla="*/ 469366 h 565400"/>
                <a:gd name="connsiteX12" fmla="*/ 21802 w 551837"/>
                <a:gd name="connsiteY12" fmla="*/ 513657 h 565400"/>
                <a:gd name="connsiteX13" fmla="*/ 14786 w 551837"/>
                <a:gd name="connsiteY13" fmla="*/ 523853 h 565400"/>
                <a:gd name="connsiteX14" fmla="*/ 6788 w 551837"/>
                <a:gd name="connsiteY14" fmla="*/ 544151 h 565400"/>
                <a:gd name="connsiteX15" fmla="*/ -1069 w 551837"/>
                <a:gd name="connsiteY15" fmla="*/ 565150 h 565400"/>
                <a:gd name="connsiteX16" fmla="*/ -1069 w 551837"/>
                <a:gd name="connsiteY16" fmla="*/ 565150 h 565400"/>
                <a:gd name="connsiteX17" fmla="*/ 18060 w 551837"/>
                <a:gd name="connsiteY17" fmla="*/ 552943 h 565400"/>
                <a:gd name="connsiteX18" fmla="*/ 36066 w 551837"/>
                <a:gd name="connsiteY18" fmla="*/ 538164 h 565400"/>
                <a:gd name="connsiteX19" fmla="*/ 49302 w 551837"/>
                <a:gd name="connsiteY19" fmla="*/ 518708 h 565400"/>
                <a:gd name="connsiteX20" fmla="*/ 49302 w 551837"/>
                <a:gd name="connsiteY20" fmla="*/ 518708 h 565400"/>
                <a:gd name="connsiteX21" fmla="*/ 68244 w 551837"/>
                <a:gd name="connsiteY21" fmla="*/ 479047 h 565400"/>
                <a:gd name="connsiteX22" fmla="*/ 100749 w 551837"/>
                <a:gd name="connsiteY22" fmla="*/ 378585 h 565400"/>
                <a:gd name="connsiteX23" fmla="*/ 138819 w 551837"/>
                <a:gd name="connsiteY23" fmla="*/ 285046 h 565400"/>
                <a:gd name="connsiteX24" fmla="*/ 204578 w 551837"/>
                <a:gd name="connsiteY24" fmla="*/ 212085 h 565400"/>
                <a:gd name="connsiteX25" fmla="*/ 294470 w 551837"/>
                <a:gd name="connsiteY25" fmla="*/ 168215 h 565400"/>
                <a:gd name="connsiteX26" fmla="*/ 394323 w 551837"/>
                <a:gd name="connsiteY26" fmla="*/ 137300 h 565400"/>
                <a:gd name="connsiteX27" fmla="*/ 490669 w 551837"/>
                <a:gd name="connsiteY27" fmla="*/ 88379 h 565400"/>
                <a:gd name="connsiteX28" fmla="*/ 511669 w 551837"/>
                <a:gd name="connsiteY28" fmla="*/ 70700 h 565400"/>
                <a:gd name="connsiteX29" fmla="*/ 530938 w 551837"/>
                <a:gd name="connsiteY29" fmla="*/ 51103 h 565400"/>
                <a:gd name="connsiteX30" fmla="*/ 544969 w 551837"/>
                <a:gd name="connsiteY30" fmla="*/ 27718 h 565400"/>
                <a:gd name="connsiteX31" fmla="*/ 546372 w 551837"/>
                <a:gd name="connsiteY31" fmla="*/ 12611 h 565400"/>
                <a:gd name="connsiteX32" fmla="*/ 550769 w 551837"/>
                <a:gd name="connsiteY32" fmla="*/ -16 h 56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51837" h="565400">
                  <a:moveTo>
                    <a:pt x="550348" y="-250"/>
                  </a:moveTo>
                  <a:cubicBezTo>
                    <a:pt x="547963" y="3491"/>
                    <a:pt x="544969" y="6812"/>
                    <a:pt x="541461" y="9571"/>
                  </a:cubicBezTo>
                  <a:cubicBezTo>
                    <a:pt x="537299" y="12064"/>
                    <a:pt x="532949" y="14314"/>
                    <a:pt x="528506" y="16306"/>
                  </a:cubicBezTo>
                  <a:cubicBezTo>
                    <a:pt x="520415" y="20983"/>
                    <a:pt x="516393" y="27952"/>
                    <a:pt x="510686" y="33985"/>
                  </a:cubicBezTo>
                  <a:cubicBezTo>
                    <a:pt x="505308" y="40248"/>
                    <a:pt x="499555" y="46141"/>
                    <a:pt x="493382" y="51618"/>
                  </a:cubicBezTo>
                  <a:cubicBezTo>
                    <a:pt x="487489" y="57342"/>
                    <a:pt x="481269" y="62669"/>
                    <a:pt x="474674" y="67566"/>
                  </a:cubicBezTo>
                  <a:cubicBezTo>
                    <a:pt x="447641" y="87205"/>
                    <a:pt x="417615" y="102410"/>
                    <a:pt x="385811" y="112605"/>
                  </a:cubicBezTo>
                  <a:cubicBezTo>
                    <a:pt x="353587" y="123783"/>
                    <a:pt x="319819" y="132108"/>
                    <a:pt x="286144" y="143427"/>
                  </a:cubicBezTo>
                  <a:cubicBezTo>
                    <a:pt x="251582" y="154184"/>
                    <a:pt x="218889" y="170212"/>
                    <a:pt x="189237" y="190945"/>
                  </a:cubicBezTo>
                  <a:cubicBezTo>
                    <a:pt x="159586" y="212567"/>
                    <a:pt x="134704" y="240119"/>
                    <a:pt x="116277" y="271857"/>
                  </a:cubicBezTo>
                  <a:cubicBezTo>
                    <a:pt x="97569" y="303379"/>
                    <a:pt x="85783" y="337334"/>
                    <a:pt x="75774" y="371149"/>
                  </a:cubicBezTo>
                  <a:cubicBezTo>
                    <a:pt x="65765" y="404964"/>
                    <a:pt x="56739" y="438077"/>
                    <a:pt x="44064" y="469366"/>
                  </a:cubicBezTo>
                  <a:cubicBezTo>
                    <a:pt x="37890" y="484720"/>
                    <a:pt x="30454" y="499532"/>
                    <a:pt x="21802" y="513657"/>
                  </a:cubicBezTo>
                  <a:lnTo>
                    <a:pt x="14786" y="523853"/>
                  </a:lnTo>
                  <a:cubicBezTo>
                    <a:pt x="10156" y="529675"/>
                    <a:pt x="7396" y="536742"/>
                    <a:pt x="6788" y="544151"/>
                  </a:cubicBezTo>
                  <a:cubicBezTo>
                    <a:pt x="6368" y="551783"/>
                    <a:pt x="3608" y="559108"/>
                    <a:pt x="-1069" y="565150"/>
                  </a:cubicBezTo>
                  <a:lnTo>
                    <a:pt x="-1069" y="565150"/>
                  </a:lnTo>
                  <a:cubicBezTo>
                    <a:pt x="4123" y="559449"/>
                    <a:pt x="10717" y="555235"/>
                    <a:pt x="18060" y="552943"/>
                  </a:cubicBezTo>
                  <a:cubicBezTo>
                    <a:pt x="25449" y="550039"/>
                    <a:pt x="31764" y="544866"/>
                    <a:pt x="36066" y="538164"/>
                  </a:cubicBezTo>
                  <a:cubicBezTo>
                    <a:pt x="40977" y="532051"/>
                    <a:pt x="45420" y="525541"/>
                    <a:pt x="49302" y="518708"/>
                  </a:cubicBezTo>
                  <a:lnTo>
                    <a:pt x="49302" y="518708"/>
                  </a:lnTo>
                  <a:cubicBezTo>
                    <a:pt x="56645" y="506000"/>
                    <a:pt x="62959" y="492737"/>
                    <a:pt x="68244" y="479047"/>
                  </a:cubicBezTo>
                  <a:cubicBezTo>
                    <a:pt x="81714" y="445747"/>
                    <a:pt x="90741" y="411605"/>
                    <a:pt x="100749" y="378585"/>
                  </a:cubicBezTo>
                  <a:cubicBezTo>
                    <a:pt x="110758" y="345566"/>
                    <a:pt x="121982" y="313575"/>
                    <a:pt x="138819" y="285046"/>
                  </a:cubicBezTo>
                  <a:cubicBezTo>
                    <a:pt x="155423" y="256427"/>
                    <a:pt x="177826" y="231578"/>
                    <a:pt x="204578" y="212085"/>
                  </a:cubicBezTo>
                  <a:cubicBezTo>
                    <a:pt x="232126" y="192928"/>
                    <a:pt x="262432" y="178135"/>
                    <a:pt x="294470" y="168215"/>
                  </a:cubicBezTo>
                  <a:cubicBezTo>
                    <a:pt x="326788" y="157317"/>
                    <a:pt x="360743" y="148946"/>
                    <a:pt x="394323" y="137300"/>
                  </a:cubicBezTo>
                  <a:cubicBezTo>
                    <a:pt x="428839" y="126234"/>
                    <a:pt x="461345" y="109715"/>
                    <a:pt x="490669" y="88379"/>
                  </a:cubicBezTo>
                  <a:cubicBezTo>
                    <a:pt x="498059" y="82963"/>
                    <a:pt x="505074" y="77056"/>
                    <a:pt x="511669" y="70700"/>
                  </a:cubicBezTo>
                  <a:cubicBezTo>
                    <a:pt x="518591" y="64699"/>
                    <a:pt x="525045" y="58147"/>
                    <a:pt x="530938" y="51103"/>
                  </a:cubicBezTo>
                  <a:cubicBezTo>
                    <a:pt x="536597" y="43947"/>
                    <a:pt x="543239" y="37353"/>
                    <a:pt x="544969" y="27718"/>
                  </a:cubicBezTo>
                  <a:cubicBezTo>
                    <a:pt x="545811" y="22760"/>
                    <a:pt x="545577" y="17288"/>
                    <a:pt x="546372" y="12611"/>
                  </a:cubicBezTo>
                  <a:cubicBezTo>
                    <a:pt x="547354" y="8248"/>
                    <a:pt x="548804" y="4011"/>
                    <a:pt x="550769" y="-1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AE39BEAE-2659-4440-92EE-962565063BED}"/>
                </a:ext>
              </a:extLst>
            </p:cNvPr>
            <p:cNvSpPr/>
            <p:nvPr/>
          </p:nvSpPr>
          <p:spPr>
            <a:xfrm>
              <a:off x="8703953" y="5744952"/>
              <a:ext cx="558046" cy="629428"/>
            </a:xfrm>
            <a:custGeom>
              <a:avLst/>
              <a:gdLst>
                <a:gd name="connsiteX0" fmla="*/ 556849 w 558046"/>
                <a:gd name="connsiteY0" fmla="*/ 28981 h 629428"/>
                <a:gd name="connsiteX1" fmla="*/ 553668 w 558046"/>
                <a:gd name="connsiteY1" fmla="*/ 13781 h 629428"/>
                <a:gd name="connsiteX2" fmla="*/ 554791 w 558046"/>
                <a:gd name="connsiteY2" fmla="*/ -250 h 629428"/>
                <a:gd name="connsiteX3" fmla="*/ 554791 w 558046"/>
                <a:gd name="connsiteY3" fmla="*/ -250 h 629428"/>
                <a:gd name="connsiteX4" fmla="*/ 548197 w 558046"/>
                <a:gd name="connsiteY4" fmla="*/ 12050 h 629428"/>
                <a:gd name="connsiteX5" fmla="*/ 537299 w 558046"/>
                <a:gd name="connsiteY5" fmla="*/ 23135 h 629428"/>
                <a:gd name="connsiteX6" fmla="*/ 526729 w 558046"/>
                <a:gd name="connsiteY6" fmla="*/ 48297 h 629428"/>
                <a:gd name="connsiteX7" fmla="*/ 508535 w 558046"/>
                <a:gd name="connsiteY7" fmla="*/ 98434 h 629428"/>
                <a:gd name="connsiteX8" fmla="*/ 449933 w 558046"/>
                <a:gd name="connsiteY8" fmla="*/ 183696 h 629428"/>
                <a:gd name="connsiteX9" fmla="*/ 361398 w 558046"/>
                <a:gd name="connsiteY9" fmla="*/ 237855 h 629428"/>
                <a:gd name="connsiteX10" fmla="*/ 258036 w 558046"/>
                <a:gd name="connsiteY10" fmla="*/ 270874 h 629428"/>
                <a:gd name="connsiteX11" fmla="*/ 155143 w 558046"/>
                <a:gd name="connsiteY11" fmla="*/ 316241 h 629428"/>
                <a:gd name="connsiteX12" fmla="*/ 75634 w 558046"/>
                <a:gd name="connsiteY12" fmla="*/ 398229 h 629428"/>
                <a:gd name="connsiteX13" fmla="*/ 32091 w 558046"/>
                <a:gd name="connsiteY13" fmla="*/ 501964 h 629428"/>
                <a:gd name="connsiteX14" fmla="*/ 11045 w 558046"/>
                <a:gd name="connsiteY14" fmla="*/ 570997 h 629428"/>
                <a:gd name="connsiteX15" fmla="*/ 5292 w 558046"/>
                <a:gd name="connsiteY15" fmla="*/ 585402 h 629428"/>
                <a:gd name="connsiteX16" fmla="*/ 1971 w 558046"/>
                <a:gd name="connsiteY16" fmla="*/ 606963 h 629428"/>
                <a:gd name="connsiteX17" fmla="*/ -1069 w 558046"/>
                <a:gd name="connsiteY17" fmla="*/ 629178 h 629428"/>
                <a:gd name="connsiteX18" fmla="*/ -1069 w 558046"/>
                <a:gd name="connsiteY18" fmla="*/ 629178 h 629428"/>
                <a:gd name="connsiteX19" fmla="*/ 14927 w 558046"/>
                <a:gd name="connsiteY19" fmla="*/ 613043 h 629428"/>
                <a:gd name="connsiteX20" fmla="*/ 29940 w 558046"/>
                <a:gd name="connsiteY20" fmla="*/ 595317 h 629428"/>
                <a:gd name="connsiteX21" fmla="*/ 31203 w 558046"/>
                <a:gd name="connsiteY21" fmla="*/ 592417 h 629428"/>
                <a:gd name="connsiteX22" fmla="*/ 31203 w 558046"/>
                <a:gd name="connsiteY22" fmla="*/ 592417 h 629428"/>
                <a:gd name="connsiteX23" fmla="*/ 31530 w 558046"/>
                <a:gd name="connsiteY23" fmla="*/ 591435 h 629428"/>
                <a:gd name="connsiteX24" fmla="*/ 37563 w 558046"/>
                <a:gd name="connsiteY24" fmla="*/ 573429 h 629428"/>
                <a:gd name="connsiteX25" fmla="*/ 56926 w 558046"/>
                <a:gd name="connsiteY25" fmla="*/ 509494 h 629428"/>
                <a:gd name="connsiteX26" fmla="*/ 97709 w 558046"/>
                <a:gd name="connsiteY26" fmla="*/ 411839 h 629428"/>
                <a:gd name="connsiteX27" fmla="*/ 169361 w 558046"/>
                <a:gd name="connsiteY27" fmla="*/ 337942 h 629428"/>
                <a:gd name="connsiteX28" fmla="*/ 266034 w 558046"/>
                <a:gd name="connsiteY28" fmla="*/ 295850 h 629428"/>
                <a:gd name="connsiteX29" fmla="*/ 371172 w 558046"/>
                <a:gd name="connsiteY29" fmla="*/ 262269 h 629428"/>
                <a:gd name="connsiteX30" fmla="*/ 468033 w 558046"/>
                <a:gd name="connsiteY30" fmla="*/ 202778 h 629428"/>
                <a:gd name="connsiteX31" fmla="*/ 532435 w 558046"/>
                <a:gd name="connsiteY31" fmla="*/ 108864 h 629428"/>
                <a:gd name="connsiteX32" fmla="*/ 551797 w 558046"/>
                <a:gd name="connsiteY32" fmla="*/ 56248 h 629428"/>
                <a:gd name="connsiteX33" fmla="*/ 556849 w 558046"/>
                <a:gd name="connsiteY33" fmla="*/ 28981 h 629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558046" h="629428">
                  <a:moveTo>
                    <a:pt x="556849" y="28981"/>
                  </a:moveTo>
                  <a:cubicBezTo>
                    <a:pt x="556288" y="24070"/>
                    <a:pt x="554323" y="18738"/>
                    <a:pt x="553668" y="13781"/>
                  </a:cubicBezTo>
                  <a:cubicBezTo>
                    <a:pt x="553341" y="9076"/>
                    <a:pt x="553715" y="4343"/>
                    <a:pt x="554791" y="-250"/>
                  </a:cubicBezTo>
                  <a:lnTo>
                    <a:pt x="554791" y="-250"/>
                  </a:lnTo>
                  <a:cubicBezTo>
                    <a:pt x="553201" y="4151"/>
                    <a:pt x="551003" y="8294"/>
                    <a:pt x="548197" y="12050"/>
                  </a:cubicBezTo>
                  <a:cubicBezTo>
                    <a:pt x="544969" y="15885"/>
                    <a:pt x="540433" y="19300"/>
                    <a:pt x="537299" y="23135"/>
                  </a:cubicBezTo>
                  <a:cubicBezTo>
                    <a:pt x="531265" y="30805"/>
                    <a:pt x="529956" y="39878"/>
                    <a:pt x="526729" y="48297"/>
                  </a:cubicBezTo>
                  <a:cubicBezTo>
                    <a:pt x="521631" y="65340"/>
                    <a:pt x="515551" y="82079"/>
                    <a:pt x="508535" y="98434"/>
                  </a:cubicBezTo>
                  <a:cubicBezTo>
                    <a:pt x="495159" y="130631"/>
                    <a:pt x="475188" y="159674"/>
                    <a:pt x="449933" y="183696"/>
                  </a:cubicBezTo>
                  <a:cubicBezTo>
                    <a:pt x="424210" y="207309"/>
                    <a:pt x="394136" y="225704"/>
                    <a:pt x="361398" y="237855"/>
                  </a:cubicBezTo>
                  <a:cubicBezTo>
                    <a:pt x="328659" y="250997"/>
                    <a:pt x="293301" y="259790"/>
                    <a:pt x="258036" y="270874"/>
                  </a:cubicBezTo>
                  <a:cubicBezTo>
                    <a:pt x="222772" y="281959"/>
                    <a:pt x="187086" y="295288"/>
                    <a:pt x="155143" y="316241"/>
                  </a:cubicBezTo>
                  <a:cubicBezTo>
                    <a:pt x="122965" y="337442"/>
                    <a:pt x="95838" y="365429"/>
                    <a:pt x="75634" y="398229"/>
                  </a:cubicBezTo>
                  <a:cubicBezTo>
                    <a:pt x="55476" y="430968"/>
                    <a:pt x="42895" y="466793"/>
                    <a:pt x="32091" y="501964"/>
                  </a:cubicBezTo>
                  <a:cubicBezTo>
                    <a:pt x="24982" y="525349"/>
                    <a:pt x="18481" y="548500"/>
                    <a:pt x="11045" y="570997"/>
                  </a:cubicBezTo>
                  <a:lnTo>
                    <a:pt x="5292" y="585402"/>
                  </a:lnTo>
                  <a:cubicBezTo>
                    <a:pt x="2065" y="592099"/>
                    <a:pt x="896" y="599606"/>
                    <a:pt x="1971" y="606963"/>
                  </a:cubicBezTo>
                  <a:cubicBezTo>
                    <a:pt x="3234" y="614507"/>
                    <a:pt x="2205" y="622256"/>
                    <a:pt x="-1069" y="629178"/>
                  </a:cubicBezTo>
                  <a:lnTo>
                    <a:pt x="-1069" y="629178"/>
                  </a:lnTo>
                  <a:cubicBezTo>
                    <a:pt x="2720" y="622481"/>
                    <a:pt x="8285" y="616910"/>
                    <a:pt x="14927" y="613043"/>
                  </a:cubicBezTo>
                  <a:cubicBezTo>
                    <a:pt x="21661" y="608838"/>
                    <a:pt x="26900" y="602646"/>
                    <a:pt x="29940" y="595317"/>
                  </a:cubicBezTo>
                  <a:cubicBezTo>
                    <a:pt x="30407" y="594335"/>
                    <a:pt x="30782" y="593353"/>
                    <a:pt x="31203" y="592417"/>
                  </a:cubicBezTo>
                  <a:lnTo>
                    <a:pt x="31203" y="592417"/>
                  </a:lnTo>
                  <a:cubicBezTo>
                    <a:pt x="31296" y="592085"/>
                    <a:pt x="31390" y="591753"/>
                    <a:pt x="31530" y="591435"/>
                  </a:cubicBezTo>
                  <a:cubicBezTo>
                    <a:pt x="33868" y="585542"/>
                    <a:pt x="35880" y="579532"/>
                    <a:pt x="37563" y="573429"/>
                  </a:cubicBezTo>
                  <a:cubicBezTo>
                    <a:pt x="44485" y="551961"/>
                    <a:pt x="50519" y="530494"/>
                    <a:pt x="56926" y="509494"/>
                  </a:cubicBezTo>
                  <a:cubicBezTo>
                    <a:pt x="67262" y="474884"/>
                    <a:pt x="79422" y="441444"/>
                    <a:pt x="97709" y="411839"/>
                  </a:cubicBezTo>
                  <a:cubicBezTo>
                    <a:pt x="115903" y="382276"/>
                    <a:pt x="140363" y="357053"/>
                    <a:pt x="169361" y="337942"/>
                  </a:cubicBezTo>
                  <a:cubicBezTo>
                    <a:pt x="198498" y="318954"/>
                    <a:pt x="231705" y="306326"/>
                    <a:pt x="266034" y="295850"/>
                  </a:cubicBezTo>
                  <a:cubicBezTo>
                    <a:pt x="300363" y="285373"/>
                    <a:pt x="336189" y="276159"/>
                    <a:pt x="371172" y="262269"/>
                  </a:cubicBezTo>
                  <a:cubicBezTo>
                    <a:pt x="406998" y="248837"/>
                    <a:pt x="439877" y="228641"/>
                    <a:pt x="468033" y="202778"/>
                  </a:cubicBezTo>
                  <a:cubicBezTo>
                    <a:pt x="495861" y="176343"/>
                    <a:pt x="517796" y="144348"/>
                    <a:pt x="532435" y="108864"/>
                  </a:cubicBezTo>
                  <a:cubicBezTo>
                    <a:pt x="539965" y="91559"/>
                    <a:pt x="546092" y="73833"/>
                    <a:pt x="551797" y="56248"/>
                  </a:cubicBezTo>
                  <a:cubicBezTo>
                    <a:pt x="553809" y="47361"/>
                    <a:pt x="557737" y="38802"/>
                    <a:pt x="556849" y="28981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E1882B23-6E5A-417C-B7AF-0D0335A1218B}"/>
                </a:ext>
              </a:extLst>
            </p:cNvPr>
            <p:cNvSpPr/>
            <p:nvPr/>
          </p:nvSpPr>
          <p:spPr>
            <a:xfrm>
              <a:off x="8763632" y="5725823"/>
              <a:ext cx="560162" cy="649913"/>
            </a:xfrm>
            <a:custGeom>
              <a:avLst/>
              <a:gdLst>
                <a:gd name="connsiteX0" fmla="*/ 559094 w 560162"/>
                <a:gd name="connsiteY0" fmla="*/ -250 h 649913"/>
                <a:gd name="connsiteX1" fmla="*/ 559094 w 560162"/>
                <a:gd name="connsiteY1" fmla="*/ -250 h 649913"/>
                <a:gd name="connsiteX2" fmla="*/ 551189 w 560162"/>
                <a:gd name="connsiteY2" fmla="*/ 11770 h 649913"/>
                <a:gd name="connsiteX3" fmla="*/ 539497 w 560162"/>
                <a:gd name="connsiteY3" fmla="*/ 22620 h 649913"/>
                <a:gd name="connsiteX4" fmla="*/ 532856 w 560162"/>
                <a:gd name="connsiteY4" fmla="*/ 35388 h 649913"/>
                <a:gd name="connsiteX5" fmla="*/ 528179 w 560162"/>
                <a:gd name="connsiteY5" fmla="*/ 48858 h 649913"/>
                <a:gd name="connsiteX6" fmla="*/ 512090 w 560162"/>
                <a:gd name="connsiteY6" fmla="*/ 102503 h 649913"/>
                <a:gd name="connsiteX7" fmla="*/ 469436 w 560162"/>
                <a:gd name="connsiteY7" fmla="*/ 201796 h 649913"/>
                <a:gd name="connsiteX8" fmla="*/ 394090 w 560162"/>
                <a:gd name="connsiteY8" fmla="*/ 275318 h 649913"/>
                <a:gd name="connsiteX9" fmla="*/ 294142 w 560162"/>
                <a:gd name="connsiteY9" fmla="*/ 316896 h 649913"/>
                <a:gd name="connsiteX10" fmla="*/ 186572 w 560162"/>
                <a:gd name="connsiteY10" fmla="*/ 352488 h 649913"/>
                <a:gd name="connsiteX11" fmla="*/ 90413 w 560162"/>
                <a:gd name="connsiteY11" fmla="*/ 418200 h 649913"/>
                <a:gd name="connsiteX12" fmla="*/ 30314 w 560162"/>
                <a:gd name="connsiteY12" fmla="*/ 517679 h 649913"/>
                <a:gd name="connsiteX13" fmla="*/ 4965 w 560162"/>
                <a:gd name="connsiteY13" fmla="*/ 596861 h 649913"/>
                <a:gd name="connsiteX14" fmla="*/ 4965 w 560162"/>
                <a:gd name="connsiteY14" fmla="*/ 596861 h 649913"/>
                <a:gd name="connsiteX15" fmla="*/ 2158 w 560162"/>
                <a:gd name="connsiteY15" fmla="*/ 605560 h 649913"/>
                <a:gd name="connsiteX16" fmla="*/ 381 w 560162"/>
                <a:gd name="connsiteY16" fmla="*/ 627307 h 649913"/>
                <a:gd name="connsiteX17" fmla="*/ -1069 w 560162"/>
                <a:gd name="connsiteY17" fmla="*/ 649664 h 649913"/>
                <a:gd name="connsiteX18" fmla="*/ -1069 w 560162"/>
                <a:gd name="connsiteY18" fmla="*/ 649664 h 649913"/>
                <a:gd name="connsiteX19" fmla="*/ 13711 w 560162"/>
                <a:gd name="connsiteY19" fmla="*/ 632452 h 649913"/>
                <a:gd name="connsiteX20" fmla="*/ 26712 w 560162"/>
                <a:gd name="connsiteY20" fmla="*/ 613090 h 649913"/>
                <a:gd name="connsiteX21" fmla="*/ 33494 w 560162"/>
                <a:gd name="connsiteY21" fmla="*/ 591669 h 649913"/>
                <a:gd name="connsiteX22" fmla="*/ 54494 w 560162"/>
                <a:gd name="connsiteY22" fmla="*/ 527033 h 649913"/>
                <a:gd name="connsiteX23" fmla="*/ 109448 w 560162"/>
                <a:gd name="connsiteY23" fmla="*/ 435972 h 649913"/>
                <a:gd name="connsiteX24" fmla="*/ 196908 w 560162"/>
                <a:gd name="connsiteY24" fmla="*/ 376387 h 649913"/>
                <a:gd name="connsiteX25" fmla="*/ 301813 w 560162"/>
                <a:gd name="connsiteY25" fmla="*/ 341824 h 649913"/>
                <a:gd name="connsiteX26" fmla="*/ 407933 w 560162"/>
                <a:gd name="connsiteY26" fmla="*/ 297440 h 649913"/>
                <a:gd name="connsiteX27" fmla="*/ 491464 w 560162"/>
                <a:gd name="connsiteY27" fmla="*/ 215826 h 649913"/>
                <a:gd name="connsiteX28" fmla="*/ 536925 w 560162"/>
                <a:gd name="connsiteY28" fmla="*/ 110033 h 649913"/>
                <a:gd name="connsiteX29" fmla="*/ 552873 w 560162"/>
                <a:gd name="connsiteY29" fmla="*/ 56341 h 649913"/>
                <a:gd name="connsiteX30" fmla="*/ 559047 w 560162"/>
                <a:gd name="connsiteY30" fmla="*/ 29308 h 649913"/>
                <a:gd name="connsiteX31" fmla="*/ 556802 w 560162"/>
                <a:gd name="connsiteY31" fmla="*/ 13828 h 649913"/>
                <a:gd name="connsiteX32" fmla="*/ 559094 w 560162"/>
                <a:gd name="connsiteY32" fmla="*/ -250 h 649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60162" h="649913">
                  <a:moveTo>
                    <a:pt x="559094" y="-250"/>
                  </a:moveTo>
                  <a:lnTo>
                    <a:pt x="559094" y="-250"/>
                  </a:lnTo>
                  <a:cubicBezTo>
                    <a:pt x="557082" y="4137"/>
                    <a:pt x="554417" y="8192"/>
                    <a:pt x="551189" y="11770"/>
                  </a:cubicBezTo>
                  <a:cubicBezTo>
                    <a:pt x="547542" y="15418"/>
                    <a:pt x="542724" y="18692"/>
                    <a:pt x="539497" y="22620"/>
                  </a:cubicBezTo>
                  <a:cubicBezTo>
                    <a:pt x="536457" y="26395"/>
                    <a:pt x="534212" y="30735"/>
                    <a:pt x="532856" y="35388"/>
                  </a:cubicBezTo>
                  <a:lnTo>
                    <a:pt x="528179" y="48858"/>
                  </a:lnTo>
                  <a:lnTo>
                    <a:pt x="512090" y="102503"/>
                  </a:lnTo>
                  <a:cubicBezTo>
                    <a:pt x="501426" y="137814"/>
                    <a:pt x="488705" y="171863"/>
                    <a:pt x="469436" y="201796"/>
                  </a:cubicBezTo>
                  <a:cubicBezTo>
                    <a:pt x="450167" y="231672"/>
                    <a:pt x="424443" y="256806"/>
                    <a:pt x="394090" y="275318"/>
                  </a:cubicBezTo>
                  <a:cubicBezTo>
                    <a:pt x="363830" y="294026"/>
                    <a:pt x="329547" y="306279"/>
                    <a:pt x="294142" y="316896"/>
                  </a:cubicBezTo>
                  <a:cubicBezTo>
                    <a:pt x="258738" y="327513"/>
                    <a:pt x="222023" y="337288"/>
                    <a:pt x="186572" y="352488"/>
                  </a:cubicBezTo>
                  <a:cubicBezTo>
                    <a:pt x="150232" y="367370"/>
                    <a:pt x="117493" y="389764"/>
                    <a:pt x="90413" y="418200"/>
                  </a:cubicBezTo>
                  <a:cubicBezTo>
                    <a:pt x="63988" y="447061"/>
                    <a:pt x="43597" y="480876"/>
                    <a:pt x="30314" y="517679"/>
                  </a:cubicBezTo>
                  <a:cubicBezTo>
                    <a:pt x="20212" y="544010"/>
                    <a:pt x="12681" y="570669"/>
                    <a:pt x="4965" y="596861"/>
                  </a:cubicBezTo>
                  <a:lnTo>
                    <a:pt x="4965" y="596861"/>
                  </a:lnTo>
                  <a:lnTo>
                    <a:pt x="2158" y="605560"/>
                  </a:lnTo>
                  <a:cubicBezTo>
                    <a:pt x="-554" y="612477"/>
                    <a:pt x="-1162" y="620040"/>
                    <a:pt x="381" y="627307"/>
                  </a:cubicBezTo>
                  <a:cubicBezTo>
                    <a:pt x="2158" y="634735"/>
                    <a:pt x="1691" y="642531"/>
                    <a:pt x="-1069" y="649664"/>
                  </a:cubicBezTo>
                  <a:lnTo>
                    <a:pt x="-1069" y="649664"/>
                  </a:lnTo>
                  <a:cubicBezTo>
                    <a:pt x="2252" y="642732"/>
                    <a:pt x="7350" y="636792"/>
                    <a:pt x="13711" y="632452"/>
                  </a:cubicBezTo>
                  <a:cubicBezTo>
                    <a:pt x="19978" y="627546"/>
                    <a:pt x="24561" y="620764"/>
                    <a:pt x="26712" y="613090"/>
                  </a:cubicBezTo>
                  <a:cubicBezTo>
                    <a:pt x="29519" y="606125"/>
                    <a:pt x="31764" y="598970"/>
                    <a:pt x="33494" y="591669"/>
                  </a:cubicBezTo>
                  <a:cubicBezTo>
                    <a:pt x="39949" y="569640"/>
                    <a:pt x="46450" y="547892"/>
                    <a:pt x="54494" y="527033"/>
                  </a:cubicBezTo>
                  <a:cubicBezTo>
                    <a:pt x="66607" y="493335"/>
                    <a:pt x="85268" y="462378"/>
                    <a:pt x="109448" y="435972"/>
                  </a:cubicBezTo>
                  <a:cubicBezTo>
                    <a:pt x="134049" y="410155"/>
                    <a:pt x="163889" y="389848"/>
                    <a:pt x="196908" y="376387"/>
                  </a:cubicBezTo>
                  <a:cubicBezTo>
                    <a:pt x="230115" y="362356"/>
                    <a:pt x="265800" y="352628"/>
                    <a:pt x="301813" y="341824"/>
                  </a:cubicBezTo>
                  <a:cubicBezTo>
                    <a:pt x="337825" y="331021"/>
                    <a:pt x="374540" y="318019"/>
                    <a:pt x="407933" y="297440"/>
                  </a:cubicBezTo>
                  <a:cubicBezTo>
                    <a:pt x="441561" y="276889"/>
                    <a:pt x="470137" y="248986"/>
                    <a:pt x="491464" y="215826"/>
                  </a:cubicBezTo>
                  <a:cubicBezTo>
                    <a:pt x="512557" y="182667"/>
                    <a:pt x="526074" y="146046"/>
                    <a:pt x="536925" y="110033"/>
                  </a:cubicBezTo>
                  <a:lnTo>
                    <a:pt x="552873" y="56341"/>
                  </a:lnTo>
                  <a:cubicBezTo>
                    <a:pt x="555072" y="47315"/>
                    <a:pt x="559187" y="39037"/>
                    <a:pt x="559047" y="29308"/>
                  </a:cubicBezTo>
                  <a:cubicBezTo>
                    <a:pt x="559047" y="24631"/>
                    <a:pt x="556989" y="18832"/>
                    <a:pt x="556802" y="13828"/>
                  </a:cubicBezTo>
                  <a:cubicBezTo>
                    <a:pt x="556802" y="9043"/>
                    <a:pt x="557597" y="4291"/>
                    <a:pt x="559094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67B4EADD-9677-4D2B-A418-84FA06E166FD}"/>
                </a:ext>
              </a:extLst>
            </p:cNvPr>
            <p:cNvSpPr/>
            <p:nvPr/>
          </p:nvSpPr>
          <p:spPr>
            <a:xfrm>
              <a:off x="8820849" y="5711559"/>
              <a:ext cx="576139" cy="663710"/>
            </a:xfrm>
            <a:custGeom>
              <a:avLst/>
              <a:gdLst>
                <a:gd name="connsiteX0" fmla="*/ 575071 w 576139"/>
                <a:gd name="connsiteY0" fmla="*/ -250 h 663710"/>
                <a:gd name="connsiteX1" fmla="*/ 575071 w 576139"/>
                <a:gd name="connsiteY1" fmla="*/ -250 h 663710"/>
                <a:gd name="connsiteX2" fmla="*/ 564735 w 576139"/>
                <a:gd name="connsiteY2" fmla="*/ 10226 h 663710"/>
                <a:gd name="connsiteX3" fmla="*/ 550938 w 576139"/>
                <a:gd name="connsiteY3" fmla="*/ 19159 h 663710"/>
                <a:gd name="connsiteX4" fmla="*/ 535878 w 576139"/>
                <a:gd name="connsiteY4" fmla="*/ 44789 h 663710"/>
                <a:gd name="connsiteX5" fmla="*/ 515767 w 576139"/>
                <a:gd name="connsiteY5" fmla="*/ 99837 h 663710"/>
                <a:gd name="connsiteX6" fmla="*/ 481017 w 576139"/>
                <a:gd name="connsiteY6" fmla="*/ 207829 h 663710"/>
                <a:gd name="connsiteX7" fmla="*/ 330465 w 576139"/>
                <a:gd name="connsiteY7" fmla="*/ 356697 h 663710"/>
                <a:gd name="connsiteX8" fmla="*/ 222286 w 576139"/>
                <a:gd name="connsiteY8" fmla="*/ 391260 h 663710"/>
                <a:gd name="connsiteX9" fmla="*/ 167238 w 576139"/>
                <a:gd name="connsiteY9" fmla="*/ 411558 h 663710"/>
                <a:gd name="connsiteX10" fmla="*/ 115323 w 576139"/>
                <a:gd name="connsiteY10" fmla="*/ 441117 h 663710"/>
                <a:gd name="connsiteX11" fmla="*/ 103163 w 576139"/>
                <a:gd name="connsiteY11" fmla="*/ 450003 h 663710"/>
                <a:gd name="connsiteX12" fmla="*/ 91892 w 576139"/>
                <a:gd name="connsiteY12" fmla="*/ 459965 h 663710"/>
                <a:gd name="connsiteX13" fmla="*/ 80760 w 576139"/>
                <a:gd name="connsiteY13" fmla="*/ 470114 h 663710"/>
                <a:gd name="connsiteX14" fmla="*/ 70518 w 576139"/>
                <a:gd name="connsiteY14" fmla="*/ 481152 h 663710"/>
                <a:gd name="connsiteX15" fmla="*/ 36142 w 576139"/>
                <a:gd name="connsiteY15" fmla="*/ 530354 h 663710"/>
                <a:gd name="connsiteX16" fmla="*/ 6210 w 576139"/>
                <a:gd name="connsiteY16" fmla="*/ 602192 h 663710"/>
                <a:gd name="connsiteX17" fmla="*/ 6210 w 576139"/>
                <a:gd name="connsiteY17" fmla="*/ 602192 h 663710"/>
                <a:gd name="connsiteX18" fmla="*/ 6210 w 576139"/>
                <a:gd name="connsiteY18" fmla="*/ 602473 h 663710"/>
                <a:gd name="connsiteX19" fmla="*/ 1533 w 576139"/>
                <a:gd name="connsiteY19" fmla="*/ 617813 h 663710"/>
                <a:gd name="connsiteX20" fmla="*/ 1533 w 576139"/>
                <a:gd name="connsiteY20" fmla="*/ 617813 h 663710"/>
                <a:gd name="connsiteX21" fmla="*/ 1111 w 576139"/>
                <a:gd name="connsiteY21" fmla="*/ 619029 h 663710"/>
                <a:gd name="connsiteX22" fmla="*/ 36 w 576139"/>
                <a:gd name="connsiteY22" fmla="*/ 641105 h 663710"/>
                <a:gd name="connsiteX23" fmla="*/ -993 w 576139"/>
                <a:gd name="connsiteY23" fmla="*/ 663461 h 663710"/>
                <a:gd name="connsiteX24" fmla="*/ -993 w 576139"/>
                <a:gd name="connsiteY24" fmla="*/ 663461 h 663710"/>
                <a:gd name="connsiteX25" fmla="*/ 13459 w 576139"/>
                <a:gd name="connsiteY25" fmla="*/ 645922 h 663710"/>
                <a:gd name="connsiteX26" fmla="*/ 25198 w 576139"/>
                <a:gd name="connsiteY26" fmla="*/ 628898 h 663710"/>
                <a:gd name="connsiteX27" fmla="*/ 25198 w 576139"/>
                <a:gd name="connsiteY27" fmla="*/ 628898 h 663710"/>
                <a:gd name="connsiteX28" fmla="*/ 26320 w 576139"/>
                <a:gd name="connsiteY28" fmla="*/ 625296 h 663710"/>
                <a:gd name="connsiteX29" fmla="*/ 30997 w 576139"/>
                <a:gd name="connsiteY29" fmla="*/ 610611 h 663710"/>
                <a:gd name="connsiteX30" fmla="*/ 59059 w 576139"/>
                <a:gd name="connsiteY30" fmla="*/ 542748 h 663710"/>
                <a:gd name="connsiteX31" fmla="*/ 90114 w 576139"/>
                <a:gd name="connsiteY31" fmla="*/ 498223 h 663710"/>
                <a:gd name="connsiteX32" fmla="*/ 99468 w 576139"/>
                <a:gd name="connsiteY32" fmla="*/ 488308 h 663710"/>
                <a:gd name="connsiteX33" fmla="*/ 109477 w 576139"/>
                <a:gd name="connsiteY33" fmla="*/ 479187 h 663710"/>
                <a:gd name="connsiteX34" fmla="*/ 119626 w 576139"/>
                <a:gd name="connsiteY34" fmla="*/ 470208 h 663710"/>
                <a:gd name="connsiteX35" fmla="*/ 130617 w 576139"/>
                <a:gd name="connsiteY35" fmla="*/ 462210 h 663710"/>
                <a:gd name="connsiteX36" fmla="*/ 178042 w 576139"/>
                <a:gd name="connsiteY36" fmla="*/ 435224 h 663710"/>
                <a:gd name="connsiteX37" fmla="*/ 230377 w 576139"/>
                <a:gd name="connsiteY37" fmla="*/ 415955 h 663710"/>
                <a:gd name="connsiteX38" fmla="*/ 340239 w 576139"/>
                <a:gd name="connsiteY38" fmla="*/ 380784 h 663710"/>
                <a:gd name="connsiteX39" fmla="*/ 440935 w 576139"/>
                <a:gd name="connsiteY39" fmla="*/ 317551 h 663710"/>
                <a:gd name="connsiteX40" fmla="*/ 505150 w 576139"/>
                <a:gd name="connsiteY40" fmla="*/ 217463 h 663710"/>
                <a:gd name="connsiteX41" fmla="*/ 540368 w 576139"/>
                <a:gd name="connsiteY41" fmla="*/ 107461 h 663710"/>
                <a:gd name="connsiteX42" fmla="*/ 559543 w 576139"/>
                <a:gd name="connsiteY42" fmla="*/ 55032 h 663710"/>
                <a:gd name="connsiteX43" fmla="*/ 565016 w 576139"/>
                <a:gd name="connsiteY43" fmla="*/ 42357 h 663710"/>
                <a:gd name="connsiteX44" fmla="*/ 569693 w 576139"/>
                <a:gd name="connsiteY44" fmla="*/ 29262 h 663710"/>
                <a:gd name="connsiteX45" fmla="*/ 569693 w 576139"/>
                <a:gd name="connsiteY45" fmla="*/ 21404 h 663710"/>
                <a:gd name="connsiteX46" fmla="*/ 570113 w 576139"/>
                <a:gd name="connsiteY46" fmla="*/ 13500 h 663710"/>
                <a:gd name="connsiteX47" fmla="*/ 575071 w 576139"/>
                <a:gd name="connsiteY47" fmla="*/ -250 h 663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76139" h="663710">
                  <a:moveTo>
                    <a:pt x="575071" y="-250"/>
                  </a:moveTo>
                  <a:lnTo>
                    <a:pt x="575071" y="-250"/>
                  </a:lnTo>
                  <a:cubicBezTo>
                    <a:pt x="572218" y="3777"/>
                    <a:pt x="568710" y="7317"/>
                    <a:pt x="564735" y="10226"/>
                  </a:cubicBezTo>
                  <a:cubicBezTo>
                    <a:pt x="559824" y="12700"/>
                    <a:pt x="555194" y="15698"/>
                    <a:pt x="550938" y="19159"/>
                  </a:cubicBezTo>
                  <a:cubicBezTo>
                    <a:pt x="543221" y="26268"/>
                    <a:pt x="540321" y="35996"/>
                    <a:pt x="535878" y="44789"/>
                  </a:cubicBezTo>
                  <a:cubicBezTo>
                    <a:pt x="528255" y="62781"/>
                    <a:pt x="521519" y="81157"/>
                    <a:pt x="515767" y="99837"/>
                  </a:cubicBezTo>
                  <a:cubicBezTo>
                    <a:pt x="504262" y="136739"/>
                    <a:pt x="494767" y="173453"/>
                    <a:pt x="481017" y="207829"/>
                  </a:cubicBezTo>
                  <a:cubicBezTo>
                    <a:pt x="455621" y="277465"/>
                    <a:pt x="400385" y="332082"/>
                    <a:pt x="330465" y="356697"/>
                  </a:cubicBezTo>
                  <a:cubicBezTo>
                    <a:pt x="296136" y="370494"/>
                    <a:pt x="259141" y="379474"/>
                    <a:pt x="222286" y="391260"/>
                  </a:cubicBezTo>
                  <a:cubicBezTo>
                    <a:pt x="203578" y="397064"/>
                    <a:pt x="185244" y="403836"/>
                    <a:pt x="167238" y="411558"/>
                  </a:cubicBezTo>
                  <a:cubicBezTo>
                    <a:pt x="148997" y="419710"/>
                    <a:pt x="131646" y="429607"/>
                    <a:pt x="115323" y="441117"/>
                  </a:cubicBezTo>
                  <a:lnTo>
                    <a:pt x="103163" y="450003"/>
                  </a:lnTo>
                  <a:cubicBezTo>
                    <a:pt x="99235" y="453090"/>
                    <a:pt x="95633" y="456644"/>
                    <a:pt x="91892" y="459965"/>
                  </a:cubicBezTo>
                  <a:cubicBezTo>
                    <a:pt x="88150" y="463286"/>
                    <a:pt x="84362" y="466606"/>
                    <a:pt x="80760" y="470114"/>
                  </a:cubicBezTo>
                  <a:cubicBezTo>
                    <a:pt x="77159" y="473622"/>
                    <a:pt x="73745" y="477317"/>
                    <a:pt x="70518" y="481152"/>
                  </a:cubicBezTo>
                  <a:cubicBezTo>
                    <a:pt x="57329" y="496259"/>
                    <a:pt x="45777" y="512754"/>
                    <a:pt x="36142" y="530354"/>
                  </a:cubicBezTo>
                  <a:cubicBezTo>
                    <a:pt x="23982" y="553327"/>
                    <a:pt x="13973" y="577376"/>
                    <a:pt x="6210" y="602192"/>
                  </a:cubicBezTo>
                  <a:lnTo>
                    <a:pt x="6210" y="602192"/>
                  </a:lnTo>
                  <a:lnTo>
                    <a:pt x="6210" y="602473"/>
                  </a:lnTo>
                  <a:cubicBezTo>
                    <a:pt x="4526" y="607571"/>
                    <a:pt x="2889" y="612715"/>
                    <a:pt x="1533" y="617813"/>
                  </a:cubicBezTo>
                  <a:lnTo>
                    <a:pt x="1533" y="617813"/>
                  </a:lnTo>
                  <a:lnTo>
                    <a:pt x="1111" y="619029"/>
                  </a:lnTo>
                  <a:cubicBezTo>
                    <a:pt x="-1367" y="626129"/>
                    <a:pt x="-1742" y="633799"/>
                    <a:pt x="36" y="641105"/>
                  </a:cubicBezTo>
                  <a:cubicBezTo>
                    <a:pt x="2000" y="648485"/>
                    <a:pt x="1626" y="656286"/>
                    <a:pt x="-993" y="663461"/>
                  </a:cubicBezTo>
                  <a:lnTo>
                    <a:pt x="-993" y="663461"/>
                  </a:lnTo>
                  <a:cubicBezTo>
                    <a:pt x="2187" y="656450"/>
                    <a:pt x="7192" y="650402"/>
                    <a:pt x="13459" y="645922"/>
                  </a:cubicBezTo>
                  <a:cubicBezTo>
                    <a:pt x="18931" y="641521"/>
                    <a:pt x="23047" y="635600"/>
                    <a:pt x="25198" y="628898"/>
                  </a:cubicBezTo>
                  <a:lnTo>
                    <a:pt x="25198" y="628898"/>
                  </a:lnTo>
                  <a:lnTo>
                    <a:pt x="26320" y="625296"/>
                  </a:lnTo>
                  <a:cubicBezTo>
                    <a:pt x="28144" y="620245"/>
                    <a:pt x="29641" y="615942"/>
                    <a:pt x="30997" y="610611"/>
                  </a:cubicBezTo>
                  <a:cubicBezTo>
                    <a:pt x="38247" y="587174"/>
                    <a:pt x="47648" y="564458"/>
                    <a:pt x="59059" y="542748"/>
                  </a:cubicBezTo>
                  <a:cubicBezTo>
                    <a:pt x="67758" y="526818"/>
                    <a:pt x="78188" y="511889"/>
                    <a:pt x="90114" y="498223"/>
                  </a:cubicBezTo>
                  <a:cubicBezTo>
                    <a:pt x="93014" y="494762"/>
                    <a:pt x="96288" y="491628"/>
                    <a:pt x="99468" y="488308"/>
                  </a:cubicBezTo>
                  <a:cubicBezTo>
                    <a:pt x="102649" y="484987"/>
                    <a:pt x="106157" y="482228"/>
                    <a:pt x="109477" y="479187"/>
                  </a:cubicBezTo>
                  <a:cubicBezTo>
                    <a:pt x="112798" y="476147"/>
                    <a:pt x="116119" y="473014"/>
                    <a:pt x="119626" y="470208"/>
                  </a:cubicBezTo>
                  <a:lnTo>
                    <a:pt x="130617" y="462210"/>
                  </a:lnTo>
                  <a:cubicBezTo>
                    <a:pt x="145537" y="451710"/>
                    <a:pt x="161392" y="442670"/>
                    <a:pt x="178042" y="435224"/>
                  </a:cubicBezTo>
                  <a:cubicBezTo>
                    <a:pt x="195159" y="427890"/>
                    <a:pt x="212605" y="421459"/>
                    <a:pt x="230377" y="415955"/>
                  </a:cubicBezTo>
                  <a:cubicBezTo>
                    <a:pt x="266203" y="404496"/>
                    <a:pt x="303666" y="395423"/>
                    <a:pt x="340239" y="380784"/>
                  </a:cubicBezTo>
                  <a:cubicBezTo>
                    <a:pt x="377749" y="366734"/>
                    <a:pt x="411985" y="345225"/>
                    <a:pt x="440935" y="317551"/>
                  </a:cubicBezTo>
                  <a:cubicBezTo>
                    <a:pt x="468997" y="288970"/>
                    <a:pt x="490885" y="254893"/>
                    <a:pt x="505150" y="217463"/>
                  </a:cubicBezTo>
                  <a:cubicBezTo>
                    <a:pt x="519836" y="180889"/>
                    <a:pt x="529143" y="143380"/>
                    <a:pt x="540368" y="107461"/>
                  </a:cubicBezTo>
                  <a:cubicBezTo>
                    <a:pt x="545606" y="89590"/>
                    <a:pt x="552013" y="72075"/>
                    <a:pt x="559543" y="55032"/>
                  </a:cubicBezTo>
                  <a:lnTo>
                    <a:pt x="565016" y="42357"/>
                  </a:lnTo>
                  <a:cubicBezTo>
                    <a:pt x="567354" y="38316"/>
                    <a:pt x="568944" y="33878"/>
                    <a:pt x="569693" y="29262"/>
                  </a:cubicBezTo>
                  <a:cubicBezTo>
                    <a:pt x="569973" y="26647"/>
                    <a:pt x="569973" y="24019"/>
                    <a:pt x="569693" y="21404"/>
                  </a:cubicBezTo>
                  <a:cubicBezTo>
                    <a:pt x="569693" y="18785"/>
                    <a:pt x="569693" y="16026"/>
                    <a:pt x="570113" y="13500"/>
                  </a:cubicBezTo>
                  <a:cubicBezTo>
                    <a:pt x="571002" y="8674"/>
                    <a:pt x="572686" y="4025"/>
                    <a:pt x="575071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F5ACF692-AD04-4EB8-ADC1-CA36A647B7B0}"/>
                </a:ext>
              </a:extLst>
            </p:cNvPr>
            <p:cNvSpPr/>
            <p:nvPr/>
          </p:nvSpPr>
          <p:spPr>
            <a:xfrm>
              <a:off x="8875365" y="5682889"/>
              <a:ext cx="640699" cy="691304"/>
            </a:xfrm>
            <a:custGeom>
              <a:avLst/>
              <a:gdLst>
                <a:gd name="connsiteX0" fmla="*/ 639350 w 640699"/>
                <a:gd name="connsiteY0" fmla="*/ -250 h 691304"/>
                <a:gd name="connsiteX1" fmla="*/ 624525 w 640699"/>
                <a:gd name="connsiteY1" fmla="*/ 5128 h 691304"/>
                <a:gd name="connsiteX2" fmla="*/ 607407 w 640699"/>
                <a:gd name="connsiteY2" fmla="*/ 8309 h 691304"/>
                <a:gd name="connsiteX3" fmla="*/ 594171 w 640699"/>
                <a:gd name="connsiteY3" fmla="*/ 17663 h 691304"/>
                <a:gd name="connsiteX4" fmla="*/ 582385 w 640699"/>
                <a:gd name="connsiteY4" fmla="*/ 28560 h 691304"/>
                <a:gd name="connsiteX5" fmla="*/ 543379 w 640699"/>
                <a:gd name="connsiteY5" fmla="*/ 79165 h 691304"/>
                <a:gd name="connsiteX6" fmla="*/ 515972 w 640699"/>
                <a:gd name="connsiteY6" fmla="*/ 136177 h 691304"/>
                <a:gd name="connsiteX7" fmla="*/ 496702 w 640699"/>
                <a:gd name="connsiteY7" fmla="*/ 195014 h 691304"/>
                <a:gd name="connsiteX8" fmla="*/ 456294 w 640699"/>
                <a:gd name="connsiteY8" fmla="*/ 307261 h 691304"/>
                <a:gd name="connsiteX9" fmla="*/ 381789 w 640699"/>
                <a:gd name="connsiteY9" fmla="*/ 394394 h 691304"/>
                <a:gd name="connsiteX10" fmla="*/ 275061 w 640699"/>
                <a:gd name="connsiteY10" fmla="*/ 443081 h 691304"/>
                <a:gd name="connsiteX11" fmla="*/ 157855 w 640699"/>
                <a:gd name="connsiteY11" fmla="*/ 481853 h 691304"/>
                <a:gd name="connsiteX12" fmla="*/ 55242 w 640699"/>
                <a:gd name="connsiteY12" fmla="*/ 556405 h 691304"/>
                <a:gd name="connsiteX13" fmla="*/ 10436 w 640699"/>
                <a:gd name="connsiteY13" fmla="*/ 630394 h 691304"/>
                <a:gd name="connsiteX14" fmla="*/ 10436 w 640699"/>
                <a:gd name="connsiteY14" fmla="*/ 630394 h 691304"/>
                <a:gd name="connsiteX15" fmla="*/ 3889 w 640699"/>
                <a:gd name="connsiteY15" fmla="*/ 646436 h 691304"/>
                <a:gd name="connsiteX16" fmla="*/ 1410 w 640699"/>
                <a:gd name="connsiteY16" fmla="*/ 668792 h 691304"/>
                <a:gd name="connsiteX17" fmla="*/ -1069 w 640699"/>
                <a:gd name="connsiteY17" fmla="*/ 691055 h 691304"/>
                <a:gd name="connsiteX18" fmla="*/ -1069 w 640699"/>
                <a:gd name="connsiteY18" fmla="*/ 691055 h 691304"/>
                <a:gd name="connsiteX19" fmla="*/ 14505 w 640699"/>
                <a:gd name="connsiteY19" fmla="*/ 674498 h 691304"/>
                <a:gd name="connsiteX20" fmla="*/ 28536 w 640699"/>
                <a:gd name="connsiteY20" fmla="*/ 655790 h 691304"/>
                <a:gd name="connsiteX21" fmla="*/ 34009 w 640699"/>
                <a:gd name="connsiteY21" fmla="*/ 642134 h 691304"/>
                <a:gd name="connsiteX22" fmla="*/ 75306 w 640699"/>
                <a:gd name="connsiteY22" fmla="*/ 573288 h 691304"/>
                <a:gd name="connsiteX23" fmla="*/ 168519 w 640699"/>
                <a:gd name="connsiteY23" fmla="*/ 505753 h 691304"/>
                <a:gd name="connsiteX24" fmla="*/ 282964 w 640699"/>
                <a:gd name="connsiteY24" fmla="*/ 468009 h 691304"/>
                <a:gd name="connsiteX25" fmla="*/ 397130 w 640699"/>
                <a:gd name="connsiteY25" fmla="*/ 415674 h 691304"/>
                <a:gd name="connsiteX26" fmla="*/ 479585 w 640699"/>
                <a:gd name="connsiteY26" fmla="*/ 319188 h 691304"/>
                <a:gd name="connsiteX27" fmla="*/ 521678 w 640699"/>
                <a:gd name="connsiteY27" fmla="*/ 202263 h 691304"/>
                <a:gd name="connsiteX28" fmla="*/ 540105 w 640699"/>
                <a:gd name="connsiteY28" fmla="*/ 145064 h 691304"/>
                <a:gd name="connsiteX29" fmla="*/ 565454 w 640699"/>
                <a:gd name="connsiteY29" fmla="*/ 92214 h 691304"/>
                <a:gd name="connsiteX30" fmla="*/ 600718 w 640699"/>
                <a:gd name="connsiteY30" fmla="*/ 46426 h 691304"/>
                <a:gd name="connsiteX31" fmla="*/ 611102 w 640699"/>
                <a:gd name="connsiteY31" fmla="*/ 36371 h 691304"/>
                <a:gd name="connsiteX32" fmla="*/ 621344 w 640699"/>
                <a:gd name="connsiteY32" fmla="*/ 25941 h 691304"/>
                <a:gd name="connsiteX33" fmla="*/ 628827 w 640699"/>
                <a:gd name="connsiteY33" fmla="*/ 11068 h 691304"/>
                <a:gd name="connsiteX34" fmla="*/ 639631 w 640699"/>
                <a:gd name="connsiteY34" fmla="*/ -63 h 691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40699" h="691304">
                  <a:moveTo>
                    <a:pt x="639350" y="-250"/>
                  </a:moveTo>
                  <a:cubicBezTo>
                    <a:pt x="634673" y="2247"/>
                    <a:pt x="629716" y="4062"/>
                    <a:pt x="624525" y="5128"/>
                  </a:cubicBezTo>
                  <a:cubicBezTo>
                    <a:pt x="618678" y="5390"/>
                    <a:pt x="612926" y="6461"/>
                    <a:pt x="607407" y="8309"/>
                  </a:cubicBezTo>
                  <a:cubicBezTo>
                    <a:pt x="602496" y="10661"/>
                    <a:pt x="598006" y="13823"/>
                    <a:pt x="594171" y="17663"/>
                  </a:cubicBezTo>
                  <a:cubicBezTo>
                    <a:pt x="590149" y="21170"/>
                    <a:pt x="586080" y="24678"/>
                    <a:pt x="582385" y="28560"/>
                  </a:cubicBezTo>
                  <a:cubicBezTo>
                    <a:pt x="567559" y="43924"/>
                    <a:pt x="554464" y="60901"/>
                    <a:pt x="543379" y="79165"/>
                  </a:cubicBezTo>
                  <a:cubicBezTo>
                    <a:pt x="532528" y="97298"/>
                    <a:pt x="523362" y="116384"/>
                    <a:pt x="515972" y="136177"/>
                  </a:cubicBezTo>
                  <a:cubicBezTo>
                    <a:pt x="508816" y="155727"/>
                    <a:pt x="502409" y="175464"/>
                    <a:pt x="496702" y="195014"/>
                  </a:cubicBezTo>
                  <a:cubicBezTo>
                    <a:pt x="485104" y="234207"/>
                    <a:pt x="474253" y="272698"/>
                    <a:pt x="456294" y="307261"/>
                  </a:cubicBezTo>
                  <a:cubicBezTo>
                    <a:pt x="438989" y="341969"/>
                    <a:pt x="413406" y="371893"/>
                    <a:pt x="381789" y="394394"/>
                  </a:cubicBezTo>
                  <a:cubicBezTo>
                    <a:pt x="350593" y="417311"/>
                    <a:pt x="313365" y="431202"/>
                    <a:pt x="275061" y="443081"/>
                  </a:cubicBezTo>
                  <a:cubicBezTo>
                    <a:pt x="236756" y="454961"/>
                    <a:pt x="196534" y="465110"/>
                    <a:pt x="157855" y="481853"/>
                  </a:cubicBezTo>
                  <a:cubicBezTo>
                    <a:pt x="118475" y="498639"/>
                    <a:pt x="83397" y="524129"/>
                    <a:pt x="55242" y="556405"/>
                  </a:cubicBezTo>
                  <a:cubicBezTo>
                    <a:pt x="36721" y="578704"/>
                    <a:pt x="21615" y="603642"/>
                    <a:pt x="10436" y="630394"/>
                  </a:cubicBezTo>
                  <a:lnTo>
                    <a:pt x="10436" y="630394"/>
                  </a:lnTo>
                  <a:lnTo>
                    <a:pt x="3889" y="646436"/>
                  </a:lnTo>
                  <a:cubicBezTo>
                    <a:pt x="942" y="653499"/>
                    <a:pt x="101" y="661258"/>
                    <a:pt x="1410" y="668792"/>
                  </a:cubicBezTo>
                  <a:cubicBezTo>
                    <a:pt x="2860" y="676294"/>
                    <a:pt x="2018" y="684063"/>
                    <a:pt x="-1069" y="691055"/>
                  </a:cubicBezTo>
                  <a:lnTo>
                    <a:pt x="-1069" y="691055"/>
                  </a:lnTo>
                  <a:cubicBezTo>
                    <a:pt x="2579" y="684264"/>
                    <a:pt x="7958" y="678553"/>
                    <a:pt x="14505" y="674498"/>
                  </a:cubicBezTo>
                  <a:cubicBezTo>
                    <a:pt x="21053" y="669920"/>
                    <a:pt x="25964" y="663367"/>
                    <a:pt x="28536" y="655790"/>
                  </a:cubicBezTo>
                  <a:cubicBezTo>
                    <a:pt x="30641" y="651113"/>
                    <a:pt x="32372" y="646764"/>
                    <a:pt x="34009" y="642134"/>
                  </a:cubicBezTo>
                  <a:cubicBezTo>
                    <a:pt x="44204" y="617219"/>
                    <a:pt x="58142" y="594003"/>
                    <a:pt x="75306" y="573288"/>
                  </a:cubicBezTo>
                  <a:cubicBezTo>
                    <a:pt x="100889" y="544034"/>
                    <a:pt x="132740" y="520943"/>
                    <a:pt x="168519" y="505753"/>
                  </a:cubicBezTo>
                  <a:cubicBezTo>
                    <a:pt x="204625" y="490132"/>
                    <a:pt x="243351" y="480123"/>
                    <a:pt x="282964" y="468009"/>
                  </a:cubicBezTo>
                  <a:cubicBezTo>
                    <a:pt x="322578" y="455896"/>
                    <a:pt x="362473" y="441070"/>
                    <a:pt x="397130" y="415674"/>
                  </a:cubicBezTo>
                  <a:cubicBezTo>
                    <a:pt x="432114" y="390736"/>
                    <a:pt x="460409" y="357609"/>
                    <a:pt x="479585" y="319188"/>
                  </a:cubicBezTo>
                  <a:cubicBezTo>
                    <a:pt x="498807" y="281257"/>
                    <a:pt x="510313" y="241035"/>
                    <a:pt x="521678" y="202263"/>
                  </a:cubicBezTo>
                  <a:cubicBezTo>
                    <a:pt x="527243" y="182713"/>
                    <a:pt x="533370" y="163772"/>
                    <a:pt x="540105" y="145064"/>
                  </a:cubicBezTo>
                  <a:cubicBezTo>
                    <a:pt x="546933" y="126716"/>
                    <a:pt x="555399" y="109027"/>
                    <a:pt x="565454" y="92214"/>
                  </a:cubicBezTo>
                  <a:cubicBezTo>
                    <a:pt x="575323" y="75592"/>
                    <a:pt x="587156" y="60219"/>
                    <a:pt x="600718" y="46426"/>
                  </a:cubicBezTo>
                  <a:cubicBezTo>
                    <a:pt x="604180" y="43059"/>
                    <a:pt x="607547" y="39598"/>
                    <a:pt x="611102" y="36371"/>
                  </a:cubicBezTo>
                  <a:cubicBezTo>
                    <a:pt x="614937" y="33335"/>
                    <a:pt x="618398" y="29832"/>
                    <a:pt x="621344" y="25941"/>
                  </a:cubicBezTo>
                  <a:cubicBezTo>
                    <a:pt x="624197" y="21175"/>
                    <a:pt x="626723" y="16203"/>
                    <a:pt x="628827" y="11068"/>
                  </a:cubicBezTo>
                  <a:cubicBezTo>
                    <a:pt x="631634" y="6653"/>
                    <a:pt x="635281" y="2860"/>
                    <a:pt x="639631" y="-6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64C2F88F-2F2D-4C8E-8DE2-7E7C60E7BD6C}"/>
                </a:ext>
              </a:extLst>
            </p:cNvPr>
            <p:cNvSpPr/>
            <p:nvPr/>
          </p:nvSpPr>
          <p:spPr>
            <a:xfrm>
              <a:off x="9535521" y="4727381"/>
              <a:ext cx="1522591" cy="1520814"/>
            </a:xfrm>
            <a:custGeom>
              <a:avLst/>
              <a:gdLst>
                <a:gd name="connsiteX0" fmla="*/ 1521523 w 1522591"/>
                <a:gd name="connsiteY0" fmla="*/ -16 h 1520814"/>
                <a:gd name="connsiteX1" fmla="*/ 1514554 w 1522591"/>
                <a:gd name="connsiteY1" fmla="*/ 5690 h 1520814"/>
                <a:gd name="connsiteX2" fmla="*/ 1506136 w 1522591"/>
                <a:gd name="connsiteY2" fmla="*/ 9805 h 1520814"/>
                <a:gd name="connsiteX3" fmla="*/ 1496782 w 1522591"/>
                <a:gd name="connsiteY3" fmla="*/ 12752 h 1520814"/>
                <a:gd name="connsiteX4" fmla="*/ 1489112 w 1522591"/>
                <a:gd name="connsiteY4" fmla="*/ 17101 h 1520814"/>
                <a:gd name="connsiteX5" fmla="*/ 1475081 w 1522591"/>
                <a:gd name="connsiteY5" fmla="*/ 27157 h 1520814"/>
                <a:gd name="connsiteX6" fmla="*/ 1461050 w 1522591"/>
                <a:gd name="connsiteY6" fmla="*/ 36791 h 1520814"/>
                <a:gd name="connsiteX7" fmla="*/ 1398285 w 1522591"/>
                <a:gd name="connsiteY7" fmla="*/ 66397 h 1520814"/>
                <a:gd name="connsiteX8" fmla="*/ 1261483 w 1522591"/>
                <a:gd name="connsiteY8" fmla="*/ 110594 h 1520814"/>
                <a:gd name="connsiteX9" fmla="*/ 1142126 w 1522591"/>
                <a:gd name="connsiteY9" fmla="*/ 196744 h 1520814"/>
                <a:gd name="connsiteX10" fmla="*/ 1104243 w 1522591"/>
                <a:gd name="connsiteY10" fmla="*/ 260492 h 1520814"/>
                <a:gd name="connsiteX11" fmla="*/ 1079829 w 1522591"/>
                <a:gd name="connsiteY11" fmla="*/ 329290 h 1520814"/>
                <a:gd name="connsiteX12" fmla="*/ 1031141 w 1522591"/>
                <a:gd name="connsiteY12" fmla="*/ 461228 h 1520814"/>
                <a:gd name="connsiteX13" fmla="*/ 989891 w 1522591"/>
                <a:gd name="connsiteY13" fmla="*/ 515668 h 1520814"/>
                <a:gd name="connsiteX14" fmla="*/ 934796 w 1522591"/>
                <a:gd name="connsiteY14" fmla="*/ 556124 h 1520814"/>
                <a:gd name="connsiteX15" fmla="*/ 870628 w 1522591"/>
                <a:gd name="connsiteY15" fmla="*/ 583017 h 1520814"/>
                <a:gd name="connsiteX16" fmla="*/ 802203 w 1522591"/>
                <a:gd name="connsiteY16" fmla="*/ 603595 h 1520814"/>
                <a:gd name="connsiteX17" fmla="*/ 733358 w 1522591"/>
                <a:gd name="connsiteY17" fmla="*/ 628383 h 1520814"/>
                <a:gd name="connsiteX18" fmla="*/ 669517 w 1522591"/>
                <a:gd name="connsiteY18" fmla="*/ 666781 h 1520814"/>
                <a:gd name="connsiteX19" fmla="*/ 655486 w 1522591"/>
                <a:gd name="connsiteY19" fmla="*/ 679315 h 1520814"/>
                <a:gd name="connsiteX20" fmla="*/ 648564 w 1522591"/>
                <a:gd name="connsiteY20" fmla="*/ 685676 h 1520814"/>
                <a:gd name="connsiteX21" fmla="*/ 642297 w 1522591"/>
                <a:gd name="connsiteY21" fmla="*/ 692645 h 1520814"/>
                <a:gd name="connsiteX22" fmla="*/ 629856 w 1522591"/>
                <a:gd name="connsiteY22" fmla="*/ 706676 h 1520814"/>
                <a:gd name="connsiteX23" fmla="*/ 618772 w 1522591"/>
                <a:gd name="connsiteY23" fmla="*/ 721829 h 1520814"/>
                <a:gd name="connsiteX24" fmla="*/ 584489 w 1522591"/>
                <a:gd name="connsiteY24" fmla="*/ 787681 h 1520814"/>
                <a:gd name="connsiteX25" fmla="*/ 540199 w 1522591"/>
                <a:gd name="connsiteY25" fmla="*/ 924296 h 1520814"/>
                <a:gd name="connsiteX26" fmla="*/ 510032 w 1522591"/>
                <a:gd name="connsiteY26" fmla="*/ 986313 h 1520814"/>
                <a:gd name="connsiteX27" fmla="*/ 500210 w 1522591"/>
                <a:gd name="connsiteY27" fmla="*/ 1000344 h 1520814"/>
                <a:gd name="connsiteX28" fmla="*/ 489546 w 1522591"/>
                <a:gd name="connsiteY28" fmla="*/ 1013673 h 1520814"/>
                <a:gd name="connsiteX29" fmla="*/ 478135 w 1522591"/>
                <a:gd name="connsiteY29" fmla="*/ 1026301 h 1520814"/>
                <a:gd name="connsiteX30" fmla="*/ 465414 w 1522591"/>
                <a:gd name="connsiteY30" fmla="*/ 1037619 h 1520814"/>
                <a:gd name="connsiteX31" fmla="*/ 459006 w 1522591"/>
                <a:gd name="connsiteY31" fmla="*/ 1043278 h 1520814"/>
                <a:gd name="connsiteX32" fmla="*/ 452131 w 1522591"/>
                <a:gd name="connsiteY32" fmla="*/ 1048283 h 1520814"/>
                <a:gd name="connsiteX33" fmla="*/ 438100 w 1522591"/>
                <a:gd name="connsiteY33" fmla="*/ 1058104 h 1520814"/>
                <a:gd name="connsiteX34" fmla="*/ 423368 w 1522591"/>
                <a:gd name="connsiteY34" fmla="*/ 1066850 h 1520814"/>
                <a:gd name="connsiteX35" fmla="*/ 408027 w 1522591"/>
                <a:gd name="connsiteY35" fmla="*/ 1074614 h 1520814"/>
                <a:gd name="connsiteX36" fmla="*/ 342549 w 1522591"/>
                <a:gd name="connsiteY36" fmla="*/ 1099402 h 1520814"/>
                <a:gd name="connsiteX37" fmla="*/ 205327 w 1522591"/>
                <a:gd name="connsiteY37" fmla="*/ 1147248 h 1520814"/>
                <a:gd name="connsiteX38" fmla="*/ 143637 w 1522591"/>
                <a:gd name="connsiteY38" fmla="*/ 1189715 h 1520814"/>
                <a:gd name="connsiteX39" fmla="*/ 96165 w 1522591"/>
                <a:gd name="connsiteY39" fmla="*/ 1247850 h 1520814"/>
                <a:gd name="connsiteX40" fmla="*/ 43503 w 1522591"/>
                <a:gd name="connsiteY40" fmla="*/ 1384231 h 1520814"/>
                <a:gd name="connsiteX41" fmla="*/ 20819 w 1522591"/>
                <a:gd name="connsiteY41" fmla="*/ 1450831 h 1520814"/>
                <a:gd name="connsiteX42" fmla="*/ 13757 w 1522591"/>
                <a:gd name="connsiteY42" fmla="*/ 1466592 h 1520814"/>
                <a:gd name="connsiteX43" fmla="*/ 12261 w 1522591"/>
                <a:gd name="connsiteY43" fmla="*/ 1469960 h 1520814"/>
                <a:gd name="connsiteX44" fmla="*/ 8566 w 1522591"/>
                <a:gd name="connsiteY44" fmla="*/ 1477443 h 1520814"/>
                <a:gd name="connsiteX45" fmla="*/ 3608 w 1522591"/>
                <a:gd name="connsiteY45" fmla="*/ 1498676 h 1520814"/>
                <a:gd name="connsiteX46" fmla="*/ -1069 w 1522591"/>
                <a:gd name="connsiteY46" fmla="*/ 1520565 h 1520814"/>
                <a:gd name="connsiteX47" fmla="*/ -1069 w 1522591"/>
                <a:gd name="connsiteY47" fmla="*/ 1520565 h 1520814"/>
                <a:gd name="connsiteX48" fmla="*/ 16142 w 1522591"/>
                <a:gd name="connsiteY48" fmla="*/ 1505739 h 1520814"/>
                <a:gd name="connsiteX49" fmla="*/ 31109 w 1522591"/>
                <a:gd name="connsiteY49" fmla="*/ 1489743 h 1520814"/>
                <a:gd name="connsiteX50" fmla="*/ 31109 w 1522591"/>
                <a:gd name="connsiteY50" fmla="*/ 1490024 h 1520814"/>
                <a:gd name="connsiteX51" fmla="*/ 35786 w 1522591"/>
                <a:gd name="connsiteY51" fmla="*/ 1480904 h 1520814"/>
                <a:gd name="connsiteX52" fmla="*/ 40088 w 1522591"/>
                <a:gd name="connsiteY52" fmla="*/ 1471924 h 1520814"/>
                <a:gd name="connsiteX53" fmla="*/ 44765 w 1522591"/>
                <a:gd name="connsiteY53" fmla="*/ 1460746 h 1520814"/>
                <a:gd name="connsiteX54" fmla="*/ 68150 w 1522591"/>
                <a:gd name="connsiteY54" fmla="*/ 1391574 h 1520814"/>
                <a:gd name="connsiteX55" fmla="*/ 89103 w 1522591"/>
                <a:gd name="connsiteY55" fmla="*/ 1323664 h 1520814"/>
                <a:gd name="connsiteX56" fmla="*/ 117867 w 1522591"/>
                <a:gd name="connsiteY56" fmla="*/ 1260945 h 1520814"/>
                <a:gd name="connsiteX57" fmla="*/ 160708 w 1522591"/>
                <a:gd name="connsiteY57" fmla="*/ 1208376 h 1520814"/>
                <a:gd name="connsiteX58" fmla="*/ 216832 w 1522591"/>
                <a:gd name="connsiteY58" fmla="*/ 1169697 h 1520814"/>
                <a:gd name="connsiteX59" fmla="*/ 349985 w 1522591"/>
                <a:gd name="connsiteY59" fmla="*/ 1122928 h 1520814"/>
                <a:gd name="connsiteX60" fmla="*/ 481269 w 1522591"/>
                <a:gd name="connsiteY60" fmla="*/ 1056047 h 1520814"/>
                <a:gd name="connsiteX61" fmla="*/ 495300 w 1522591"/>
                <a:gd name="connsiteY61" fmla="*/ 1043325 h 1520814"/>
                <a:gd name="connsiteX62" fmla="*/ 507880 w 1522591"/>
                <a:gd name="connsiteY62" fmla="*/ 1029294 h 1520814"/>
                <a:gd name="connsiteX63" fmla="*/ 519573 w 1522591"/>
                <a:gd name="connsiteY63" fmla="*/ 1014608 h 1520814"/>
                <a:gd name="connsiteX64" fmla="*/ 530377 w 1522591"/>
                <a:gd name="connsiteY64" fmla="*/ 999268 h 1520814"/>
                <a:gd name="connsiteX65" fmla="*/ 562695 w 1522591"/>
                <a:gd name="connsiteY65" fmla="*/ 932527 h 1520814"/>
                <a:gd name="connsiteX66" fmla="*/ 606565 w 1522591"/>
                <a:gd name="connsiteY66" fmla="*/ 796193 h 1520814"/>
                <a:gd name="connsiteX67" fmla="*/ 638088 w 1522591"/>
                <a:gd name="connsiteY67" fmla="*/ 735019 h 1520814"/>
                <a:gd name="connsiteX68" fmla="*/ 684109 w 1522591"/>
                <a:gd name="connsiteY68" fmla="*/ 684787 h 1520814"/>
                <a:gd name="connsiteX69" fmla="*/ 742758 w 1522591"/>
                <a:gd name="connsiteY69" fmla="*/ 649289 h 1520814"/>
                <a:gd name="connsiteX70" fmla="*/ 808751 w 1522591"/>
                <a:gd name="connsiteY70" fmla="*/ 625530 h 1520814"/>
                <a:gd name="connsiteX71" fmla="*/ 877690 w 1522591"/>
                <a:gd name="connsiteY71" fmla="*/ 604577 h 1520814"/>
                <a:gd name="connsiteX72" fmla="*/ 945552 w 1522591"/>
                <a:gd name="connsiteY72" fmla="*/ 575954 h 1520814"/>
                <a:gd name="connsiteX73" fmla="*/ 1005605 w 1522591"/>
                <a:gd name="connsiteY73" fmla="*/ 531616 h 1520814"/>
                <a:gd name="connsiteX74" fmla="*/ 1050645 w 1522591"/>
                <a:gd name="connsiteY74" fmla="*/ 472078 h 1520814"/>
                <a:gd name="connsiteX75" fmla="*/ 1100688 w 1522591"/>
                <a:gd name="connsiteY75" fmla="*/ 335417 h 1520814"/>
                <a:gd name="connsiteX76" fmla="*/ 1124073 w 1522591"/>
                <a:gd name="connsiteY76" fmla="*/ 269051 h 1520814"/>
                <a:gd name="connsiteX77" fmla="*/ 1158823 w 1522591"/>
                <a:gd name="connsiteY77" fmla="*/ 209653 h 1520814"/>
                <a:gd name="connsiteX78" fmla="*/ 1269247 w 1522591"/>
                <a:gd name="connsiteY78" fmla="*/ 130144 h 1520814"/>
                <a:gd name="connsiteX79" fmla="*/ 1405206 w 1522591"/>
                <a:gd name="connsiteY79" fmla="*/ 85853 h 1520814"/>
                <a:gd name="connsiteX80" fmla="*/ 1471854 w 1522591"/>
                <a:gd name="connsiteY80" fmla="*/ 54330 h 1520814"/>
                <a:gd name="connsiteX81" fmla="*/ 1487335 w 1522591"/>
                <a:gd name="connsiteY81" fmla="*/ 43947 h 1520814"/>
                <a:gd name="connsiteX82" fmla="*/ 1494771 w 1522591"/>
                <a:gd name="connsiteY82" fmla="*/ 38335 h 1520814"/>
                <a:gd name="connsiteX83" fmla="*/ 1501833 w 1522591"/>
                <a:gd name="connsiteY83" fmla="*/ 32208 h 1520814"/>
                <a:gd name="connsiteX84" fmla="*/ 1507492 w 1522591"/>
                <a:gd name="connsiteY84" fmla="*/ 24538 h 1520814"/>
                <a:gd name="connsiteX85" fmla="*/ 1511608 w 1522591"/>
                <a:gd name="connsiteY85" fmla="*/ 15511 h 1520814"/>
                <a:gd name="connsiteX86" fmla="*/ 1521336 w 1522591"/>
                <a:gd name="connsiteY86" fmla="*/ -250 h 15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522591" h="1520814">
                  <a:moveTo>
                    <a:pt x="1521523" y="-16"/>
                  </a:moveTo>
                  <a:cubicBezTo>
                    <a:pt x="1519325" y="2051"/>
                    <a:pt x="1517033" y="3954"/>
                    <a:pt x="1514554" y="5690"/>
                  </a:cubicBezTo>
                  <a:cubicBezTo>
                    <a:pt x="1512075" y="7654"/>
                    <a:pt x="1509223" y="9062"/>
                    <a:pt x="1506136" y="9805"/>
                  </a:cubicBezTo>
                  <a:cubicBezTo>
                    <a:pt x="1503049" y="10881"/>
                    <a:pt x="1499729" y="11583"/>
                    <a:pt x="1496782" y="12752"/>
                  </a:cubicBezTo>
                  <a:cubicBezTo>
                    <a:pt x="1494069" y="13940"/>
                    <a:pt x="1491497" y="15394"/>
                    <a:pt x="1489112" y="17101"/>
                  </a:cubicBezTo>
                  <a:cubicBezTo>
                    <a:pt x="1484435" y="20609"/>
                    <a:pt x="1479758" y="23790"/>
                    <a:pt x="1475081" y="27157"/>
                  </a:cubicBezTo>
                  <a:cubicBezTo>
                    <a:pt x="1470591" y="30609"/>
                    <a:pt x="1465867" y="33821"/>
                    <a:pt x="1461050" y="36791"/>
                  </a:cubicBezTo>
                  <a:cubicBezTo>
                    <a:pt x="1441266" y="48914"/>
                    <a:pt x="1420220" y="58843"/>
                    <a:pt x="1398285" y="66397"/>
                  </a:cubicBezTo>
                  <a:cubicBezTo>
                    <a:pt x="1354227" y="82299"/>
                    <a:pt x="1307083" y="92354"/>
                    <a:pt x="1261483" y="110594"/>
                  </a:cubicBezTo>
                  <a:cubicBezTo>
                    <a:pt x="1214666" y="128039"/>
                    <a:pt x="1173415" y="157804"/>
                    <a:pt x="1142126" y="196744"/>
                  </a:cubicBezTo>
                  <a:cubicBezTo>
                    <a:pt x="1126926" y="216369"/>
                    <a:pt x="1114205" y="237776"/>
                    <a:pt x="1104243" y="260492"/>
                  </a:cubicBezTo>
                  <a:cubicBezTo>
                    <a:pt x="1094748" y="282923"/>
                    <a:pt x="1086610" y="305896"/>
                    <a:pt x="1079829" y="329290"/>
                  </a:cubicBezTo>
                  <a:cubicBezTo>
                    <a:pt x="1066078" y="375312"/>
                    <a:pt x="1053965" y="421193"/>
                    <a:pt x="1031141" y="461228"/>
                  </a:cubicBezTo>
                  <a:cubicBezTo>
                    <a:pt x="1020010" y="481203"/>
                    <a:pt x="1006120" y="499528"/>
                    <a:pt x="989891" y="515668"/>
                  </a:cubicBezTo>
                  <a:cubicBezTo>
                    <a:pt x="973334" y="531476"/>
                    <a:pt x="954813" y="545072"/>
                    <a:pt x="934796" y="556124"/>
                  </a:cubicBezTo>
                  <a:cubicBezTo>
                    <a:pt x="914170" y="566778"/>
                    <a:pt x="892703" y="575772"/>
                    <a:pt x="870628" y="583017"/>
                  </a:cubicBezTo>
                  <a:cubicBezTo>
                    <a:pt x="848225" y="590313"/>
                    <a:pt x="825260" y="596673"/>
                    <a:pt x="802203" y="603595"/>
                  </a:cubicBezTo>
                  <a:cubicBezTo>
                    <a:pt x="778772" y="610410"/>
                    <a:pt x="755761" y="618688"/>
                    <a:pt x="733358" y="628383"/>
                  </a:cubicBezTo>
                  <a:cubicBezTo>
                    <a:pt x="710628" y="638645"/>
                    <a:pt x="689207" y="651530"/>
                    <a:pt x="669517" y="666781"/>
                  </a:cubicBezTo>
                  <a:lnTo>
                    <a:pt x="655486" y="679315"/>
                  </a:lnTo>
                  <a:cubicBezTo>
                    <a:pt x="653195" y="681420"/>
                    <a:pt x="650809" y="683431"/>
                    <a:pt x="648564" y="685676"/>
                  </a:cubicBezTo>
                  <a:lnTo>
                    <a:pt x="642297" y="692645"/>
                  </a:lnTo>
                  <a:cubicBezTo>
                    <a:pt x="638134" y="697322"/>
                    <a:pt x="633738" y="701999"/>
                    <a:pt x="629856" y="706676"/>
                  </a:cubicBezTo>
                  <a:lnTo>
                    <a:pt x="618772" y="721829"/>
                  </a:lnTo>
                  <a:cubicBezTo>
                    <a:pt x="604834" y="742389"/>
                    <a:pt x="593329" y="764488"/>
                    <a:pt x="584489" y="787681"/>
                  </a:cubicBezTo>
                  <a:cubicBezTo>
                    <a:pt x="566530" y="833422"/>
                    <a:pt x="556428" y="880566"/>
                    <a:pt x="540199" y="924296"/>
                  </a:cubicBezTo>
                  <a:cubicBezTo>
                    <a:pt x="532341" y="945969"/>
                    <a:pt x="522239" y="966758"/>
                    <a:pt x="510032" y="986313"/>
                  </a:cubicBezTo>
                  <a:cubicBezTo>
                    <a:pt x="507179" y="991270"/>
                    <a:pt x="503438" y="995667"/>
                    <a:pt x="500210" y="1000344"/>
                  </a:cubicBezTo>
                  <a:cubicBezTo>
                    <a:pt x="497030" y="1005082"/>
                    <a:pt x="493476" y="1009539"/>
                    <a:pt x="489546" y="1013673"/>
                  </a:cubicBezTo>
                  <a:lnTo>
                    <a:pt x="478135" y="1026301"/>
                  </a:lnTo>
                  <a:lnTo>
                    <a:pt x="465414" y="1037619"/>
                  </a:lnTo>
                  <a:cubicBezTo>
                    <a:pt x="463262" y="1039490"/>
                    <a:pt x="461251" y="1041501"/>
                    <a:pt x="459006" y="1043278"/>
                  </a:cubicBezTo>
                  <a:lnTo>
                    <a:pt x="452131" y="1048283"/>
                  </a:lnTo>
                  <a:cubicBezTo>
                    <a:pt x="447454" y="1051510"/>
                    <a:pt x="443104" y="1055158"/>
                    <a:pt x="438100" y="1058104"/>
                  </a:cubicBezTo>
                  <a:lnTo>
                    <a:pt x="423368" y="1066850"/>
                  </a:lnTo>
                  <a:cubicBezTo>
                    <a:pt x="418691" y="1069797"/>
                    <a:pt x="413078" y="1071948"/>
                    <a:pt x="408027" y="1074614"/>
                  </a:cubicBezTo>
                  <a:cubicBezTo>
                    <a:pt x="386840" y="1084520"/>
                    <a:pt x="364952" y="1092808"/>
                    <a:pt x="342549" y="1099402"/>
                  </a:cubicBezTo>
                  <a:cubicBezTo>
                    <a:pt x="297557" y="1113433"/>
                    <a:pt x="249851" y="1124658"/>
                    <a:pt x="205327" y="1147248"/>
                  </a:cubicBezTo>
                  <a:cubicBezTo>
                    <a:pt x="182877" y="1158421"/>
                    <a:pt x="162111" y="1172719"/>
                    <a:pt x="143637" y="1189715"/>
                  </a:cubicBezTo>
                  <a:cubicBezTo>
                    <a:pt x="124929" y="1206561"/>
                    <a:pt x="108933" y="1226163"/>
                    <a:pt x="96165" y="1247850"/>
                  </a:cubicBezTo>
                  <a:cubicBezTo>
                    <a:pt x="70021" y="1290831"/>
                    <a:pt x="56925" y="1338817"/>
                    <a:pt x="43503" y="1384231"/>
                  </a:cubicBezTo>
                  <a:cubicBezTo>
                    <a:pt x="37189" y="1406830"/>
                    <a:pt x="29612" y="1429064"/>
                    <a:pt x="20819" y="1450831"/>
                  </a:cubicBezTo>
                  <a:cubicBezTo>
                    <a:pt x="18808" y="1456303"/>
                    <a:pt x="16142" y="1461354"/>
                    <a:pt x="13757" y="1466592"/>
                  </a:cubicBezTo>
                  <a:lnTo>
                    <a:pt x="12261" y="1469960"/>
                  </a:lnTo>
                  <a:lnTo>
                    <a:pt x="8566" y="1477443"/>
                  </a:lnTo>
                  <a:cubicBezTo>
                    <a:pt x="4824" y="1483874"/>
                    <a:pt x="3094" y="1491264"/>
                    <a:pt x="3608" y="1498676"/>
                  </a:cubicBezTo>
                  <a:cubicBezTo>
                    <a:pt x="4309" y="1506276"/>
                    <a:pt x="2673" y="1513919"/>
                    <a:pt x="-1069" y="1520565"/>
                  </a:cubicBezTo>
                  <a:lnTo>
                    <a:pt x="-1069" y="1520565"/>
                  </a:lnTo>
                  <a:cubicBezTo>
                    <a:pt x="3281" y="1514204"/>
                    <a:pt x="9220" y="1509087"/>
                    <a:pt x="16142" y="1505739"/>
                  </a:cubicBezTo>
                  <a:cubicBezTo>
                    <a:pt x="22643" y="1502058"/>
                    <a:pt x="27882" y="1496478"/>
                    <a:pt x="31109" y="1489743"/>
                  </a:cubicBezTo>
                  <a:lnTo>
                    <a:pt x="31109" y="1490024"/>
                  </a:lnTo>
                  <a:cubicBezTo>
                    <a:pt x="32839" y="1487078"/>
                    <a:pt x="34289" y="1483991"/>
                    <a:pt x="35786" y="1480904"/>
                  </a:cubicBezTo>
                  <a:cubicBezTo>
                    <a:pt x="37282" y="1477817"/>
                    <a:pt x="38686" y="1475104"/>
                    <a:pt x="40088" y="1471924"/>
                  </a:cubicBezTo>
                  <a:cubicBezTo>
                    <a:pt x="41492" y="1468744"/>
                    <a:pt x="43409" y="1464488"/>
                    <a:pt x="44765" y="1460746"/>
                  </a:cubicBezTo>
                  <a:cubicBezTo>
                    <a:pt x="53792" y="1438114"/>
                    <a:pt x="61556" y="1415028"/>
                    <a:pt x="68150" y="1391574"/>
                  </a:cubicBezTo>
                  <a:cubicBezTo>
                    <a:pt x="74979" y="1368563"/>
                    <a:pt x="81480" y="1345739"/>
                    <a:pt x="89103" y="1323664"/>
                  </a:cubicBezTo>
                  <a:cubicBezTo>
                    <a:pt x="96634" y="1301874"/>
                    <a:pt x="106268" y="1280869"/>
                    <a:pt x="117867" y="1260945"/>
                  </a:cubicBezTo>
                  <a:cubicBezTo>
                    <a:pt x="129419" y="1241353"/>
                    <a:pt x="143871" y="1223628"/>
                    <a:pt x="160708" y="1208376"/>
                  </a:cubicBezTo>
                  <a:cubicBezTo>
                    <a:pt x="177451" y="1192834"/>
                    <a:pt x="196347" y="1179804"/>
                    <a:pt x="216832" y="1169697"/>
                  </a:cubicBezTo>
                  <a:cubicBezTo>
                    <a:pt x="257662" y="1148511"/>
                    <a:pt x="303917" y="1137613"/>
                    <a:pt x="349985" y="1122928"/>
                  </a:cubicBezTo>
                  <a:cubicBezTo>
                    <a:pt x="396054" y="1108242"/>
                    <a:pt x="443525" y="1089628"/>
                    <a:pt x="481269" y="1056047"/>
                  </a:cubicBezTo>
                  <a:lnTo>
                    <a:pt x="495300" y="1043325"/>
                  </a:lnTo>
                  <a:lnTo>
                    <a:pt x="507880" y="1029294"/>
                  </a:lnTo>
                  <a:cubicBezTo>
                    <a:pt x="512137" y="1024706"/>
                    <a:pt x="516065" y="1019795"/>
                    <a:pt x="519573" y="1014608"/>
                  </a:cubicBezTo>
                  <a:cubicBezTo>
                    <a:pt x="523174" y="1009511"/>
                    <a:pt x="527243" y="1004646"/>
                    <a:pt x="530377" y="999268"/>
                  </a:cubicBezTo>
                  <a:cubicBezTo>
                    <a:pt x="543379" y="978179"/>
                    <a:pt x="554230" y="955814"/>
                    <a:pt x="562695" y="932527"/>
                  </a:cubicBezTo>
                  <a:cubicBezTo>
                    <a:pt x="579439" y="886459"/>
                    <a:pt x="589681" y="839596"/>
                    <a:pt x="606565" y="796193"/>
                  </a:cubicBezTo>
                  <a:cubicBezTo>
                    <a:pt x="614703" y="774656"/>
                    <a:pt x="625273" y="754129"/>
                    <a:pt x="638088" y="735019"/>
                  </a:cubicBezTo>
                  <a:cubicBezTo>
                    <a:pt x="651090" y="716282"/>
                    <a:pt x="666571" y="699385"/>
                    <a:pt x="684109" y="684787"/>
                  </a:cubicBezTo>
                  <a:cubicBezTo>
                    <a:pt x="702209" y="670719"/>
                    <a:pt x="721899" y="658807"/>
                    <a:pt x="742758" y="649289"/>
                  </a:cubicBezTo>
                  <a:cubicBezTo>
                    <a:pt x="764319" y="640160"/>
                    <a:pt x="786348" y="632228"/>
                    <a:pt x="808751" y="625530"/>
                  </a:cubicBezTo>
                  <a:cubicBezTo>
                    <a:pt x="831527" y="618748"/>
                    <a:pt x="854585" y="612014"/>
                    <a:pt x="877690" y="604577"/>
                  </a:cubicBezTo>
                  <a:cubicBezTo>
                    <a:pt x="901075" y="596949"/>
                    <a:pt x="923758" y="587376"/>
                    <a:pt x="945552" y="575954"/>
                  </a:cubicBezTo>
                  <a:cubicBezTo>
                    <a:pt x="967394" y="563841"/>
                    <a:pt x="987599" y="548935"/>
                    <a:pt x="1005605" y="531616"/>
                  </a:cubicBezTo>
                  <a:cubicBezTo>
                    <a:pt x="1023238" y="513881"/>
                    <a:pt x="1038391" y="493854"/>
                    <a:pt x="1050645" y="472078"/>
                  </a:cubicBezTo>
                  <a:cubicBezTo>
                    <a:pt x="1074918" y="428489"/>
                    <a:pt x="1087125" y="380784"/>
                    <a:pt x="1100688" y="335417"/>
                  </a:cubicBezTo>
                  <a:cubicBezTo>
                    <a:pt x="1107236" y="312883"/>
                    <a:pt x="1115047" y="290728"/>
                    <a:pt x="1124073" y="269051"/>
                  </a:cubicBezTo>
                  <a:cubicBezTo>
                    <a:pt x="1133240" y="247925"/>
                    <a:pt x="1144885" y="227982"/>
                    <a:pt x="1158823" y="209653"/>
                  </a:cubicBezTo>
                  <a:cubicBezTo>
                    <a:pt x="1187820" y="173691"/>
                    <a:pt x="1225938" y="146224"/>
                    <a:pt x="1269247" y="130144"/>
                  </a:cubicBezTo>
                  <a:cubicBezTo>
                    <a:pt x="1312368" y="112372"/>
                    <a:pt x="1359419" y="102690"/>
                    <a:pt x="1405206" y="85853"/>
                  </a:cubicBezTo>
                  <a:cubicBezTo>
                    <a:pt x="1428451" y="77715"/>
                    <a:pt x="1450807" y="67150"/>
                    <a:pt x="1471854" y="54330"/>
                  </a:cubicBezTo>
                  <a:cubicBezTo>
                    <a:pt x="1477279" y="51285"/>
                    <a:pt x="1482470" y="47810"/>
                    <a:pt x="1487335" y="43947"/>
                  </a:cubicBezTo>
                  <a:lnTo>
                    <a:pt x="1494771" y="38335"/>
                  </a:lnTo>
                  <a:cubicBezTo>
                    <a:pt x="1497390" y="36618"/>
                    <a:pt x="1499775" y="34556"/>
                    <a:pt x="1501833" y="32208"/>
                  </a:cubicBezTo>
                  <a:cubicBezTo>
                    <a:pt x="1503984" y="29851"/>
                    <a:pt x="1505855" y="27283"/>
                    <a:pt x="1507492" y="24538"/>
                  </a:cubicBezTo>
                  <a:cubicBezTo>
                    <a:pt x="1509129" y="21732"/>
                    <a:pt x="1510252" y="18458"/>
                    <a:pt x="1511608" y="15511"/>
                  </a:cubicBezTo>
                  <a:cubicBezTo>
                    <a:pt x="1513993" y="9782"/>
                    <a:pt x="1517267" y="4460"/>
                    <a:pt x="1521336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DD7E1F24-D190-4E13-8FAC-E0D87E96DFB1}"/>
                </a:ext>
              </a:extLst>
            </p:cNvPr>
            <p:cNvSpPr/>
            <p:nvPr/>
          </p:nvSpPr>
          <p:spPr>
            <a:xfrm>
              <a:off x="9614609" y="4824241"/>
              <a:ext cx="1416986" cy="1391309"/>
            </a:xfrm>
            <a:custGeom>
              <a:avLst/>
              <a:gdLst>
                <a:gd name="connsiteX0" fmla="*/ 1415918 w 1416986"/>
                <a:gd name="connsiteY0" fmla="*/ -63 h 1391309"/>
                <a:gd name="connsiteX1" fmla="*/ 1399641 w 1416986"/>
                <a:gd name="connsiteY1" fmla="*/ 4193 h 1391309"/>
                <a:gd name="connsiteX2" fmla="*/ 1390615 w 1416986"/>
                <a:gd name="connsiteY2" fmla="*/ 4193 h 1391309"/>
                <a:gd name="connsiteX3" fmla="*/ 1382290 w 1416986"/>
                <a:gd name="connsiteY3" fmla="*/ 5222 h 1391309"/>
                <a:gd name="connsiteX4" fmla="*/ 1351749 w 1416986"/>
                <a:gd name="connsiteY4" fmla="*/ 15792 h 1391309"/>
                <a:gd name="connsiteX5" fmla="*/ 1288984 w 1416986"/>
                <a:gd name="connsiteY5" fmla="*/ 35014 h 1391309"/>
                <a:gd name="connsiteX6" fmla="*/ 1164904 w 1416986"/>
                <a:gd name="connsiteY6" fmla="*/ 87724 h 1391309"/>
                <a:gd name="connsiteX7" fmla="*/ 1113457 w 1416986"/>
                <a:gd name="connsiteY7" fmla="*/ 133324 h 1391309"/>
                <a:gd name="connsiteX8" fmla="*/ 1107751 w 1416986"/>
                <a:gd name="connsiteY8" fmla="*/ 139779 h 1391309"/>
                <a:gd name="connsiteX9" fmla="*/ 1102653 w 1416986"/>
                <a:gd name="connsiteY9" fmla="*/ 146701 h 1391309"/>
                <a:gd name="connsiteX10" fmla="*/ 1092504 w 1416986"/>
                <a:gd name="connsiteY10" fmla="*/ 160731 h 1391309"/>
                <a:gd name="connsiteX11" fmla="*/ 1075620 w 1416986"/>
                <a:gd name="connsiteY11" fmla="*/ 190524 h 1391309"/>
                <a:gd name="connsiteX12" fmla="*/ 1031236 w 1416986"/>
                <a:gd name="connsiteY12" fmla="*/ 316802 h 1391309"/>
                <a:gd name="connsiteX13" fmla="*/ 978339 w 1416986"/>
                <a:gd name="connsiteY13" fmla="*/ 432932 h 1391309"/>
                <a:gd name="connsiteX14" fmla="*/ 934889 w 1416986"/>
                <a:gd name="connsiteY14" fmla="*/ 478345 h 1391309"/>
                <a:gd name="connsiteX15" fmla="*/ 880824 w 1416986"/>
                <a:gd name="connsiteY15" fmla="*/ 511084 h 1391309"/>
                <a:gd name="connsiteX16" fmla="*/ 757117 w 1416986"/>
                <a:gd name="connsiteY16" fmla="*/ 552569 h 1391309"/>
                <a:gd name="connsiteX17" fmla="*/ 693838 w 1416986"/>
                <a:gd name="connsiteY17" fmla="*/ 575954 h 1391309"/>
                <a:gd name="connsiteX18" fmla="*/ 635048 w 1416986"/>
                <a:gd name="connsiteY18" fmla="*/ 611499 h 1391309"/>
                <a:gd name="connsiteX19" fmla="*/ 553528 w 1416986"/>
                <a:gd name="connsiteY19" fmla="*/ 720894 h 1391309"/>
                <a:gd name="connsiteX20" fmla="*/ 511903 w 1416986"/>
                <a:gd name="connsiteY20" fmla="*/ 847173 h 1391309"/>
                <a:gd name="connsiteX21" fmla="*/ 488097 w 1416986"/>
                <a:gd name="connsiteY21" fmla="*/ 906804 h 1391309"/>
                <a:gd name="connsiteX22" fmla="*/ 472523 w 1416986"/>
                <a:gd name="connsiteY22" fmla="*/ 934305 h 1391309"/>
                <a:gd name="connsiteX23" fmla="*/ 463169 w 1416986"/>
                <a:gd name="connsiteY23" fmla="*/ 947026 h 1391309"/>
                <a:gd name="connsiteX24" fmla="*/ 453347 w 1416986"/>
                <a:gd name="connsiteY24" fmla="*/ 959280 h 1391309"/>
                <a:gd name="connsiteX25" fmla="*/ 442777 w 1416986"/>
                <a:gd name="connsiteY25" fmla="*/ 970879 h 1391309"/>
                <a:gd name="connsiteX26" fmla="*/ 431225 w 1416986"/>
                <a:gd name="connsiteY26" fmla="*/ 981449 h 1391309"/>
                <a:gd name="connsiteX27" fmla="*/ 406531 w 1416986"/>
                <a:gd name="connsiteY27" fmla="*/ 1000811 h 1391309"/>
                <a:gd name="connsiteX28" fmla="*/ 350407 w 1416986"/>
                <a:gd name="connsiteY28" fmla="*/ 1029855 h 1391309"/>
                <a:gd name="connsiteX29" fmla="*/ 225344 w 1416986"/>
                <a:gd name="connsiteY29" fmla="*/ 1070031 h 1391309"/>
                <a:gd name="connsiteX30" fmla="*/ 162579 w 1416986"/>
                <a:gd name="connsiteY30" fmla="*/ 1096409 h 1391309"/>
                <a:gd name="connsiteX31" fmla="*/ 133348 w 1416986"/>
                <a:gd name="connsiteY31" fmla="*/ 1114836 h 1391309"/>
                <a:gd name="connsiteX32" fmla="*/ 119317 w 1416986"/>
                <a:gd name="connsiteY32" fmla="*/ 1125079 h 1391309"/>
                <a:gd name="connsiteX33" fmla="*/ 106362 w 1416986"/>
                <a:gd name="connsiteY33" fmla="*/ 1136678 h 1391309"/>
                <a:gd name="connsiteX34" fmla="*/ 32465 w 1416986"/>
                <a:gd name="connsiteY34" fmla="*/ 1251591 h 1391309"/>
                <a:gd name="connsiteX35" fmla="*/ 11746 w 1416986"/>
                <a:gd name="connsiteY35" fmla="*/ 1315292 h 1391309"/>
                <a:gd name="connsiteX36" fmla="*/ 7069 w 1416986"/>
                <a:gd name="connsiteY36" fmla="*/ 1331147 h 1391309"/>
                <a:gd name="connsiteX37" fmla="*/ 6789 w 1416986"/>
                <a:gd name="connsiteY37" fmla="*/ 1332176 h 1391309"/>
                <a:gd name="connsiteX38" fmla="*/ 2112 w 1416986"/>
                <a:gd name="connsiteY38" fmla="*/ 1346955 h 1391309"/>
                <a:gd name="connsiteX39" fmla="*/ 335 w 1416986"/>
                <a:gd name="connsiteY39" fmla="*/ 1368703 h 1391309"/>
                <a:gd name="connsiteX40" fmla="*/ -1069 w 1416986"/>
                <a:gd name="connsiteY40" fmla="*/ 1391059 h 1391309"/>
                <a:gd name="connsiteX41" fmla="*/ -1069 w 1416986"/>
                <a:gd name="connsiteY41" fmla="*/ 1391059 h 1391309"/>
                <a:gd name="connsiteX42" fmla="*/ 13711 w 1416986"/>
                <a:gd name="connsiteY42" fmla="*/ 1373848 h 1391309"/>
                <a:gd name="connsiteX43" fmla="*/ 26666 w 1416986"/>
                <a:gd name="connsiteY43" fmla="*/ 1354485 h 1391309"/>
                <a:gd name="connsiteX44" fmla="*/ 33120 w 1416986"/>
                <a:gd name="connsiteY44" fmla="*/ 1334421 h 1391309"/>
                <a:gd name="connsiteX45" fmla="*/ 36581 w 1416986"/>
                <a:gd name="connsiteY45" fmla="*/ 1322635 h 1391309"/>
                <a:gd name="connsiteX46" fmla="*/ 56412 w 1416986"/>
                <a:gd name="connsiteY46" fmla="*/ 1260665 h 1391309"/>
                <a:gd name="connsiteX47" fmla="*/ 123620 w 1416986"/>
                <a:gd name="connsiteY47" fmla="*/ 1155292 h 1391309"/>
                <a:gd name="connsiteX48" fmla="*/ 135219 w 1416986"/>
                <a:gd name="connsiteY48" fmla="*/ 1144769 h 1391309"/>
                <a:gd name="connsiteX49" fmla="*/ 147847 w 1416986"/>
                <a:gd name="connsiteY49" fmla="*/ 1135415 h 1391309"/>
                <a:gd name="connsiteX50" fmla="*/ 174412 w 1416986"/>
                <a:gd name="connsiteY50" fmla="*/ 1118625 h 1391309"/>
                <a:gd name="connsiteX51" fmla="*/ 233249 w 1416986"/>
                <a:gd name="connsiteY51" fmla="*/ 1093696 h 1391309"/>
                <a:gd name="connsiteX52" fmla="*/ 359527 w 1416986"/>
                <a:gd name="connsiteY52" fmla="*/ 1052913 h 1391309"/>
                <a:gd name="connsiteX53" fmla="*/ 420328 w 1416986"/>
                <a:gd name="connsiteY53" fmla="*/ 1021203 h 1391309"/>
                <a:gd name="connsiteX54" fmla="*/ 447501 w 1416986"/>
                <a:gd name="connsiteY54" fmla="*/ 999829 h 1391309"/>
                <a:gd name="connsiteX55" fmla="*/ 460175 w 1416986"/>
                <a:gd name="connsiteY55" fmla="*/ 987996 h 1391309"/>
                <a:gd name="connsiteX56" fmla="*/ 471728 w 1416986"/>
                <a:gd name="connsiteY56" fmla="*/ 975088 h 1391309"/>
                <a:gd name="connsiteX57" fmla="*/ 482532 w 1416986"/>
                <a:gd name="connsiteY57" fmla="*/ 961571 h 1391309"/>
                <a:gd name="connsiteX58" fmla="*/ 492681 w 1416986"/>
                <a:gd name="connsiteY58" fmla="*/ 947540 h 1391309"/>
                <a:gd name="connsiteX59" fmla="*/ 509518 w 1416986"/>
                <a:gd name="connsiteY59" fmla="*/ 917561 h 1391309"/>
                <a:gd name="connsiteX60" fmla="*/ 534586 w 1416986"/>
                <a:gd name="connsiteY60" fmla="*/ 854562 h 1391309"/>
                <a:gd name="connsiteX61" fmla="*/ 575136 w 1416986"/>
                <a:gd name="connsiteY61" fmla="*/ 730061 h 1391309"/>
                <a:gd name="connsiteX62" fmla="*/ 649453 w 1416986"/>
                <a:gd name="connsiteY62" fmla="*/ 629646 h 1391309"/>
                <a:gd name="connsiteX63" fmla="*/ 703425 w 1416986"/>
                <a:gd name="connsiteY63" fmla="*/ 596907 h 1391309"/>
                <a:gd name="connsiteX64" fmla="*/ 763852 w 1416986"/>
                <a:gd name="connsiteY64" fmla="*/ 574364 h 1391309"/>
                <a:gd name="connsiteX65" fmla="*/ 890131 w 1416986"/>
                <a:gd name="connsiteY65" fmla="*/ 531523 h 1391309"/>
                <a:gd name="connsiteX66" fmla="*/ 948734 w 1416986"/>
                <a:gd name="connsiteY66" fmla="*/ 495837 h 1391309"/>
                <a:gd name="connsiteX67" fmla="*/ 996158 w 1416986"/>
                <a:gd name="connsiteY67" fmla="*/ 445981 h 1391309"/>
                <a:gd name="connsiteX68" fmla="*/ 1029739 w 1416986"/>
                <a:gd name="connsiteY68" fmla="*/ 386349 h 1391309"/>
                <a:gd name="connsiteX69" fmla="*/ 1052001 w 1416986"/>
                <a:gd name="connsiteY69" fmla="*/ 322882 h 1391309"/>
                <a:gd name="connsiteX70" fmla="*/ 1094702 w 1416986"/>
                <a:gd name="connsiteY70" fmla="*/ 200018 h 1391309"/>
                <a:gd name="connsiteX71" fmla="*/ 1110276 w 1416986"/>
                <a:gd name="connsiteY71" fmla="*/ 172330 h 1391309"/>
                <a:gd name="connsiteX72" fmla="*/ 1119630 w 1416986"/>
                <a:gd name="connsiteY72" fmla="*/ 159515 h 1391309"/>
                <a:gd name="connsiteX73" fmla="*/ 1124307 w 1416986"/>
                <a:gd name="connsiteY73" fmla="*/ 153155 h 1391309"/>
                <a:gd name="connsiteX74" fmla="*/ 1129545 w 1416986"/>
                <a:gd name="connsiteY74" fmla="*/ 147215 h 1391309"/>
                <a:gd name="connsiteX75" fmla="*/ 1176596 w 1416986"/>
                <a:gd name="connsiteY75" fmla="*/ 105122 h 1391309"/>
                <a:gd name="connsiteX76" fmla="*/ 1294690 w 1416986"/>
                <a:gd name="connsiteY76" fmla="*/ 54891 h 1391309"/>
                <a:gd name="connsiteX77" fmla="*/ 1358250 w 1416986"/>
                <a:gd name="connsiteY77" fmla="*/ 35435 h 1391309"/>
                <a:gd name="connsiteX78" fmla="*/ 1374058 w 1416986"/>
                <a:gd name="connsiteY78" fmla="*/ 29635 h 1391309"/>
                <a:gd name="connsiteX79" fmla="*/ 1389446 w 1416986"/>
                <a:gd name="connsiteY79" fmla="*/ 22714 h 1391309"/>
                <a:gd name="connsiteX80" fmla="*/ 1402307 w 1416986"/>
                <a:gd name="connsiteY80" fmla="*/ 10273 h 1391309"/>
                <a:gd name="connsiteX81" fmla="*/ 1415590 w 1416986"/>
                <a:gd name="connsiteY81" fmla="*/ -250 h 1391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416986" h="1391309">
                  <a:moveTo>
                    <a:pt x="1415918" y="-63"/>
                  </a:moveTo>
                  <a:cubicBezTo>
                    <a:pt x="1410772" y="2317"/>
                    <a:pt x="1405301" y="3758"/>
                    <a:pt x="1399641" y="4193"/>
                  </a:cubicBezTo>
                  <a:cubicBezTo>
                    <a:pt x="1396695" y="4193"/>
                    <a:pt x="1393655" y="4193"/>
                    <a:pt x="1390615" y="4193"/>
                  </a:cubicBezTo>
                  <a:cubicBezTo>
                    <a:pt x="1387809" y="4244"/>
                    <a:pt x="1385002" y="4590"/>
                    <a:pt x="1382290" y="5222"/>
                  </a:cubicBezTo>
                  <a:cubicBezTo>
                    <a:pt x="1371907" y="8215"/>
                    <a:pt x="1362132" y="12565"/>
                    <a:pt x="1351749" y="15792"/>
                  </a:cubicBezTo>
                  <a:cubicBezTo>
                    <a:pt x="1331264" y="22807"/>
                    <a:pt x="1310217" y="28747"/>
                    <a:pt x="1288984" y="35014"/>
                  </a:cubicBezTo>
                  <a:cubicBezTo>
                    <a:pt x="1246891" y="47548"/>
                    <a:pt x="1203021" y="61626"/>
                    <a:pt x="1164904" y="87724"/>
                  </a:cubicBezTo>
                  <a:cubicBezTo>
                    <a:pt x="1145728" y="100450"/>
                    <a:pt x="1128376" y="115800"/>
                    <a:pt x="1113457" y="133324"/>
                  </a:cubicBezTo>
                  <a:cubicBezTo>
                    <a:pt x="1111539" y="135476"/>
                    <a:pt x="1109575" y="137580"/>
                    <a:pt x="1107751" y="139779"/>
                  </a:cubicBezTo>
                  <a:lnTo>
                    <a:pt x="1102653" y="146701"/>
                  </a:lnTo>
                  <a:lnTo>
                    <a:pt x="1092504" y="160731"/>
                  </a:lnTo>
                  <a:cubicBezTo>
                    <a:pt x="1086377" y="170361"/>
                    <a:pt x="1080718" y="180305"/>
                    <a:pt x="1075620" y="190524"/>
                  </a:cubicBezTo>
                  <a:cubicBezTo>
                    <a:pt x="1054854" y="231307"/>
                    <a:pt x="1044004" y="274990"/>
                    <a:pt x="1031236" y="316802"/>
                  </a:cubicBezTo>
                  <a:cubicBezTo>
                    <a:pt x="1018467" y="358615"/>
                    <a:pt x="1003548" y="399117"/>
                    <a:pt x="978339" y="432932"/>
                  </a:cubicBezTo>
                  <a:cubicBezTo>
                    <a:pt x="965898" y="449905"/>
                    <a:pt x="951306" y="465170"/>
                    <a:pt x="934889" y="478345"/>
                  </a:cubicBezTo>
                  <a:cubicBezTo>
                    <a:pt x="918193" y="491324"/>
                    <a:pt x="900046" y="502310"/>
                    <a:pt x="880824" y="511084"/>
                  </a:cubicBezTo>
                  <a:cubicBezTo>
                    <a:pt x="842145" y="529138"/>
                    <a:pt x="799631" y="539146"/>
                    <a:pt x="757117" y="552569"/>
                  </a:cubicBezTo>
                  <a:cubicBezTo>
                    <a:pt x="735556" y="558972"/>
                    <a:pt x="714417" y="566782"/>
                    <a:pt x="693838" y="575954"/>
                  </a:cubicBezTo>
                  <a:cubicBezTo>
                    <a:pt x="672978" y="585561"/>
                    <a:pt x="653241" y="597482"/>
                    <a:pt x="635048" y="611499"/>
                  </a:cubicBezTo>
                  <a:cubicBezTo>
                    <a:pt x="599176" y="640613"/>
                    <a:pt x="571161" y="678212"/>
                    <a:pt x="553528" y="720894"/>
                  </a:cubicBezTo>
                  <a:cubicBezTo>
                    <a:pt x="535429" y="762706"/>
                    <a:pt x="525467" y="806202"/>
                    <a:pt x="511903" y="847173"/>
                  </a:cubicBezTo>
                  <a:cubicBezTo>
                    <a:pt x="505543" y="867639"/>
                    <a:pt x="497591" y="887577"/>
                    <a:pt x="488097" y="906804"/>
                  </a:cubicBezTo>
                  <a:cubicBezTo>
                    <a:pt x="483748" y="916532"/>
                    <a:pt x="477761" y="925138"/>
                    <a:pt x="472523" y="934305"/>
                  </a:cubicBezTo>
                  <a:lnTo>
                    <a:pt x="463169" y="947026"/>
                  </a:lnTo>
                  <a:cubicBezTo>
                    <a:pt x="460222" y="951366"/>
                    <a:pt x="456949" y="955463"/>
                    <a:pt x="453347" y="959280"/>
                  </a:cubicBezTo>
                  <a:lnTo>
                    <a:pt x="442777" y="970879"/>
                  </a:lnTo>
                  <a:cubicBezTo>
                    <a:pt x="439129" y="974620"/>
                    <a:pt x="435013" y="977894"/>
                    <a:pt x="431225" y="981449"/>
                  </a:cubicBezTo>
                  <a:cubicBezTo>
                    <a:pt x="423461" y="988459"/>
                    <a:pt x="415183" y="994928"/>
                    <a:pt x="406531" y="1000811"/>
                  </a:cubicBezTo>
                  <a:cubicBezTo>
                    <a:pt x="388898" y="1012420"/>
                    <a:pt x="370097" y="1022157"/>
                    <a:pt x="350407" y="1029855"/>
                  </a:cubicBezTo>
                  <a:cubicBezTo>
                    <a:pt x="310886" y="1046084"/>
                    <a:pt x="267765" y="1055392"/>
                    <a:pt x="225344" y="1070031"/>
                  </a:cubicBezTo>
                  <a:cubicBezTo>
                    <a:pt x="203783" y="1077191"/>
                    <a:pt x="182784" y="1086012"/>
                    <a:pt x="162579" y="1096409"/>
                  </a:cubicBezTo>
                  <a:cubicBezTo>
                    <a:pt x="152477" y="1101989"/>
                    <a:pt x="142749" y="1108139"/>
                    <a:pt x="133348" y="1114836"/>
                  </a:cubicBezTo>
                  <a:lnTo>
                    <a:pt x="119317" y="1125079"/>
                  </a:lnTo>
                  <a:lnTo>
                    <a:pt x="106362" y="1136678"/>
                  </a:lnTo>
                  <a:cubicBezTo>
                    <a:pt x="71939" y="1167873"/>
                    <a:pt x="48040" y="1209358"/>
                    <a:pt x="32465" y="1251591"/>
                  </a:cubicBezTo>
                  <a:cubicBezTo>
                    <a:pt x="24374" y="1272731"/>
                    <a:pt x="18061" y="1294198"/>
                    <a:pt x="11746" y="1315292"/>
                  </a:cubicBezTo>
                  <a:cubicBezTo>
                    <a:pt x="10109" y="1320577"/>
                    <a:pt x="8519" y="1325815"/>
                    <a:pt x="7069" y="1331147"/>
                  </a:cubicBezTo>
                  <a:lnTo>
                    <a:pt x="6789" y="1332176"/>
                  </a:lnTo>
                  <a:lnTo>
                    <a:pt x="2112" y="1346955"/>
                  </a:lnTo>
                  <a:cubicBezTo>
                    <a:pt x="-601" y="1353872"/>
                    <a:pt x="-1209" y="1361435"/>
                    <a:pt x="335" y="1368703"/>
                  </a:cubicBezTo>
                  <a:cubicBezTo>
                    <a:pt x="2159" y="1376125"/>
                    <a:pt x="1644" y="1383922"/>
                    <a:pt x="-1069" y="1391059"/>
                  </a:cubicBezTo>
                  <a:lnTo>
                    <a:pt x="-1069" y="1391059"/>
                  </a:lnTo>
                  <a:cubicBezTo>
                    <a:pt x="2252" y="1384114"/>
                    <a:pt x="7350" y="1378178"/>
                    <a:pt x="13711" y="1373848"/>
                  </a:cubicBezTo>
                  <a:cubicBezTo>
                    <a:pt x="19978" y="1368937"/>
                    <a:pt x="24515" y="1362155"/>
                    <a:pt x="26666" y="1354485"/>
                  </a:cubicBezTo>
                  <a:cubicBezTo>
                    <a:pt x="29285" y="1347956"/>
                    <a:pt x="31437" y="1341254"/>
                    <a:pt x="33120" y="1334421"/>
                  </a:cubicBezTo>
                  <a:cubicBezTo>
                    <a:pt x="34336" y="1330492"/>
                    <a:pt x="35506" y="1326563"/>
                    <a:pt x="36581" y="1322635"/>
                  </a:cubicBezTo>
                  <a:cubicBezTo>
                    <a:pt x="42662" y="1301495"/>
                    <a:pt x="48975" y="1280542"/>
                    <a:pt x="56412" y="1260665"/>
                  </a:cubicBezTo>
                  <a:cubicBezTo>
                    <a:pt x="71238" y="1220536"/>
                    <a:pt x="92471" y="1183401"/>
                    <a:pt x="123620" y="1155292"/>
                  </a:cubicBezTo>
                  <a:lnTo>
                    <a:pt x="135219" y="1144769"/>
                  </a:lnTo>
                  <a:lnTo>
                    <a:pt x="147847" y="1135415"/>
                  </a:lnTo>
                  <a:cubicBezTo>
                    <a:pt x="156359" y="1129311"/>
                    <a:pt x="165245" y="1123708"/>
                    <a:pt x="174412" y="1118625"/>
                  </a:cubicBezTo>
                  <a:cubicBezTo>
                    <a:pt x="193354" y="1108817"/>
                    <a:pt x="213044" y="1100482"/>
                    <a:pt x="233249" y="1093696"/>
                  </a:cubicBezTo>
                  <a:cubicBezTo>
                    <a:pt x="274079" y="1079665"/>
                    <a:pt x="317434" y="1070031"/>
                    <a:pt x="359527" y="1052913"/>
                  </a:cubicBezTo>
                  <a:cubicBezTo>
                    <a:pt x="380901" y="1044578"/>
                    <a:pt x="401292" y="1033948"/>
                    <a:pt x="420328" y="1021203"/>
                  </a:cubicBezTo>
                  <a:cubicBezTo>
                    <a:pt x="429869" y="1014730"/>
                    <a:pt x="438942" y="1007588"/>
                    <a:pt x="447501" y="999829"/>
                  </a:cubicBezTo>
                  <a:cubicBezTo>
                    <a:pt x="451757" y="995901"/>
                    <a:pt x="456247" y="992206"/>
                    <a:pt x="460175" y="987996"/>
                  </a:cubicBezTo>
                  <a:lnTo>
                    <a:pt x="471728" y="975088"/>
                  </a:lnTo>
                  <a:cubicBezTo>
                    <a:pt x="475657" y="970860"/>
                    <a:pt x="479258" y="966342"/>
                    <a:pt x="482532" y="961571"/>
                  </a:cubicBezTo>
                  <a:cubicBezTo>
                    <a:pt x="485946" y="956894"/>
                    <a:pt x="489407" y="952217"/>
                    <a:pt x="492681" y="947540"/>
                  </a:cubicBezTo>
                  <a:cubicBezTo>
                    <a:pt x="498807" y="937850"/>
                    <a:pt x="504420" y="927841"/>
                    <a:pt x="509518" y="917561"/>
                  </a:cubicBezTo>
                  <a:cubicBezTo>
                    <a:pt x="519480" y="897225"/>
                    <a:pt x="527852" y="876165"/>
                    <a:pt x="534586" y="854562"/>
                  </a:cubicBezTo>
                  <a:cubicBezTo>
                    <a:pt x="548056" y="811955"/>
                    <a:pt x="558439" y="769347"/>
                    <a:pt x="575136" y="730061"/>
                  </a:cubicBezTo>
                  <a:cubicBezTo>
                    <a:pt x="591131" y="690900"/>
                    <a:pt x="616668" y="656375"/>
                    <a:pt x="649453" y="629646"/>
                  </a:cubicBezTo>
                  <a:cubicBezTo>
                    <a:pt x="666103" y="616691"/>
                    <a:pt x="684250" y="605704"/>
                    <a:pt x="703425" y="596907"/>
                  </a:cubicBezTo>
                  <a:cubicBezTo>
                    <a:pt x="723069" y="588086"/>
                    <a:pt x="743227" y="580556"/>
                    <a:pt x="763852" y="574364"/>
                  </a:cubicBezTo>
                  <a:cubicBezTo>
                    <a:pt x="805243" y="561268"/>
                    <a:pt x="848880" y="550698"/>
                    <a:pt x="890131" y="531523"/>
                  </a:cubicBezTo>
                  <a:cubicBezTo>
                    <a:pt x="910943" y="521907"/>
                    <a:pt x="930634" y="509934"/>
                    <a:pt x="948734" y="495837"/>
                  </a:cubicBezTo>
                  <a:cubicBezTo>
                    <a:pt x="966646" y="481376"/>
                    <a:pt x="982595" y="464614"/>
                    <a:pt x="996158" y="445981"/>
                  </a:cubicBezTo>
                  <a:cubicBezTo>
                    <a:pt x="1009674" y="427516"/>
                    <a:pt x="1020993" y="407499"/>
                    <a:pt x="1029739" y="386349"/>
                  </a:cubicBezTo>
                  <a:cubicBezTo>
                    <a:pt x="1038251" y="365593"/>
                    <a:pt x="1045687" y="344406"/>
                    <a:pt x="1052001" y="322882"/>
                  </a:cubicBezTo>
                  <a:cubicBezTo>
                    <a:pt x="1064629" y="280462"/>
                    <a:pt x="1075620" y="238089"/>
                    <a:pt x="1094702" y="200018"/>
                  </a:cubicBezTo>
                  <a:cubicBezTo>
                    <a:pt x="1099005" y="190243"/>
                    <a:pt x="1105085" y="181591"/>
                    <a:pt x="1110276" y="172330"/>
                  </a:cubicBezTo>
                  <a:lnTo>
                    <a:pt x="1119630" y="159515"/>
                  </a:lnTo>
                  <a:lnTo>
                    <a:pt x="1124307" y="153155"/>
                  </a:lnTo>
                  <a:cubicBezTo>
                    <a:pt x="1125991" y="151097"/>
                    <a:pt x="1127815" y="149226"/>
                    <a:pt x="1129545" y="147215"/>
                  </a:cubicBezTo>
                  <a:cubicBezTo>
                    <a:pt x="1143202" y="131094"/>
                    <a:pt x="1159057" y="116932"/>
                    <a:pt x="1176596" y="105122"/>
                  </a:cubicBezTo>
                  <a:cubicBezTo>
                    <a:pt x="1211393" y="80942"/>
                    <a:pt x="1252877" y="67706"/>
                    <a:pt x="1294690" y="54891"/>
                  </a:cubicBezTo>
                  <a:cubicBezTo>
                    <a:pt x="1315690" y="48718"/>
                    <a:pt x="1336783" y="42638"/>
                    <a:pt x="1358250" y="35435"/>
                  </a:cubicBezTo>
                  <a:cubicBezTo>
                    <a:pt x="1363582" y="33798"/>
                    <a:pt x="1368820" y="31740"/>
                    <a:pt x="1374058" y="29635"/>
                  </a:cubicBezTo>
                  <a:cubicBezTo>
                    <a:pt x="1379437" y="27882"/>
                    <a:pt x="1384581" y="25562"/>
                    <a:pt x="1389446" y="22714"/>
                  </a:cubicBezTo>
                  <a:cubicBezTo>
                    <a:pt x="1394450" y="19365"/>
                    <a:pt x="1398800" y="15151"/>
                    <a:pt x="1402307" y="10273"/>
                  </a:cubicBezTo>
                  <a:cubicBezTo>
                    <a:pt x="1406095" y="6007"/>
                    <a:pt x="1410586" y="2448"/>
                    <a:pt x="1415590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8931BD42-98E6-4878-83E5-1C54FC0897D9}"/>
                </a:ext>
              </a:extLst>
            </p:cNvPr>
            <p:cNvSpPr/>
            <p:nvPr/>
          </p:nvSpPr>
          <p:spPr>
            <a:xfrm>
              <a:off x="9670312" y="4900990"/>
              <a:ext cx="1317646" cy="1314700"/>
            </a:xfrm>
            <a:custGeom>
              <a:avLst/>
              <a:gdLst>
                <a:gd name="connsiteX0" fmla="*/ 1316578 w 1317646"/>
                <a:gd name="connsiteY0" fmla="*/ -63 h 1314700"/>
                <a:gd name="connsiteX1" fmla="*/ 1300957 w 1317646"/>
                <a:gd name="connsiteY1" fmla="*/ 1480 h 1314700"/>
                <a:gd name="connsiteX2" fmla="*/ 1284353 w 1317646"/>
                <a:gd name="connsiteY2" fmla="*/ -250 h 1314700"/>
                <a:gd name="connsiteX3" fmla="*/ 1269200 w 1317646"/>
                <a:gd name="connsiteY3" fmla="*/ 3024 h 1314700"/>
                <a:gd name="connsiteX4" fmla="*/ 1254281 w 1317646"/>
                <a:gd name="connsiteY4" fmla="*/ 7420 h 1314700"/>
                <a:gd name="connsiteX5" fmla="*/ 1195351 w 1317646"/>
                <a:gd name="connsiteY5" fmla="*/ 29449 h 1314700"/>
                <a:gd name="connsiteX6" fmla="*/ 1094281 w 1317646"/>
                <a:gd name="connsiteY6" fmla="*/ 106525 h 1314700"/>
                <a:gd name="connsiteX7" fmla="*/ 1037456 w 1317646"/>
                <a:gd name="connsiteY7" fmla="*/ 219568 h 1314700"/>
                <a:gd name="connsiteX8" fmla="*/ 999665 w 1317646"/>
                <a:gd name="connsiteY8" fmla="*/ 336025 h 1314700"/>
                <a:gd name="connsiteX9" fmla="*/ 972679 w 1317646"/>
                <a:gd name="connsiteY9" fmla="*/ 388875 h 1314700"/>
                <a:gd name="connsiteX10" fmla="*/ 934328 w 1317646"/>
                <a:gd name="connsiteY10" fmla="*/ 433353 h 1314700"/>
                <a:gd name="connsiteX11" fmla="*/ 831808 w 1317646"/>
                <a:gd name="connsiteY11" fmla="*/ 491348 h 1314700"/>
                <a:gd name="connsiteX12" fmla="*/ 714089 w 1317646"/>
                <a:gd name="connsiteY12" fmla="*/ 528390 h 1314700"/>
                <a:gd name="connsiteX13" fmla="*/ 604648 w 1317646"/>
                <a:gd name="connsiteY13" fmla="*/ 592932 h 1314700"/>
                <a:gd name="connsiteX14" fmla="*/ 535381 w 1317646"/>
                <a:gd name="connsiteY14" fmla="*/ 699801 h 1314700"/>
                <a:gd name="connsiteX15" fmla="*/ 497685 w 1317646"/>
                <a:gd name="connsiteY15" fmla="*/ 817848 h 1314700"/>
                <a:gd name="connsiteX16" fmla="*/ 443245 w 1317646"/>
                <a:gd name="connsiteY16" fmla="*/ 922566 h 1314700"/>
                <a:gd name="connsiteX17" fmla="*/ 349097 w 1317646"/>
                <a:gd name="connsiteY17" fmla="*/ 991270 h 1314700"/>
                <a:gd name="connsiteX18" fmla="*/ 233389 w 1317646"/>
                <a:gd name="connsiteY18" fmla="*/ 1029388 h 1314700"/>
                <a:gd name="connsiteX19" fmla="*/ 174084 w 1317646"/>
                <a:gd name="connsiteY19" fmla="*/ 1050762 h 1314700"/>
                <a:gd name="connsiteX20" fmla="*/ 118288 w 1317646"/>
                <a:gd name="connsiteY20" fmla="*/ 1082565 h 1314700"/>
                <a:gd name="connsiteX21" fmla="*/ 105333 w 1317646"/>
                <a:gd name="connsiteY21" fmla="*/ 1092247 h 1314700"/>
                <a:gd name="connsiteX22" fmla="*/ 93313 w 1317646"/>
                <a:gd name="connsiteY22" fmla="*/ 1103097 h 1314700"/>
                <a:gd name="connsiteX23" fmla="*/ 81667 w 1317646"/>
                <a:gd name="connsiteY23" fmla="*/ 1114369 h 1314700"/>
                <a:gd name="connsiteX24" fmla="*/ 70910 w 1317646"/>
                <a:gd name="connsiteY24" fmla="*/ 1126482 h 1314700"/>
                <a:gd name="connsiteX25" fmla="*/ 35786 w 1317646"/>
                <a:gd name="connsiteY25" fmla="*/ 1180548 h 1314700"/>
                <a:gd name="connsiteX26" fmla="*/ 11887 w 1317646"/>
                <a:gd name="connsiteY26" fmla="*/ 1239338 h 1314700"/>
                <a:gd name="connsiteX27" fmla="*/ 7210 w 1317646"/>
                <a:gd name="connsiteY27" fmla="*/ 1254257 h 1314700"/>
                <a:gd name="connsiteX28" fmla="*/ 6040 w 1317646"/>
                <a:gd name="connsiteY28" fmla="*/ 1258233 h 1314700"/>
                <a:gd name="connsiteX29" fmla="*/ 2159 w 1317646"/>
                <a:gd name="connsiteY29" fmla="*/ 1270346 h 1314700"/>
                <a:gd name="connsiteX30" fmla="*/ 381 w 1317646"/>
                <a:gd name="connsiteY30" fmla="*/ 1292094 h 1314700"/>
                <a:gd name="connsiteX31" fmla="*/ -1069 w 1317646"/>
                <a:gd name="connsiteY31" fmla="*/ 1314450 h 1314700"/>
                <a:gd name="connsiteX32" fmla="*/ -1069 w 1317646"/>
                <a:gd name="connsiteY32" fmla="*/ 1314450 h 1314700"/>
                <a:gd name="connsiteX33" fmla="*/ 7350 w 1317646"/>
                <a:gd name="connsiteY33" fmla="*/ 1302711 h 1314700"/>
                <a:gd name="connsiteX34" fmla="*/ 7864 w 1317646"/>
                <a:gd name="connsiteY34" fmla="*/ 1302711 h 1314700"/>
                <a:gd name="connsiteX35" fmla="*/ 7864 w 1317646"/>
                <a:gd name="connsiteY35" fmla="*/ 1301916 h 1314700"/>
                <a:gd name="connsiteX36" fmla="*/ 13617 w 1317646"/>
                <a:gd name="connsiteY36" fmla="*/ 1297239 h 1314700"/>
                <a:gd name="connsiteX37" fmla="*/ 26619 w 1317646"/>
                <a:gd name="connsiteY37" fmla="*/ 1277876 h 1314700"/>
                <a:gd name="connsiteX38" fmla="*/ 33213 w 1317646"/>
                <a:gd name="connsiteY38" fmla="*/ 1257204 h 1314700"/>
                <a:gd name="connsiteX39" fmla="*/ 36441 w 1317646"/>
                <a:gd name="connsiteY39" fmla="*/ 1247522 h 1314700"/>
                <a:gd name="connsiteX40" fmla="*/ 58516 w 1317646"/>
                <a:gd name="connsiteY40" fmla="*/ 1192007 h 1314700"/>
                <a:gd name="connsiteX41" fmla="*/ 90273 w 1317646"/>
                <a:gd name="connsiteY41" fmla="*/ 1142758 h 1314700"/>
                <a:gd name="connsiteX42" fmla="*/ 99954 w 1317646"/>
                <a:gd name="connsiteY42" fmla="*/ 1131861 h 1314700"/>
                <a:gd name="connsiteX43" fmla="*/ 110430 w 1317646"/>
                <a:gd name="connsiteY43" fmla="*/ 1121665 h 1314700"/>
                <a:gd name="connsiteX44" fmla="*/ 121281 w 1317646"/>
                <a:gd name="connsiteY44" fmla="*/ 1111890 h 1314700"/>
                <a:gd name="connsiteX45" fmla="*/ 132974 w 1317646"/>
                <a:gd name="connsiteY45" fmla="*/ 1103051 h 1314700"/>
                <a:gd name="connsiteX46" fmla="*/ 240544 w 1317646"/>
                <a:gd name="connsiteY46" fmla="*/ 1053334 h 1314700"/>
                <a:gd name="connsiteX47" fmla="*/ 358872 w 1317646"/>
                <a:gd name="connsiteY47" fmla="*/ 1014047 h 1314700"/>
                <a:gd name="connsiteX48" fmla="*/ 461765 w 1317646"/>
                <a:gd name="connsiteY48" fmla="*/ 938140 h 1314700"/>
                <a:gd name="connsiteX49" fmla="*/ 520368 w 1317646"/>
                <a:gd name="connsiteY49" fmla="*/ 825425 h 1314700"/>
                <a:gd name="connsiteX50" fmla="*/ 557410 w 1317646"/>
                <a:gd name="connsiteY50" fmla="*/ 708500 h 1314700"/>
                <a:gd name="connsiteX51" fmla="*/ 620690 w 1317646"/>
                <a:gd name="connsiteY51" fmla="*/ 609956 h 1314700"/>
                <a:gd name="connsiteX52" fmla="*/ 721946 w 1317646"/>
                <a:gd name="connsiteY52" fmla="*/ 550231 h 1314700"/>
                <a:gd name="connsiteX53" fmla="*/ 839339 w 1317646"/>
                <a:gd name="connsiteY53" fmla="*/ 512815 h 1314700"/>
                <a:gd name="connsiteX54" fmla="*/ 897473 w 1317646"/>
                <a:gd name="connsiteY54" fmla="*/ 487419 h 1314700"/>
                <a:gd name="connsiteX55" fmla="*/ 924553 w 1317646"/>
                <a:gd name="connsiteY55" fmla="*/ 470208 h 1314700"/>
                <a:gd name="connsiteX56" fmla="*/ 937555 w 1317646"/>
                <a:gd name="connsiteY56" fmla="*/ 460854 h 1314700"/>
                <a:gd name="connsiteX57" fmla="*/ 949575 w 1317646"/>
                <a:gd name="connsiteY57" fmla="*/ 450143 h 1314700"/>
                <a:gd name="connsiteX58" fmla="*/ 991387 w 1317646"/>
                <a:gd name="connsiteY58" fmla="*/ 401316 h 1314700"/>
                <a:gd name="connsiteX59" fmla="*/ 1020385 w 1317646"/>
                <a:gd name="connsiteY59" fmla="*/ 344537 h 1314700"/>
                <a:gd name="connsiteX60" fmla="*/ 1058175 w 1317646"/>
                <a:gd name="connsiteY60" fmla="*/ 226350 h 1314700"/>
                <a:gd name="connsiteX61" fmla="*/ 1110978 w 1317646"/>
                <a:gd name="connsiteY61" fmla="*/ 120042 h 1314700"/>
                <a:gd name="connsiteX62" fmla="*/ 1204097 w 1317646"/>
                <a:gd name="connsiteY62" fmla="*/ 48905 h 1314700"/>
                <a:gd name="connsiteX63" fmla="*/ 1260595 w 1317646"/>
                <a:gd name="connsiteY63" fmla="*/ 27859 h 1314700"/>
                <a:gd name="connsiteX64" fmla="*/ 1275140 w 1317646"/>
                <a:gd name="connsiteY64" fmla="*/ 23182 h 1314700"/>
                <a:gd name="connsiteX65" fmla="*/ 1289545 w 1317646"/>
                <a:gd name="connsiteY65" fmla="*/ 17663 h 1314700"/>
                <a:gd name="connsiteX66" fmla="*/ 1302547 w 1317646"/>
                <a:gd name="connsiteY66" fmla="*/ 7280 h 1314700"/>
                <a:gd name="connsiteX67" fmla="*/ 1316578 w 1317646"/>
                <a:gd name="connsiteY67" fmla="*/ -16 h 1314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317646" h="1314700">
                  <a:moveTo>
                    <a:pt x="1316578" y="-63"/>
                  </a:moveTo>
                  <a:cubicBezTo>
                    <a:pt x="1311480" y="1256"/>
                    <a:pt x="1306195" y="1775"/>
                    <a:pt x="1300957" y="1480"/>
                  </a:cubicBezTo>
                  <a:cubicBezTo>
                    <a:pt x="1295485" y="321"/>
                    <a:pt x="1289919" y="-260"/>
                    <a:pt x="1284353" y="-250"/>
                  </a:cubicBezTo>
                  <a:cubicBezTo>
                    <a:pt x="1279209" y="222"/>
                    <a:pt x="1274111" y="1321"/>
                    <a:pt x="1269200" y="3024"/>
                  </a:cubicBezTo>
                  <a:lnTo>
                    <a:pt x="1254281" y="7420"/>
                  </a:lnTo>
                  <a:cubicBezTo>
                    <a:pt x="1234216" y="13556"/>
                    <a:pt x="1214526" y="20913"/>
                    <a:pt x="1195351" y="29449"/>
                  </a:cubicBezTo>
                  <a:cubicBezTo>
                    <a:pt x="1155970" y="46641"/>
                    <a:pt x="1121267" y="73080"/>
                    <a:pt x="1094281" y="106525"/>
                  </a:cubicBezTo>
                  <a:cubicBezTo>
                    <a:pt x="1067482" y="140246"/>
                    <a:pt x="1049943" y="179954"/>
                    <a:pt x="1037456" y="219568"/>
                  </a:cubicBezTo>
                  <a:cubicBezTo>
                    <a:pt x="1024968" y="259182"/>
                    <a:pt x="1015100" y="299077"/>
                    <a:pt x="999665" y="336025"/>
                  </a:cubicBezTo>
                  <a:cubicBezTo>
                    <a:pt x="992323" y="354443"/>
                    <a:pt x="983296" y="372136"/>
                    <a:pt x="972679" y="388875"/>
                  </a:cubicBezTo>
                  <a:cubicBezTo>
                    <a:pt x="961688" y="405165"/>
                    <a:pt x="948827" y="420094"/>
                    <a:pt x="934328" y="433353"/>
                  </a:cubicBezTo>
                  <a:cubicBezTo>
                    <a:pt x="905518" y="460105"/>
                    <a:pt x="869832" y="478346"/>
                    <a:pt x="831808" y="491348"/>
                  </a:cubicBezTo>
                  <a:cubicBezTo>
                    <a:pt x="793784" y="504350"/>
                    <a:pt x="753609" y="514031"/>
                    <a:pt x="714089" y="528390"/>
                  </a:cubicBezTo>
                  <a:cubicBezTo>
                    <a:pt x="673446" y="541915"/>
                    <a:pt x="636170" y="563916"/>
                    <a:pt x="604648" y="592932"/>
                  </a:cubicBezTo>
                  <a:cubicBezTo>
                    <a:pt x="572797" y="622210"/>
                    <a:pt x="550862" y="660701"/>
                    <a:pt x="535381" y="699801"/>
                  </a:cubicBezTo>
                  <a:cubicBezTo>
                    <a:pt x="519901" y="738900"/>
                    <a:pt x="510500" y="779310"/>
                    <a:pt x="497685" y="817848"/>
                  </a:cubicBezTo>
                  <a:cubicBezTo>
                    <a:pt x="484870" y="856386"/>
                    <a:pt x="468594" y="892680"/>
                    <a:pt x="443245" y="922566"/>
                  </a:cubicBezTo>
                  <a:cubicBezTo>
                    <a:pt x="417521" y="952335"/>
                    <a:pt x="385297" y="975832"/>
                    <a:pt x="349097" y="991270"/>
                  </a:cubicBezTo>
                  <a:cubicBezTo>
                    <a:pt x="312617" y="1007172"/>
                    <a:pt x="273143" y="1017041"/>
                    <a:pt x="233389" y="1029388"/>
                  </a:cubicBezTo>
                  <a:cubicBezTo>
                    <a:pt x="213277" y="1035491"/>
                    <a:pt x="193494" y="1042624"/>
                    <a:pt x="174084" y="1050762"/>
                  </a:cubicBezTo>
                  <a:cubicBezTo>
                    <a:pt x="154394" y="1059358"/>
                    <a:pt x="135686" y="1070017"/>
                    <a:pt x="118288" y="1082565"/>
                  </a:cubicBezTo>
                  <a:cubicBezTo>
                    <a:pt x="113985" y="1085792"/>
                    <a:pt x="109448" y="1088739"/>
                    <a:pt x="105333" y="1092247"/>
                  </a:cubicBezTo>
                  <a:lnTo>
                    <a:pt x="93313" y="1103097"/>
                  </a:lnTo>
                  <a:cubicBezTo>
                    <a:pt x="89197" y="1106600"/>
                    <a:pt x="85315" y="1110365"/>
                    <a:pt x="81667" y="1114369"/>
                  </a:cubicBezTo>
                  <a:cubicBezTo>
                    <a:pt x="77879" y="1118251"/>
                    <a:pt x="74371" y="1122320"/>
                    <a:pt x="70910" y="1126482"/>
                  </a:cubicBezTo>
                  <a:cubicBezTo>
                    <a:pt x="57160" y="1143076"/>
                    <a:pt x="45374" y="1161223"/>
                    <a:pt x="35786" y="1180548"/>
                  </a:cubicBezTo>
                  <a:cubicBezTo>
                    <a:pt x="26479" y="1199569"/>
                    <a:pt x="18481" y="1219213"/>
                    <a:pt x="11887" y="1239338"/>
                  </a:cubicBezTo>
                  <a:cubicBezTo>
                    <a:pt x="10203" y="1244249"/>
                    <a:pt x="8753" y="1249300"/>
                    <a:pt x="7210" y="1254257"/>
                  </a:cubicBezTo>
                  <a:cubicBezTo>
                    <a:pt x="6789" y="1255614"/>
                    <a:pt x="6414" y="1256923"/>
                    <a:pt x="6040" y="1258233"/>
                  </a:cubicBezTo>
                  <a:lnTo>
                    <a:pt x="2159" y="1270346"/>
                  </a:lnTo>
                  <a:cubicBezTo>
                    <a:pt x="-554" y="1277263"/>
                    <a:pt x="-1162" y="1284826"/>
                    <a:pt x="381" y="1292094"/>
                  </a:cubicBezTo>
                  <a:cubicBezTo>
                    <a:pt x="2205" y="1299521"/>
                    <a:pt x="1691" y="1307322"/>
                    <a:pt x="-1069" y="1314450"/>
                  </a:cubicBezTo>
                  <a:lnTo>
                    <a:pt x="-1069" y="1314450"/>
                  </a:lnTo>
                  <a:cubicBezTo>
                    <a:pt x="1036" y="1310091"/>
                    <a:pt x="3889" y="1306125"/>
                    <a:pt x="7350" y="1302711"/>
                  </a:cubicBezTo>
                  <a:lnTo>
                    <a:pt x="7864" y="1302711"/>
                  </a:lnTo>
                  <a:cubicBezTo>
                    <a:pt x="7864" y="1302430"/>
                    <a:pt x="7864" y="1302196"/>
                    <a:pt x="7864" y="1301916"/>
                  </a:cubicBezTo>
                  <a:cubicBezTo>
                    <a:pt x="9642" y="1300218"/>
                    <a:pt x="11606" y="1298651"/>
                    <a:pt x="13617" y="1297239"/>
                  </a:cubicBezTo>
                  <a:cubicBezTo>
                    <a:pt x="19884" y="1292333"/>
                    <a:pt x="24467" y="1285551"/>
                    <a:pt x="26619" y="1277876"/>
                  </a:cubicBezTo>
                  <a:cubicBezTo>
                    <a:pt x="29285" y="1271150"/>
                    <a:pt x="31530" y="1264243"/>
                    <a:pt x="33213" y="1257204"/>
                  </a:cubicBezTo>
                  <a:lnTo>
                    <a:pt x="36441" y="1247522"/>
                  </a:lnTo>
                  <a:cubicBezTo>
                    <a:pt x="42427" y="1228496"/>
                    <a:pt x="49770" y="1209938"/>
                    <a:pt x="58516" y="1192007"/>
                  </a:cubicBezTo>
                  <a:cubicBezTo>
                    <a:pt x="67075" y="1174370"/>
                    <a:pt x="77738" y="1157837"/>
                    <a:pt x="90273" y="1142758"/>
                  </a:cubicBezTo>
                  <a:cubicBezTo>
                    <a:pt x="93360" y="1139017"/>
                    <a:pt x="96540" y="1135322"/>
                    <a:pt x="99954" y="1131861"/>
                  </a:cubicBezTo>
                  <a:cubicBezTo>
                    <a:pt x="103228" y="1128241"/>
                    <a:pt x="106736" y="1124836"/>
                    <a:pt x="110430" y="1121665"/>
                  </a:cubicBezTo>
                  <a:lnTo>
                    <a:pt x="121281" y="1111890"/>
                  </a:lnTo>
                  <a:cubicBezTo>
                    <a:pt x="124930" y="1108663"/>
                    <a:pt x="129092" y="1106044"/>
                    <a:pt x="132974" y="1103051"/>
                  </a:cubicBezTo>
                  <a:cubicBezTo>
                    <a:pt x="164403" y="1079666"/>
                    <a:pt x="201866" y="1065260"/>
                    <a:pt x="240544" y="1053334"/>
                  </a:cubicBezTo>
                  <a:cubicBezTo>
                    <a:pt x="279223" y="1041408"/>
                    <a:pt x="320053" y="1030978"/>
                    <a:pt x="358872" y="1014047"/>
                  </a:cubicBezTo>
                  <a:cubicBezTo>
                    <a:pt x="398673" y="997168"/>
                    <a:pt x="433891" y="971164"/>
                    <a:pt x="461765" y="938140"/>
                  </a:cubicBezTo>
                  <a:cubicBezTo>
                    <a:pt x="489827" y="905027"/>
                    <a:pt x="507179" y="864945"/>
                    <a:pt x="520368" y="825425"/>
                  </a:cubicBezTo>
                  <a:cubicBezTo>
                    <a:pt x="533558" y="785904"/>
                    <a:pt x="542771" y="745916"/>
                    <a:pt x="557410" y="708500"/>
                  </a:cubicBezTo>
                  <a:cubicBezTo>
                    <a:pt x="572049" y="671084"/>
                    <a:pt x="591739" y="636568"/>
                    <a:pt x="620690" y="609956"/>
                  </a:cubicBezTo>
                  <a:cubicBezTo>
                    <a:pt x="649827" y="583087"/>
                    <a:pt x="684344" y="562723"/>
                    <a:pt x="721946" y="550231"/>
                  </a:cubicBezTo>
                  <a:cubicBezTo>
                    <a:pt x="759736" y="536481"/>
                    <a:pt x="799771" y="526846"/>
                    <a:pt x="839339" y="512815"/>
                  </a:cubicBezTo>
                  <a:cubicBezTo>
                    <a:pt x="859356" y="505949"/>
                    <a:pt x="878812" y="497451"/>
                    <a:pt x="897473" y="487419"/>
                  </a:cubicBezTo>
                  <a:cubicBezTo>
                    <a:pt x="906827" y="482228"/>
                    <a:pt x="915901" y="476480"/>
                    <a:pt x="924553" y="470208"/>
                  </a:cubicBezTo>
                  <a:lnTo>
                    <a:pt x="937555" y="460854"/>
                  </a:lnTo>
                  <a:lnTo>
                    <a:pt x="949575" y="450143"/>
                  </a:lnTo>
                  <a:cubicBezTo>
                    <a:pt x="965383" y="435589"/>
                    <a:pt x="979461" y="419196"/>
                    <a:pt x="991387" y="401316"/>
                  </a:cubicBezTo>
                  <a:cubicBezTo>
                    <a:pt x="1002846" y="383356"/>
                    <a:pt x="1012527" y="364344"/>
                    <a:pt x="1020385" y="344537"/>
                  </a:cubicBezTo>
                  <a:cubicBezTo>
                    <a:pt x="1036193" y="305251"/>
                    <a:pt x="1045687" y="265029"/>
                    <a:pt x="1058175" y="226350"/>
                  </a:cubicBezTo>
                  <a:cubicBezTo>
                    <a:pt x="1070662" y="187671"/>
                    <a:pt x="1086704" y="151050"/>
                    <a:pt x="1110978" y="120042"/>
                  </a:cubicBezTo>
                  <a:cubicBezTo>
                    <a:pt x="1135953" y="89281"/>
                    <a:pt x="1167850" y="64900"/>
                    <a:pt x="1204097" y="48905"/>
                  </a:cubicBezTo>
                  <a:cubicBezTo>
                    <a:pt x="1222477" y="40683"/>
                    <a:pt x="1241325" y="33653"/>
                    <a:pt x="1260595" y="27859"/>
                  </a:cubicBezTo>
                  <a:lnTo>
                    <a:pt x="1275140" y="23182"/>
                  </a:lnTo>
                  <a:cubicBezTo>
                    <a:pt x="1280145" y="21891"/>
                    <a:pt x="1284961" y="20039"/>
                    <a:pt x="1289545" y="17663"/>
                  </a:cubicBezTo>
                  <a:cubicBezTo>
                    <a:pt x="1294222" y="14665"/>
                    <a:pt x="1298572" y="11185"/>
                    <a:pt x="1302547" y="7280"/>
                  </a:cubicBezTo>
                  <a:cubicBezTo>
                    <a:pt x="1306803" y="4142"/>
                    <a:pt x="1311574" y="1682"/>
                    <a:pt x="1316578" y="-1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9D80D37C-C7FC-4295-BCB7-66E1B59FCD5B}"/>
                </a:ext>
              </a:extLst>
            </p:cNvPr>
            <p:cNvSpPr/>
            <p:nvPr/>
          </p:nvSpPr>
          <p:spPr>
            <a:xfrm>
              <a:off x="9746360" y="4957255"/>
              <a:ext cx="1239166" cy="1204650"/>
            </a:xfrm>
            <a:custGeom>
              <a:avLst/>
              <a:gdLst>
                <a:gd name="connsiteX0" fmla="*/ 1238051 w 1239166"/>
                <a:gd name="connsiteY0" fmla="*/ -250 h 1204650"/>
                <a:gd name="connsiteX1" fmla="*/ 1223599 w 1239166"/>
                <a:gd name="connsiteY1" fmla="*/ 1480 h 1204650"/>
                <a:gd name="connsiteX2" fmla="*/ 1207978 w 1239166"/>
                <a:gd name="connsiteY2" fmla="*/ 30 h 1204650"/>
                <a:gd name="connsiteX3" fmla="*/ 1179917 w 1239166"/>
                <a:gd name="connsiteY3" fmla="*/ 8215 h 1204650"/>
                <a:gd name="connsiteX4" fmla="*/ 1126973 w 1239166"/>
                <a:gd name="connsiteY4" fmla="*/ 34453 h 1204650"/>
                <a:gd name="connsiteX5" fmla="*/ 1043068 w 1239166"/>
                <a:gd name="connsiteY5" fmla="*/ 118077 h 1204650"/>
                <a:gd name="connsiteX6" fmla="*/ 997655 w 1239166"/>
                <a:gd name="connsiteY6" fmla="*/ 225929 h 1204650"/>
                <a:gd name="connsiteX7" fmla="*/ 961782 w 1239166"/>
                <a:gd name="connsiteY7" fmla="*/ 333172 h 1204650"/>
                <a:gd name="connsiteX8" fmla="*/ 898643 w 1239166"/>
                <a:gd name="connsiteY8" fmla="*/ 421754 h 1204650"/>
                <a:gd name="connsiteX9" fmla="*/ 803607 w 1239166"/>
                <a:gd name="connsiteY9" fmla="*/ 475913 h 1204650"/>
                <a:gd name="connsiteX10" fmla="*/ 694586 w 1239166"/>
                <a:gd name="connsiteY10" fmla="*/ 509915 h 1204650"/>
                <a:gd name="connsiteX11" fmla="*/ 589447 w 1239166"/>
                <a:gd name="connsiteY11" fmla="*/ 563280 h 1204650"/>
                <a:gd name="connsiteX12" fmla="*/ 515270 w 1239166"/>
                <a:gd name="connsiteY12" fmla="*/ 655931 h 1204650"/>
                <a:gd name="connsiteX13" fmla="*/ 476030 w 1239166"/>
                <a:gd name="connsiteY13" fmla="*/ 765512 h 1204650"/>
                <a:gd name="connsiteX14" fmla="*/ 436276 w 1239166"/>
                <a:gd name="connsiteY14" fmla="*/ 869856 h 1204650"/>
                <a:gd name="connsiteX15" fmla="*/ 364344 w 1239166"/>
                <a:gd name="connsiteY15" fmla="*/ 950347 h 1204650"/>
                <a:gd name="connsiteX16" fmla="*/ 264303 w 1239166"/>
                <a:gd name="connsiteY16" fmla="*/ 996462 h 1204650"/>
                <a:gd name="connsiteX17" fmla="*/ 154394 w 1239166"/>
                <a:gd name="connsiteY17" fmla="*/ 1031539 h 1204650"/>
                <a:gd name="connsiteX18" fmla="*/ 53839 w 1239166"/>
                <a:gd name="connsiteY18" fmla="*/ 1094772 h 1204650"/>
                <a:gd name="connsiteX19" fmla="*/ 18294 w 1239166"/>
                <a:gd name="connsiteY19" fmla="*/ 1138642 h 1204650"/>
                <a:gd name="connsiteX20" fmla="*/ 18294 w 1239166"/>
                <a:gd name="connsiteY20" fmla="*/ 1138642 h 1204650"/>
                <a:gd name="connsiteX21" fmla="*/ 9735 w 1239166"/>
                <a:gd name="connsiteY21" fmla="*/ 1153188 h 1204650"/>
                <a:gd name="connsiteX22" fmla="*/ 8846 w 1239166"/>
                <a:gd name="connsiteY22" fmla="*/ 1154778 h 1204650"/>
                <a:gd name="connsiteX23" fmla="*/ 6040 w 1239166"/>
                <a:gd name="connsiteY23" fmla="*/ 1160577 h 1204650"/>
                <a:gd name="connsiteX24" fmla="*/ 1363 w 1239166"/>
                <a:gd name="connsiteY24" fmla="*/ 1181858 h 1204650"/>
                <a:gd name="connsiteX25" fmla="*/ -1069 w 1239166"/>
                <a:gd name="connsiteY25" fmla="*/ 1204400 h 1204650"/>
                <a:gd name="connsiteX26" fmla="*/ -1069 w 1239166"/>
                <a:gd name="connsiteY26" fmla="*/ 1204400 h 1204650"/>
                <a:gd name="connsiteX27" fmla="*/ 14225 w 1239166"/>
                <a:gd name="connsiteY27" fmla="*/ 1188031 h 1204650"/>
                <a:gd name="connsiteX28" fmla="*/ 28864 w 1239166"/>
                <a:gd name="connsiteY28" fmla="*/ 1171802 h 1204650"/>
                <a:gd name="connsiteX29" fmla="*/ 37516 w 1239166"/>
                <a:gd name="connsiteY29" fmla="*/ 1156181 h 1204650"/>
                <a:gd name="connsiteX30" fmla="*/ 37516 w 1239166"/>
                <a:gd name="connsiteY30" fmla="*/ 1156181 h 1204650"/>
                <a:gd name="connsiteX31" fmla="*/ 37984 w 1239166"/>
                <a:gd name="connsiteY31" fmla="*/ 1155479 h 1204650"/>
                <a:gd name="connsiteX32" fmla="*/ 71612 w 1239166"/>
                <a:gd name="connsiteY32" fmla="*/ 1113012 h 1204650"/>
                <a:gd name="connsiteX33" fmla="*/ 163795 w 1239166"/>
                <a:gd name="connsiteY33" fmla="*/ 1054877 h 1204650"/>
                <a:gd name="connsiteX34" fmla="*/ 271927 w 1239166"/>
                <a:gd name="connsiteY34" fmla="*/ 1020174 h 1204650"/>
                <a:gd name="connsiteX35" fmla="*/ 326881 w 1239166"/>
                <a:gd name="connsiteY35" fmla="*/ 999876 h 1204650"/>
                <a:gd name="connsiteX36" fmla="*/ 378936 w 1239166"/>
                <a:gd name="connsiteY36" fmla="*/ 970692 h 1204650"/>
                <a:gd name="connsiteX37" fmla="*/ 457837 w 1239166"/>
                <a:gd name="connsiteY37" fmla="*/ 881829 h 1204650"/>
                <a:gd name="connsiteX38" fmla="*/ 499322 w 1239166"/>
                <a:gd name="connsiteY38" fmla="*/ 772575 h 1204650"/>
                <a:gd name="connsiteX39" fmla="*/ 536738 w 1239166"/>
                <a:gd name="connsiteY39" fmla="*/ 666781 h 1204650"/>
                <a:gd name="connsiteX40" fmla="*/ 604227 w 1239166"/>
                <a:gd name="connsiteY40" fmla="*/ 582034 h 1204650"/>
                <a:gd name="connsiteX41" fmla="*/ 702209 w 1239166"/>
                <a:gd name="connsiteY41" fmla="*/ 532224 h 1204650"/>
                <a:gd name="connsiteX42" fmla="*/ 811698 w 1239166"/>
                <a:gd name="connsiteY42" fmla="*/ 497755 h 1204650"/>
                <a:gd name="connsiteX43" fmla="*/ 914030 w 1239166"/>
                <a:gd name="connsiteY43" fmla="*/ 438965 h 1204650"/>
                <a:gd name="connsiteX44" fmla="*/ 982594 w 1239166"/>
                <a:gd name="connsiteY44" fmla="*/ 342526 h 1204650"/>
                <a:gd name="connsiteX45" fmla="*/ 1018888 w 1239166"/>
                <a:gd name="connsiteY45" fmla="*/ 232570 h 1204650"/>
                <a:gd name="connsiteX46" fmla="*/ 1061682 w 1239166"/>
                <a:gd name="connsiteY46" fmla="*/ 129676 h 1204650"/>
                <a:gd name="connsiteX47" fmla="*/ 1138385 w 1239166"/>
                <a:gd name="connsiteY47" fmla="*/ 52787 h 1204650"/>
                <a:gd name="connsiteX48" fmla="*/ 1187867 w 1239166"/>
                <a:gd name="connsiteY48" fmla="*/ 28232 h 1204650"/>
                <a:gd name="connsiteX49" fmla="*/ 1200916 w 1239166"/>
                <a:gd name="connsiteY49" fmla="*/ 23135 h 1204650"/>
                <a:gd name="connsiteX50" fmla="*/ 1213637 w 1239166"/>
                <a:gd name="connsiteY50" fmla="*/ 16867 h 1204650"/>
                <a:gd name="connsiteX51" fmla="*/ 1225236 w 1239166"/>
                <a:gd name="connsiteY51" fmla="*/ 6578 h 1204650"/>
                <a:gd name="connsiteX52" fmla="*/ 1238098 w 1239166"/>
                <a:gd name="connsiteY52" fmla="*/ -110 h 1204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1239166" h="1204650">
                  <a:moveTo>
                    <a:pt x="1238051" y="-250"/>
                  </a:moveTo>
                  <a:cubicBezTo>
                    <a:pt x="1233328" y="970"/>
                    <a:pt x="1228464" y="1555"/>
                    <a:pt x="1223599" y="1480"/>
                  </a:cubicBezTo>
                  <a:cubicBezTo>
                    <a:pt x="1218408" y="676"/>
                    <a:pt x="1213217" y="194"/>
                    <a:pt x="1207978" y="30"/>
                  </a:cubicBezTo>
                  <a:cubicBezTo>
                    <a:pt x="1197923" y="498"/>
                    <a:pt x="1189271" y="5035"/>
                    <a:pt x="1179917" y="8215"/>
                  </a:cubicBezTo>
                  <a:cubicBezTo>
                    <a:pt x="1161583" y="15464"/>
                    <a:pt x="1143857" y="24243"/>
                    <a:pt x="1126973" y="34453"/>
                  </a:cubicBezTo>
                  <a:cubicBezTo>
                    <a:pt x="1092878" y="55420"/>
                    <a:pt x="1064161" y="84052"/>
                    <a:pt x="1043068" y="118077"/>
                  </a:cubicBezTo>
                  <a:cubicBezTo>
                    <a:pt x="1021975" y="151845"/>
                    <a:pt x="1008645" y="189214"/>
                    <a:pt x="997655" y="225929"/>
                  </a:cubicBezTo>
                  <a:cubicBezTo>
                    <a:pt x="986663" y="262643"/>
                    <a:pt x="976655" y="299217"/>
                    <a:pt x="961782" y="333172"/>
                  </a:cubicBezTo>
                  <a:cubicBezTo>
                    <a:pt x="947424" y="366935"/>
                    <a:pt x="925862" y="397162"/>
                    <a:pt x="898643" y="421754"/>
                  </a:cubicBezTo>
                  <a:cubicBezTo>
                    <a:pt x="870815" y="445868"/>
                    <a:pt x="838544" y="464268"/>
                    <a:pt x="803607" y="475913"/>
                  </a:cubicBezTo>
                  <a:cubicBezTo>
                    <a:pt x="768482" y="488635"/>
                    <a:pt x="731440" y="497568"/>
                    <a:pt x="694586" y="509915"/>
                  </a:cubicBezTo>
                  <a:cubicBezTo>
                    <a:pt x="657731" y="522262"/>
                    <a:pt x="621017" y="538538"/>
                    <a:pt x="589447" y="563280"/>
                  </a:cubicBezTo>
                  <a:cubicBezTo>
                    <a:pt x="557971" y="588105"/>
                    <a:pt x="532622" y="619796"/>
                    <a:pt x="515270" y="655931"/>
                  </a:cubicBezTo>
                  <a:cubicBezTo>
                    <a:pt x="497451" y="691382"/>
                    <a:pt x="486834" y="729125"/>
                    <a:pt x="476030" y="765512"/>
                  </a:cubicBezTo>
                  <a:cubicBezTo>
                    <a:pt x="465226" y="801899"/>
                    <a:pt x="454142" y="837865"/>
                    <a:pt x="436276" y="869856"/>
                  </a:cubicBezTo>
                  <a:cubicBezTo>
                    <a:pt x="418644" y="901748"/>
                    <a:pt x="394043" y="929263"/>
                    <a:pt x="364344" y="950347"/>
                  </a:cubicBezTo>
                  <a:cubicBezTo>
                    <a:pt x="334786" y="971580"/>
                    <a:pt x="300176" y="985331"/>
                    <a:pt x="264303" y="996462"/>
                  </a:cubicBezTo>
                  <a:cubicBezTo>
                    <a:pt x="228431" y="1007593"/>
                    <a:pt x="190969" y="1017040"/>
                    <a:pt x="154394" y="1031539"/>
                  </a:cubicBezTo>
                  <a:cubicBezTo>
                    <a:pt x="116932" y="1045589"/>
                    <a:pt x="82743" y="1067103"/>
                    <a:pt x="53839" y="1094772"/>
                  </a:cubicBezTo>
                  <a:cubicBezTo>
                    <a:pt x="40510" y="1108129"/>
                    <a:pt x="28583" y="1122834"/>
                    <a:pt x="18294" y="1138642"/>
                  </a:cubicBezTo>
                  <a:cubicBezTo>
                    <a:pt x="18294" y="1138642"/>
                    <a:pt x="18294" y="1138642"/>
                    <a:pt x="18294" y="1138642"/>
                  </a:cubicBezTo>
                  <a:cubicBezTo>
                    <a:pt x="15113" y="1143282"/>
                    <a:pt x="12261" y="1148141"/>
                    <a:pt x="9735" y="1153188"/>
                  </a:cubicBezTo>
                  <a:lnTo>
                    <a:pt x="8846" y="1154778"/>
                  </a:lnTo>
                  <a:cubicBezTo>
                    <a:pt x="7771" y="1156639"/>
                    <a:pt x="6835" y="1158580"/>
                    <a:pt x="6040" y="1160577"/>
                  </a:cubicBezTo>
                  <a:cubicBezTo>
                    <a:pt x="2345" y="1167031"/>
                    <a:pt x="709" y="1174454"/>
                    <a:pt x="1363" y="1181858"/>
                  </a:cubicBezTo>
                  <a:cubicBezTo>
                    <a:pt x="2579" y="1189453"/>
                    <a:pt x="1737" y="1197235"/>
                    <a:pt x="-1069" y="1204400"/>
                  </a:cubicBezTo>
                  <a:lnTo>
                    <a:pt x="-1069" y="1204400"/>
                  </a:lnTo>
                  <a:cubicBezTo>
                    <a:pt x="2252" y="1197525"/>
                    <a:pt x="7584" y="1191820"/>
                    <a:pt x="14225" y="1188031"/>
                  </a:cubicBezTo>
                  <a:cubicBezTo>
                    <a:pt x="20586" y="1184173"/>
                    <a:pt x="25684" y="1178527"/>
                    <a:pt x="28864" y="1171802"/>
                  </a:cubicBezTo>
                  <a:lnTo>
                    <a:pt x="37516" y="1156181"/>
                  </a:lnTo>
                  <a:lnTo>
                    <a:pt x="37516" y="1156181"/>
                  </a:lnTo>
                  <a:lnTo>
                    <a:pt x="37984" y="1155479"/>
                  </a:lnTo>
                  <a:cubicBezTo>
                    <a:pt x="47385" y="1139984"/>
                    <a:pt x="58703" y="1125719"/>
                    <a:pt x="71612" y="1113012"/>
                  </a:cubicBezTo>
                  <a:cubicBezTo>
                    <a:pt x="98083" y="1087569"/>
                    <a:pt x="129419" y="1067786"/>
                    <a:pt x="163795" y="1054877"/>
                  </a:cubicBezTo>
                  <a:cubicBezTo>
                    <a:pt x="198124" y="1040846"/>
                    <a:pt x="235119" y="1032007"/>
                    <a:pt x="271927" y="1020174"/>
                  </a:cubicBezTo>
                  <a:cubicBezTo>
                    <a:pt x="290588" y="1014328"/>
                    <a:pt x="308922" y="1007556"/>
                    <a:pt x="326881" y="999876"/>
                  </a:cubicBezTo>
                  <a:cubicBezTo>
                    <a:pt x="345122" y="991860"/>
                    <a:pt x="362567" y="982085"/>
                    <a:pt x="378936" y="970692"/>
                  </a:cubicBezTo>
                  <a:cubicBezTo>
                    <a:pt x="411581" y="947377"/>
                    <a:pt x="438568" y="917004"/>
                    <a:pt x="457837" y="881829"/>
                  </a:cubicBezTo>
                  <a:cubicBezTo>
                    <a:pt x="477106" y="846892"/>
                    <a:pt x="488471" y="809195"/>
                    <a:pt x="499322" y="772575"/>
                  </a:cubicBezTo>
                  <a:cubicBezTo>
                    <a:pt x="510173" y="735954"/>
                    <a:pt x="520555" y="699754"/>
                    <a:pt x="536738" y="666781"/>
                  </a:cubicBezTo>
                  <a:cubicBezTo>
                    <a:pt x="552452" y="633738"/>
                    <a:pt x="575557" y="604741"/>
                    <a:pt x="604227" y="582034"/>
                  </a:cubicBezTo>
                  <a:cubicBezTo>
                    <a:pt x="632850" y="559491"/>
                    <a:pt x="666711" y="544057"/>
                    <a:pt x="702209" y="532224"/>
                  </a:cubicBezTo>
                  <a:cubicBezTo>
                    <a:pt x="737707" y="520391"/>
                    <a:pt x="775030" y="511178"/>
                    <a:pt x="811698" y="497755"/>
                  </a:cubicBezTo>
                  <a:cubicBezTo>
                    <a:pt x="849347" y="485099"/>
                    <a:pt x="884144" y="465119"/>
                    <a:pt x="914030" y="438965"/>
                  </a:cubicBezTo>
                  <a:cubicBezTo>
                    <a:pt x="943588" y="412133"/>
                    <a:pt x="966973" y="379235"/>
                    <a:pt x="982594" y="342526"/>
                  </a:cubicBezTo>
                  <a:cubicBezTo>
                    <a:pt x="998263" y="306326"/>
                    <a:pt x="1008037" y="268817"/>
                    <a:pt x="1018888" y="232570"/>
                  </a:cubicBezTo>
                  <a:cubicBezTo>
                    <a:pt x="1029739" y="196323"/>
                    <a:pt x="1042273" y="161059"/>
                    <a:pt x="1061682" y="129676"/>
                  </a:cubicBezTo>
                  <a:cubicBezTo>
                    <a:pt x="1080858" y="98383"/>
                    <a:pt x="1107142" y="72042"/>
                    <a:pt x="1138385" y="52787"/>
                  </a:cubicBezTo>
                  <a:cubicBezTo>
                    <a:pt x="1154100" y="43082"/>
                    <a:pt x="1170656" y="34865"/>
                    <a:pt x="1187867" y="28232"/>
                  </a:cubicBezTo>
                  <a:cubicBezTo>
                    <a:pt x="1192170" y="26455"/>
                    <a:pt x="1196520" y="24818"/>
                    <a:pt x="1200916" y="23135"/>
                  </a:cubicBezTo>
                  <a:cubicBezTo>
                    <a:pt x="1205406" y="21647"/>
                    <a:pt x="1209709" y="19538"/>
                    <a:pt x="1213637" y="16867"/>
                  </a:cubicBezTo>
                  <a:cubicBezTo>
                    <a:pt x="1217660" y="14155"/>
                    <a:pt x="1221214" y="9712"/>
                    <a:pt x="1225236" y="6578"/>
                  </a:cubicBezTo>
                  <a:cubicBezTo>
                    <a:pt x="1229212" y="3758"/>
                    <a:pt x="1233515" y="1508"/>
                    <a:pt x="1238098" y="-11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40ED8E48-E8D6-4356-80CC-6D8BF66CEE97}"/>
                </a:ext>
              </a:extLst>
            </p:cNvPr>
            <p:cNvSpPr/>
            <p:nvPr/>
          </p:nvSpPr>
          <p:spPr>
            <a:xfrm>
              <a:off x="10320689" y="5548459"/>
              <a:ext cx="257566" cy="254160"/>
            </a:xfrm>
            <a:custGeom>
              <a:avLst/>
              <a:gdLst>
                <a:gd name="connsiteX0" fmla="*/ 256451 w 257566"/>
                <a:gd name="connsiteY0" fmla="*/ 651 h 254160"/>
                <a:gd name="connsiteX1" fmla="*/ 244431 w 257566"/>
                <a:gd name="connsiteY1" fmla="*/ 2101 h 254160"/>
                <a:gd name="connsiteX2" fmla="*/ 231288 w 257566"/>
                <a:gd name="connsiteY2" fmla="*/ 43 h 254160"/>
                <a:gd name="connsiteX3" fmla="*/ 207109 w 257566"/>
                <a:gd name="connsiteY3" fmla="*/ 3645 h 254160"/>
                <a:gd name="connsiteX4" fmla="*/ 161321 w 257566"/>
                <a:gd name="connsiteY4" fmla="*/ 21183 h 254160"/>
                <a:gd name="connsiteX5" fmla="*/ 22414 w 257566"/>
                <a:gd name="connsiteY5" fmla="*/ 158219 h 254160"/>
                <a:gd name="connsiteX6" fmla="*/ 9646 w 257566"/>
                <a:gd name="connsiteY6" fmla="*/ 189134 h 254160"/>
                <a:gd name="connsiteX7" fmla="*/ 9646 w 257566"/>
                <a:gd name="connsiteY7" fmla="*/ 189134 h 254160"/>
                <a:gd name="connsiteX8" fmla="*/ 1649 w 257566"/>
                <a:gd name="connsiteY8" fmla="*/ 210274 h 254160"/>
                <a:gd name="connsiteX9" fmla="*/ -35 w 257566"/>
                <a:gd name="connsiteY9" fmla="*/ 232443 h 254160"/>
                <a:gd name="connsiteX10" fmla="*/ 947 w 257566"/>
                <a:gd name="connsiteY10" fmla="*/ 253910 h 254160"/>
                <a:gd name="connsiteX11" fmla="*/ 947 w 257566"/>
                <a:gd name="connsiteY11" fmla="*/ 253910 h 254160"/>
                <a:gd name="connsiteX12" fmla="*/ 13154 w 257566"/>
                <a:gd name="connsiteY12" fmla="*/ 235950 h 254160"/>
                <a:gd name="connsiteX13" fmla="*/ 24706 w 257566"/>
                <a:gd name="connsiteY13" fmla="*/ 218271 h 254160"/>
                <a:gd name="connsiteX14" fmla="*/ 24706 w 257566"/>
                <a:gd name="connsiteY14" fmla="*/ 217804 h 254160"/>
                <a:gd name="connsiteX15" fmla="*/ 24706 w 257566"/>
                <a:gd name="connsiteY15" fmla="*/ 217804 h 254160"/>
                <a:gd name="connsiteX16" fmla="*/ 25782 w 257566"/>
                <a:gd name="connsiteY16" fmla="*/ 214576 h 254160"/>
                <a:gd name="connsiteX17" fmla="*/ 30459 w 257566"/>
                <a:gd name="connsiteY17" fmla="*/ 202042 h 254160"/>
                <a:gd name="connsiteX18" fmla="*/ 44022 w 257566"/>
                <a:gd name="connsiteY18" fmla="*/ 168274 h 254160"/>
                <a:gd name="connsiteX19" fmla="*/ 170955 w 257566"/>
                <a:gd name="connsiteY19" fmla="*/ 42744 h 254160"/>
                <a:gd name="connsiteX20" fmla="*/ 214404 w 257566"/>
                <a:gd name="connsiteY20" fmla="*/ 25954 h 254160"/>
                <a:gd name="connsiteX21" fmla="*/ 235778 w 257566"/>
                <a:gd name="connsiteY21" fmla="*/ 15150 h 254160"/>
                <a:gd name="connsiteX22" fmla="*/ 245600 w 257566"/>
                <a:gd name="connsiteY22" fmla="*/ 6264 h 254160"/>
                <a:gd name="connsiteX23" fmla="*/ 256497 w 257566"/>
                <a:gd name="connsiteY23" fmla="*/ 979 h 25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57566" h="254160">
                  <a:moveTo>
                    <a:pt x="256451" y="651"/>
                  </a:moveTo>
                  <a:cubicBezTo>
                    <a:pt x="252522" y="1568"/>
                    <a:pt x="248500" y="2054"/>
                    <a:pt x="244431" y="2101"/>
                  </a:cubicBezTo>
                  <a:cubicBezTo>
                    <a:pt x="239987" y="1760"/>
                    <a:pt x="235591" y="1072"/>
                    <a:pt x="231288" y="43"/>
                  </a:cubicBezTo>
                  <a:cubicBezTo>
                    <a:pt x="223057" y="-873"/>
                    <a:pt x="214732" y="366"/>
                    <a:pt x="207109" y="3645"/>
                  </a:cubicBezTo>
                  <a:cubicBezTo>
                    <a:pt x="191534" y="8649"/>
                    <a:pt x="176240" y="14504"/>
                    <a:pt x="161321" y="21183"/>
                  </a:cubicBezTo>
                  <a:cubicBezTo>
                    <a:pt x="99398" y="47748"/>
                    <a:pt x="49822" y="96684"/>
                    <a:pt x="22414" y="158219"/>
                  </a:cubicBezTo>
                  <a:cubicBezTo>
                    <a:pt x="17737" y="168415"/>
                    <a:pt x="13481" y="178704"/>
                    <a:pt x="9646" y="189134"/>
                  </a:cubicBezTo>
                  <a:lnTo>
                    <a:pt x="9646" y="189134"/>
                  </a:lnTo>
                  <a:cubicBezTo>
                    <a:pt x="6419" y="195943"/>
                    <a:pt x="3706" y="203015"/>
                    <a:pt x="1649" y="210274"/>
                  </a:cubicBezTo>
                  <a:cubicBezTo>
                    <a:pt x="-1251" y="217299"/>
                    <a:pt x="-1859" y="225062"/>
                    <a:pt x="-35" y="232443"/>
                  </a:cubicBezTo>
                  <a:cubicBezTo>
                    <a:pt x="2210" y="239379"/>
                    <a:pt x="2584" y="246796"/>
                    <a:pt x="947" y="253910"/>
                  </a:cubicBezTo>
                  <a:lnTo>
                    <a:pt x="947" y="253910"/>
                  </a:lnTo>
                  <a:cubicBezTo>
                    <a:pt x="3192" y="246857"/>
                    <a:pt x="7401" y="240613"/>
                    <a:pt x="13154" y="235950"/>
                  </a:cubicBezTo>
                  <a:cubicBezTo>
                    <a:pt x="18626" y="231287"/>
                    <a:pt x="22648" y="225151"/>
                    <a:pt x="24706" y="218271"/>
                  </a:cubicBezTo>
                  <a:lnTo>
                    <a:pt x="24706" y="217804"/>
                  </a:lnTo>
                  <a:lnTo>
                    <a:pt x="24706" y="217804"/>
                  </a:lnTo>
                  <a:cubicBezTo>
                    <a:pt x="25080" y="216728"/>
                    <a:pt x="25454" y="215652"/>
                    <a:pt x="25782" y="214576"/>
                  </a:cubicBezTo>
                  <a:cubicBezTo>
                    <a:pt x="25782" y="214576"/>
                    <a:pt x="30459" y="202042"/>
                    <a:pt x="30459" y="202042"/>
                  </a:cubicBezTo>
                  <a:cubicBezTo>
                    <a:pt x="34387" y="190565"/>
                    <a:pt x="38924" y="179293"/>
                    <a:pt x="44022" y="168274"/>
                  </a:cubicBezTo>
                  <a:cubicBezTo>
                    <a:pt x="68810" y="111800"/>
                    <a:pt x="114223" y="66910"/>
                    <a:pt x="170955" y="42744"/>
                  </a:cubicBezTo>
                  <a:cubicBezTo>
                    <a:pt x="184986" y="36196"/>
                    <a:pt x="199625" y="31192"/>
                    <a:pt x="214404" y="25954"/>
                  </a:cubicBezTo>
                  <a:cubicBezTo>
                    <a:pt x="222309" y="24111"/>
                    <a:pt x="229605" y="20407"/>
                    <a:pt x="235778" y="15150"/>
                  </a:cubicBezTo>
                  <a:cubicBezTo>
                    <a:pt x="238818" y="11927"/>
                    <a:pt x="242092" y="8958"/>
                    <a:pt x="245600" y="6264"/>
                  </a:cubicBezTo>
                  <a:cubicBezTo>
                    <a:pt x="249014" y="4094"/>
                    <a:pt x="252662" y="2321"/>
                    <a:pt x="256497" y="979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19E9C320-9211-41DF-B03C-E8907C60D5E6}"/>
                </a:ext>
              </a:extLst>
            </p:cNvPr>
            <p:cNvSpPr/>
            <p:nvPr/>
          </p:nvSpPr>
          <p:spPr>
            <a:xfrm>
              <a:off x="10235759" y="5456990"/>
              <a:ext cx="425699" cy="421957"/>
            </a:xfrm>
            <a:custGeom>
              <a:avLst/>
              <a:gdLst>
                <a:gd name="connsiteX0" fmla="*/ 424630 w 425699"/>
                <a:gd name="connsiteY0" fmla="*/ -250 h 421957"/>
                <a:gd name="connsiteX1" fmla="*/ 404472 w 425699"/>
                <a:gd name="connsiteY1" fmla="*/ 4707 h 421957"/>
                <a:gd name="connsiteX2" fmla="*/ 384362 w 425699"/>
                <a:gd name="connsiteY2" fmla="*/ 8121 h 421957"/>
                <a:gd name="connsiteX3" fmla="*/ 347741 w 425699"/>
                <a:gd name="connsiteY3" fmla="*/ 22152 h 421957"/>
                <a:gd name="connsiteX4" fmla="*/ 271085 w 425699"/>
                <a:gd name="connsiteY4" fmla="*/ 45537 h 421957"/>
                <a:gd name="connsiteX5" fmla="*/ 194055 w 425699"/>
                <a:gd name="connsiteY5" fmla="*/ 74488 h 421957"/>
                <a:gd name="connsiteX6" fmla="*/ 125023 w 425699"/>
                <a:gd name="connsiteY6" fmla="*/ 121866 h 421957"/>
                <a:gd name="connsiteX7" fmla="*/ 74137 w 425699"/>
                <a:gd name="connsiteY7" fmla="*/ 188513 h 421957"/>
                <a:gd name="connsiteX8" fmla="*/ 42708 w 425699"/>
                <a:gd name="connsiteY8" fmla="*/ 264935 h 421957"/>
                <a:gd name="connsiteX9" fmla="*/ 19323 w 425699"/>
                <a:gd name="connsiteY9" fmla="*/ 341965 h 421957"/>
                <a:gd name="connsiteX10" fmla="*/ 11372 w 425699"/>
                <a:gd name="connsiteY10" fmla="*/ 364741 h 421957"/>
                <a:gd name="connsiteX11" fmla="*/ 5479 w 425699"/>
                <a:gd name="connsiteY11" fmla="*/ 379334 h 421957"/>
                <a:gd name="connsiteX12" fmla="*/ 2065 w 425699"/>
                <a:gd name="connsiteY12" fmla="*/ 400193 h 421957"/>
                <a:gd name="connsiteX13" fmla="*/ -1069 w 425699"/>
                <a:gd name="connsiteY13" fmla="*/ 421707 h 421957"/>
                <a:gd name="connsiteX14" fmla="*/ -1069 w 425699"/>
                <a:gd name="connsiteY14" fmla="*/ 421707 h 421957"/>
                <a:gd name="connsiteX15" fmla="*/ 14131 w 425699"/>
                <a:gd name="connsiteY15" fmla="*/ 406507 h 421957"/>
                <a:gd name="connsiteX16" fmla="*/ 27835 w 425699"/>
                <a:gd name="connsiteY16" fmla="*/ 389015 h 421957"/>
                <a:gd name="connsiteX17" fmla="*/ 36207 w 425699"/>
                <a:gd name="connsiteY17" fmla="*/ 368015 h 421957"/>
                <a:gd name="connsiteX18" fmla="*/ 36207 w 425699"/>
                <a:gd name="connsiteY18" fmla="*/ 368015 h 421957"/>
                <a:gd name="connsiteX19" fmla="*/ 65719 w 425699"/>
                <a:gd name="connsiteY19" fmla="*/ 272044 h 421957"/>
                <a:gd name="connsiteX20" fmla="*/ 95183 w 425699"/>
                <a:gd name="connsiteY20" fmla="*/ 199691 h 421957"/>
                <a:gd name="connsiteX21" fmla="*/ 141439 w 425699"/>
                <a:gd name="connsiteY21" fmla="*/ 138890 h 421957"/>
                <a:gd name="connsiteX22" fmla="*/ 204531 w 425699"/>
                <a:gd name="connsiteY22" fmla="*/ 95394 h 421957"/>
                <a:gd name="connsiteX23" fmla="*/ 277726 w 425699"/>
                <a:gd name="connsiteY23" fmla="*/ 67800 h 421957"/>
                <a:gd name="connsiteX24" fmla="*/ 355084 w 425699"/>
                <a:gd name="connsiteY24" fmla="*/ 44041 h 421957"/>
                <a:gd name="connsiteX25" fmla="*/ 374493 w 425699"/>
                <a:gd name="connsiteY25" fmla="*/ 37072 h 421957"/>
                <a:gd name="connsiteX26" fmla="*/ 393482 w 425699"/>
                <a:gd name="connsiteY26" fmla="*/ 28840 h 421957"/>
                <a:gd name="connsiteX27" fmla="*/ 409617 w 425699"/>
                <a:gd name="connsiteY27" fmla="*/ 14810 h 421957"/>
                <a:gd name="connsiteX28" fmla="*/ 424490 w 425699"/>
                <a:gd name="connsiteY28" fmla="*/ -110 h 421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25699" h="421957">
                  <a:moveTo>
                    <a:pt x="424630" y="-250"/>
                  </a:moveTo>
                  <a:cubicBezTo>
                    <a:pt x="418457" y="3098"/>
                    <a:pt x="411488" y="4806"/>
                    <a:pt x="404472" y="4707"/>
                  </a:cubicBezTo>
                  <a:cubicBezTo>
                    <a:pt x="397597" y="4053"/>
                    <a:pt x="390629" y="5231"/>
                    <a:pt x="384362" y="8121"/>
                  </a:cubicBezTo>
                  <a:cubicBezTo>
                    <a:pt x="372342" y="13126"/>
                    <a:pt x="360181" y="17850"/>
                    <a:pt x="347741" y="22152"/>
                  </a:cubicBezTo>
                  <a:cubicBezTo>
                    <a:pt x="322859" y="30711"/>
                    <a:pt x="297042" y="37680"/>
                    <a:pt x="271085" y="45537"/>
                  </a:cubicBezTo>
                  <a:cubicBezTo>
                    <a:pt x="244660" y="53105"/>
                    <a:pt x="218937" y="62786"/>
                    <a:pt x="194055" y="74488"/>
                  </a:cubicBezTo>
                  <a:cubicBezTo>
                    <a:pt x="168705" y="86587"/>
                    <a:pt x="145414" y="102573"/>
                    <a:pt x="125023" y="121866"/>
                  </a:cubicBezTo>
                  <a:cubicBezTo>
                    <a:pt x="104584" y="141215"/>
                    <a:pt x="87420" y="163720"/>
                    <a:pt x="74137" y="188513"/>
                  </a:cubicBezTo>
                  <a:cubicBezTo>
                    <a:pt x="61182" y="212903"/>
                    <a:pt x="50658" y="238500"/>
                    <a:pt x="42708" y="264935"/>
                  </a:cubicBezTo>
                  <a:cubicBezTo>
                    <a:pt x="34476" y="290892"/>
                    <a:pt x="27367" y="316802"/>
                    <a:pt x="19323" y="341965"/>
                  </a:cubicBezTo>
                  <a:cubicBezTo>
                    <a:pt x="16844" y="349635"/>
                    <a:pt x="14131" y="357212"/>
                    <a:pt x="11372" y="364741"/>
                  </a:cubicBezTo>
                  <a:lnTo>
                    <a:pt x="5479" y="379334"/>
                  </a:lnTo>
                  <a:cubicBezTo>
                    <a:pt x="2345" y="385816"/>
                    <a:pt x="1176" y="393056"/>
                    <a:pt x="2065" y="400193"/>
                  </a:cubicBezTo>
                  <a:cubicBezTo>
                    <a:pt x="3188" y="407517"/>
                    <a:pt x="2065" y="415005"/>
                    <a:pt x="-1069" y="421707"/>
                  </a:cubicBezTo>
                  <a:lnTo>
                    <a:pt x="-1069" y="421707"/>
                  </a:lnTo>
                  <a:cubicBezTo>
                    <a:pt x="2533" y="415360"/>
                    <a:pt x="7771" y="410108"/>
                    <a:pt x="14131" y="406507"/>
                  </a:cubicBezTo>
                  <a:cubicBezTo>
                    <a:pt x="20445" y="402288"/>
                    <a:pt x="25263" y="396162"/>
                    <a:pt x="27835" y="389015"/>
                  </a:cubicBezTo>
                  <a:cubicBezTo>
                    <a:pt x="31203" y="382262"/>
                    <a:pt x="34009" y="375237"/>
                    <a:pt x="36207" y="368015"/>
                  </a:cubicBezTo>
                  <a:lnTo>
                    <a:pt x="36207" y="368015"/>
                  </a:lnTo>
                  <a:cubicBezTo>
                    <a:pt x="36207" y="368015"/>
                    <a:pt x="57627" y="297253"/>
                    <a:pt x="65719" y="272044"/>
                  </a:cubicBezTo>
                  <a:cubicBezTo>
                    <a:pt x="73295" y="247064"/>
                    <a:pt x="83117" y="222842"/>
                    <a:pt x="95183" y="199691"/>
                  </a:cubicBezTo>
                  <a:cubicBezTo>
                    <a:pt x="107343" y="177124"/>
                    <a:pt x="122918" y="156611"/>
                    <a:pt x="141439" y="138890"/>
                  </a:cubicBezTo>
                  <a:cubicBezTo>
                    <a:pt x="160100" y="121206"/>
                    <a:pt x="181380" y="106535"/>
                    <a:pt x="204531" y="95394"/>
                  </a:cubicBezTo>
                  <a:cubicBezTo>
                    <a:pt x="228150" y="84249"/>
                    <a:pt x="252611" y="75021"/>
                    <a:pt x="277726" y="67800"/>
                  </a:cubicBezTo>
                  <a:cubicBezTo>
                    <a:pt x="303169" y="59989"/>
                    <a:pt x="329173" y="52927"/>
                    <a:pt x="355084" y="44041"/>
                  </a:cubicBezTo>
                  <a:lnTo>
                    <a:pt x="374493" y="37072"/>
                  </a:lnTo>
                  <a:lnTo>
                    <a:pt x="393482" y="28840"/>
                  </a:lnTo>
                  <a:cubicBezTo>
                    <a:pt x="400029" y="25712"/>
                    <a:pt x="405595" y="20862"/>
                    <a:pt x="409617" y="14810"/>
                  </a:cubicBezTo>
                  <a:cubicBezTo>
                    <a:pt x="413312" y="8706"/>
                    <a:pt x="418410" y="3585"/>
                    <a:pt x="424490" y="-11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8B208FE6-FE81-4454-9905-4E48871DC28B}"/>
                </a:ext>
              </a:extLst>
            </p:cNvPr>
            <p:cNvSpPr/>
            <p:nvPr/>
          </p:nvSpPr>
          <p:spPr>
            <a:xfrm>
              <a:off x="9426875" y="4399899"/>
              <a:ext cx="1713179" cy="1867846"/>
            </a:xfrm>
            <a:custGeom>
              <a:avLst/>
              <a:gdLst>
                <a:gd name="connsiteX0" fmla="*/ 1712111 w 1713179"/>
                <a:gd name="connsiteY0" fmla="*/ -250 h 1867846"/>
                <a:gd name="connsiteX1" fmla="*/ 1697098 w 1713179"/>
                <a:gd name="connsiteY1" fmla="*/ 15698 h 1867846"/>
                <a:gd name="connsiteX2" fmla="*/ 1683722 w 1713179"/>
                <a:gd name="connsiteY2" fmla="*/ 33237 h 1867846"/>
                <a:gd name="connsiteX3" fmla="*/ 1675443 w 1713179"/>
                <a:gd name="connsiteY3" fmla="*/ 53161 h 1867846"/>
                <a:gd name="connsiteX4" fmla="*/ 1668381 w 1713179"/>
                <a:gd name="connsiteY4" fmla="*/ 73412 h 1867846"/>
                <a:gd name="connsiteX5" fmla="*/ 1643640 w 1713179"/>
                <a:gd name="connsiteY5" fmla="*/ 154231 h 1867846"/>
                <a:gd name="connsiteX6" fmla="*/ 1612772 w 1713179"/>
                <a:gd name="connsiteY6" fmla="*/ 230372 h 1867846"/>
                <a:gd name="connsiteX7" fmla="*/ 1563663 w 1713179"/>
                <a:gd name="connsiteY7" fmla="*/ 293932 h 1867846"/>
                <a:gd name="connsiteX8" fmla="*/ 1496221 w 1713179"/>
                <a:gd name="connsiteY8" fmla="*/ 338270 h 1867846"/>
                <a:gd name="connsiteX9" fmla="*/ 1418303 w 1713179"/>
                <a:gd name="connsiteY9" fmla="*/ 366051 h 1867846"/>
                <a:gd name="connsiteX10" fmla="*/ 1337204 w 1713179"/>
                <a:gd name="connsiteY10" fmla="*/ 391541 h 1867846"/>
                <a:gd name="connsiteX11" fmla="*/ 1260174 w 1713179"/>
                <a:gd name="connsiteY11" fmla="*/ 431763 h 1867846"/>
                <a:gd name="connsiteX12" fmla="*/ 1198859 w 1713179"/>
                <a:gd name="connsiteY12" fmla="*/ 494434 h 1867846"/>
                <a:gd name="connsiteX13" fmla="*/ 1159900 w 1713179"/>
                <a:gd name="connsiteY13" fmla="*/ 572026 h 1867846"/>
                <a:gd name="connsiteX14" fmla="*/ 1105740 w 1713179"/>
                <a:gd name="connsiteY14" fmla="*/ 730295 h 1867846"/>
                <a:gd name="connsiteX15" fmla="*/ 1060233 w 1713179"/>
                <a:gd name="connsiteY15" fmla="*/ 796567 h 1867846"/>
                <a:gd name="connsiteX16" fmla="*/ 995597 w 1713179"/>
                <a:gd name="connsiteY16" fmla="*/ 844039 h 1867846"/>
                <a:gd name="connsiteX17" fmla="*/ 838029 w 1713179"/>
                <a:gd name="connsiteY17" fmla="*/ 898526 h 1867846"/>
                <a:gd name="connsiteX18" fmla="*/ 759222 w 1713179"/>
                <a:gd name="connsiteY18" fmla="*/ 935006 h 1867846"/>
                <a:gd name="connsiteX19" fmla="*/ 694306 w 1713179"/>
                <a:gd name="connsiteY19" fmla="*/ 994123 h 1867846"/>
                <a:gd name="connsiteX20" fmla="*/ 651698 w 1713179"/>
                <a:gd name="connsiteY20" fmla="*/ 1070311 h 1867846"/>
                <a:gd name="connsiteX21" fmla="*/ 625086 w 1713179"/>
                <a:gd name="connsiteY21" fmla="*/ 1151457 h 1867846"/>
                <a:gd name="connsiteX22" fmla="*/ 598240 w 1713179"/>
                <a:gd name="connsiteY22" fmla="*/ 1229750 h 1867846"/>
                <a:gd name="connsiteX23" fmla="*/ 556147 w 1713179"/>
                <a:gd name="connsiteY23" fmla="*/ 1298174 h 1867846"/>
                <a:gd name="connsiteX24" fmla="*/ 494552 w 1713179"/>
                <a:gd name="connsiteY24" fmla="*/ 1348873 h 1867846"/>
                <a:gd name="connsiteX25" fmla="*/ 419720 w 1713179"/>
                <a:gd name="connsiteY25" fmla="*/ 1380957 h 1867846"/>
                <a:gd name="connsiteX26" fmla="*/ 259159 w 1713179"/>
                <a:gd name="connsiteY26" fmla="*/ 1439045 h 1867846"/>
                <a:gd name="connsiteX27" fmla="*/ 143965 w 1713179"/>
                <a:gd name="connsiteY27" fmla="*/ 1568784 h 1867846"/>
                <a:gd name="connsiteX28" fmla="*/ 90132 w 1713179"/>
                <a:gd name="connsiteY28" fmla="*/ 1729018 h 1867846"/>
                <a:gd name="connsiteX29" fmla="*/ 51594 w 1713179"/>
                <a:gd name="connsiteY29" fmla="*/ 1799547 h 1867846"/>
                <a:gd name="connsiteX30" fmla="*/ 38686 w 1713179"/>
                <a:gd name="connsiteY30" fmla="*/ 1814794 h 1867846"/>
                <a:gd name="connsiteX31" fmla="*/ 32092 w 1713179"/>
                <a:gd name="connsiteY31" fmla="*/ 1822137 h 1867846"/>
                <a:gd name="connsiteX32" fmla="*/ 23065 w 1713179"/>
                <a:gd name="connsiteY32" fmla="*/ 1830696 h 1867846"/>
                <a:gd name="connsiteX33" fmla="*/ 10998 w 1713179"/>
                <a:gd name="connsiteY33" fmla="*/ 1848889 h 1867846"/>
                <a:gd name="connsiteX34" fmla="*/ -1069 w 1713179"/>
                <a:gd name="connsiteY34" fmla="*/ 1867597 h 1867846"/>
                <a:gd name="connsiteX35" fmla="*/ -1069 w 1713179"/>
                <a:gd name="connsiteY35" fmla="*/ 1867597 h 1867846"/>
                <a:gd name="connsiteX36" fmla="*/ 20259 w 1713179"/>
                <a:gd name="connsiteY36" fmla="*/ 1860114 h 1867846"/>
                <a:gd name="connsiteX37" fmla="*/ 37142 w 1713179"/>
                <a:gd name="connsiteY37" fmla="*/ 1852677 h 1867846"/>
                <a:gd name="connsiteX38" fmla="*/ 37142 w 1713179"/>
                <a:gd name="connsiteY38" fmla="*/ 1852677 h 1867846"/>
                <a:gd name="connsiteX39" fmla="*/ 42662 w 1713179"/>
                <a:gd name="connsiteY39" fmla="*/ 1848328 h 1867846"/>
                <a:gd name="connsiteX40" fmla="*/ 51314 w 1713179"/>
                <a:gd name="connsiteY40" fmla="*/ 1839956 h 1867846"/>
                <a:gd name="connsiteX41" fmla="*/ 57955 w 1713179"/>
                <a:gd name="connsiteY41" fmla="*/ 1832987 h 1867846"/>
                <a:gd name="connsiteX42" fmla="*/ 57628 w 1713179"/>
                <a:gd name="connsiteY42" fmla="*/ 1832987 h 1867846"/>
                <a:gd name="connsiteX43" fmla="*/ 72313 w 1713179"/>
                <a:gd name="connsiteY43" fmla="*/ 1815402 h 1867846"/>
                <a:gd name="connsiteX44" fmla="*/ 114406 w 1713179"/>
                <a:gd name="connsiteY44" fmla="*/ 1738559 h 1867846"/>
                <a:gd name="connsiteX45" fmla="*/ 167443 w 1713179"/>
                <a:gd name="connsiteY45" fmla="*/ 1579167 h 1867846"/>
                <a:gd name="connsiteX46" fmla="*/ 209957 w 1713179"/>
                <a:gd name="connsiteY46" fmla="*/ 1511304 h 1867846"/>
                <a:gd name="connsiteX47" fmla="*/ 223661 w 1713179"/>
                <a:gd name="connsiteY47" fmla="*/ 1496806 h 1867846"/>
                <a:gd name="connsiteX48" fmla="*/ 238487 w 1713179"/>
                <a:gd name="connsiteY48" fmla="*/ 1483383 h 1867846"/>
                <a:gd name="connsiteX49" fmla="*/ 254669 w 1713179"/>
                <a:gd name="connsiteY49" fmla="*/ 1471550 h 1867846"/>
                <a:gd name="connsiteX50" fmla="*/ 271740 w 1713179"/>
                <a:gd name="connsiteY50" fmla="*/ 1461027 h 1867846"/>
                <a:gd name="connsiteX51" fmla="*/ 427483 w 1713179"/>
                <a:gd name="connsiteY51" fmla="*/ 1404903 h 1867846"/>
                <a:gd name="connsiteX52" fmla="*/ 506992 w 1713179"/>
                <a:gd name="connsiteY52" fmla="*/ 1370480 h 1867846"/>
                <a:gd name="connsiteX53" fmla="*/ 574575 w 1713179"/>
                <a:gd name="connsiteY53" fmla="*/ 1314356 h 1867846"/>
                <a:gd name="connsiteX54" fmla="*/ 620316 w 1713179"/>
                <a:gd name="connsiteY54" fmla="*/ 1239525 h 1867846"/>
                <a:gd name="connsiteX55" fmla="*/ 648003 w 1713179"/>
                <a:gd name="connsiteY55" fmla="*/ 1158426 h 1867846"/>
                <a:gd name="connsiteX56" fmla="*/ 712826 w 1713179"/>
                <a:gd name="connsiteY56" fmla="*/ 1008762 h 1867846"/>
                <a:gd name="connsiteX57" fmla="*/ 771803 w 1713179"/>
                <a:gd name="connsiteY57" fmla="*/ 954837 h 1867846"/>
                <a:gd name="connsiteX58" fmla="*/ 845559 w 1713179"/>
                <a:gd name="connsiteY58" fmla="*/ 920507 h 1867846"/>
                <a:gd name="connsiteX59" fmla="*/ 925723 w 1713179"/>
                <a:gd name="connsiteY59" fmla="*/ 895719 h 1867846"/>
                <a:gd name="connsiteX60" fmla="*/ 1006027 w 1713179"/>
                <a:gd name="connsiteY60" fmla="*/ 864290 h 1867846"/>
                <a:gd name="connsiteX61" fmla="*/ 1076181 w 1713179"/>
                <a:gd name="connsiteY61" fmla="*/ 812235 h 1867846"/>
                <a:gd name="connsiteX62" fmla="*/ 1125617 w 1713179"/>
                <a:gd name="connsiteY62" fmla="*/ 740116 h 1867846"/>
                <a:gd name="connsiteX63" fmla="*/ 1180244 w 1713179"/>
                <a:gd name="connsiteY63" fmla="*/ 579555 h 1867846"/>
                <a:gd name="connsiteX64" fmla="*/ 1216257 w 1713179"/>
                <a:gd name="connsiteY64" fmla="*/ 506735 h 1867846"/>
                <a:gd name="connsiteX65" fmla="*/ 1272381 w 1713179"/>
                <a:gd name="connsiteY65" fmla="*/ 449395 h 1867846"/>
                <a:gd name="connsiteX66" fmla="*/ 1344266 w 1713179"/>
                <a:gd name="connsiteY66" fmla="*/ 411698 h 1867846"/>
                <a:gd name="connsiteX67" fmla="*/ 1423775 w 1713179"/>
                <a:gd name="connsiteY67" fmla="*/ 386443 h 1867846"/>
                <a:gd name="connsiteX68" fmla="*/ 1504406 w 1713179"/>
                <a:gd name="connsiteY68" fmla="*/ 357399 h 1867846"/>
                <a:gd name="connsiteX69" fmla="*/ 1630684 w 1713179"/>
                <a:gd name="connsiteY69" fmla="*/ 240474 h 1867846"/>
                <a:gd name="connsiteX70" fmla="*/ 1662862 w 1713179"/>
                <a:gd name="connsiteY70" fmla="*/ 160638 h 1867846"/>
                <a:gd name="connsiteX71" fmla="*/ 1687322 w 1713179"/>
                <a:gd name="connsiteY71" fmla="*/ 80147 h 1867846"/>
                <a:gd name="connsiteX72" fmla="*/ 1701822 w 1713179"/>
                <a:gd name="connsiteY72" fmla="*/ 41515 h 1867846"/>
                <a:gd name="connsiteX73" fmla="*/ 1706499 w 1713179"/>
                <a:gd name="connsiteY73" fmla="*/ 20936 h 1867846"/>
                <a:gd name="connsiteX74" fmla="*/ 1712064 w 1713179"/>
                <a:gd name="connsiteY74" fmla="*/ 124 h 186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1713179" h="1867846">
                  <a:moveTo>
                    <a:pt x="1712111" y="-250"/>
                  </a:moveTo>
                  <a:cubicBezTo>
                    <a:pt x="1708323" y="6101"/>
                    <a:pt x="1703224" y="11545"/>
                    <a:pt x="1697098" y="15698"/>
                  </a:cubicBezTo>
                  <a:cubicBezTo>
                    <a:pt x="1691252" y="20361"/>
                    <a:pt x="1686668" y="26381"/>
                    <a:pt x="1683722" y="33237"/>
                  </a:cubicBezTo>
                  <a:cubicBezTo>
                    <a:pt x="1681009" y="39878"/>
                    <a:pt x="1677969" y="46426"/>
                    <a:pt x="1675443" y="53161"/>
                  </a:cubicBezTo>
                  <a:lnTo>
                    <a:pt x="1668381" y="73412"/>
                  </a:lnTo>
                  <a:cubicBezTo>
                    <a:pt x="1659307" y="100492"/>
                    <a:pt x="1652152" y="127712"/>
                    <a:pt x="1643640" y="154231"/>
                  </a:cubicBezTo>
                  <a:cubicBezTo>
                    <a:pt x="1635783" y="180534"/>
                    <a:pt x="1625446" y="206033"/>
                    <a:pt x="1612772" y="230372"/>
                  </a:cubicBezTo>
                  <a:cubicBezTo>
                    <a:pt x="1600144" y="254196"/>
                    <a:pt x="1583540" y="275692"/>
                    <a:pt x="1563663" y="293932"/>
                  </a:cubicBezTo>
                  <a:cubicBezTo>
                    <a:pt x="1543786" y="312331"/>
                    <a:pt x="1521009" y="327316"/>
                    <a:pt x="1496221" y="338270"/>
                  </a:cubicBezTo>
                  <a:cubicBezTo>
                    <a:pt x="1470919" y="349350"/>
                    <a:pt x="1444915" y="358633"/>
                    <a:pt x="1418303" y="366051"/>
                  </a:cubicBezTo>
                  <a:cubicBezTo>
                    <a:pt x="1391503" y="374002"/>
                    <a:pt x="1364190" y="381579"/>
                    <a:pt x="1337204" y="391541"/>
                  </a:cubicBezTo>
                  <a:cubicBezTo>
                    <a:pt x="1309843" y="401479"/>
                    <a:pt x="1283979" y="415005"/>
                    <a:pt x="1260174" y="431763"/>
                  </a:cubicBezTo>
                  <a:cubicBezTo>
                    <a:pt x="1236228" y="448899"/>
                    <a:pt x="1215462" y="470114"/>
                    <a:pt x="1198859" y="494434"/>
                  </a:cubicBezTo>
                  <a:cubicBezTo>
                    <a:pt x="1182676" y="518558"/>
                    <a:pt x="1169581" y="544628"/>
                    <a:pt x="1159900" y="572026"/>
                  </a:cubicBezTo>
                  <a:cubicBezTo>
                    <a:pt x="1140349" y="625998"/>
                    <a:pt x="1129920" y="681467"/>
                    <a:pt x="1105740" y="730295"/>
                  </a:cubicBezTo>
                  <a:cubicBezTo>
                    <a:pt x="1094281" y="754723"/>
                    <a:pt x="1078894" y="777107"/>
                    <a:pt x="1060233" y="796567"/>
                  </a:cubicBezTo>
                  <a:cubicBezTo>
                    <a:pt x="1041291" y="815678"/>
                    <a:pt x="1019496" y="831696"/>
                    <a:pt x="995597" y="844039"/>
                  </a:cubicBezTo>
                  <a:cubicBezTo>
                    <a:pt x="947471" y="869248"/>
                    <a:pt x="892095" y="879911"/>
                    <a:pt x="838029" y="898526"/>
                  </a:cubicBezTo>
                  <a:cubicBezTo>
                    <a:pt x="810388" y="907445"/>
                    <a:pt x="783917" y="919694"/>
                    <a:pt x="759222" y="935006"/>
                  </a:cubicBezTo>
                  <a:cubicBezTo>
                    <a:pt x="734527" y="951058"/>
                    <a:pt x="712593" y="971024"/>
                    <a:pt x="694306" y="994123"/>
                  </a:cubicBezTo>
                  <a:cubicBezTo>
                    <a:pt x="676440" y="1017284"/>
                    <a:pt x="662081" y="1042956"/>
                    <a:pt x="651698" y="1070311"/>
                  </a:cubicBezTo>
                  <a:cubicBezTo>
                    <a:pt x="640894" y="1097110"/>
                    <a:pt x="632990" y="1124564"/>
                    <a:pt x="625086" y="1151457"/>
                  </a:cubicBezTo>
                  <a:cubicBezTo>
                    <a:pt x="617790" y="1178097"/>
                    <a:pt x="608857" y="1204246"/>
                    <a:pt x="598240" y="1229750"/>
                  </a:cubicBezTo>
                  <a:cubicBezTo>
                    <a:pt x="587670" y="1254519"/>
                    <a:pt x="573499" y="1277581"/>
                    <a:pt x="556147" y="1298174"/>
                  </a:cubicBezTo>
                  <a:cubicBezTo>
                    <a:pt x="538749" y="1318547"/>
                    <a:pt x="517890" y="1335702"/>
                    <a:pt x="494552" y="1348873"/>
                  </a:cubicBezTo>
                  <a:cubicBezTo>
                    <a:pt x="470792" y="1362136"/>
                    <a:pt x="445724" y="1372889"/>
                    <a:pt x="419720" y="1380957"/>
                  </a:cubicBezTo>
                  <a:cubicBezTo>
                    <a:pt x="367337" y="1397887"/>
                    <a:pt x="310513" y="1409860"/>
                    <a:pt x="259159" y="1439045"/>
                  </a:cubicBezTo>
                  <a:cubicBezTo>
                    <a:pt x="207198" y="1467107"/>
                    <a:pt x="167210" y="1515560"/>
                    <a:pt x="143965" y="1568784"/>
                  </a:cubicBezTo>
                  <a:cubicBezTo>
                    <a:pt x="120720" y="1622009"/>
                    <a:pt x="110244" y="1678272"/>
                    <a:pt x="90132" y="1729018"/>
                  </a:cubicBezTo>
                  <a:cubicBezTo>
                    <a:pt x="80825" y="1754287"/>
                    <a:pt x="67824" y="1778051"/>
                    <a:pt x="51594" y="1799547"/>
                  </a:cubicBezTo>
                  <a:cubicBezTo>
                    <a:pt x="47712" y="1804963"/>
                    <a:pt x="43363" y="1810060"/>
                    <a:pt x="38686" y="1814794"/>
                  </a:cubicBezTo>
                  <a:cubicBezTo>
                    <a:pt x="36441" y="1817179"/>
                    <a:pt x="34290" y="1819704"/>
                    <a:pt x="32092" y="1822137"/>
                  </a:cubicBezTo>
                  <a:lnTo>
                    <a:pt x="23065" y="1830696"/>
                  </a:lnTo>
                  <a:cubicBezTo>
                    <a:pt x="17312" y="1835433"/>
                    <a:pt x="13150" y="1841766"/>
                    <a:pt x="10998" y="1848889"/>
                  </a:cubicBezTo>
                  <a:cubicBezTo>
                    <a:pt x="8987" y="1856204"/>
                    <a:pt x="4778" y="1862728"/>
                    <a:pt x="-1069" y="1867597"/>
                  </a:cubicBezTo>
                  <a:lnTo>
                    <a:pt x="-1069" y="1867597"/>
                  </a:lnTo>
                  <a:cubicBezTo>
                    <a:pt x="5246" y="1863261"/>
                    <a:pt x="12635" y="1860679"/>
                    <a:pt x="20259" y="1860114"/>
                  </a:cubicBezTo>
                  <a:cubicBezTo>
                    <a:pt x="26432" y="1859197"/>
                    <a:pt x="32278" y="1856629"/>
                    <a:pt x="37142" y="1852677"/>
                  </a:cubicBezTo>
                  <a:cubicBezTo>
                    <a:pt x="37142" y="1852677"/>
                    <a:pt x="37142" y="1852677"/>
                    <a:pt x="37142" y="1852677"/>
                  </a:cubicBezTo>
                  <a:cubicBezTo>
                    <a:pt x="39107" y="1851372"/>
                    <a:pt x="40931" y="1849918"/>
                    <a:pt x="42662" y="1848328"/>
                  </a:cubicBezTo>
                  <a:cubicBezTo>
                    <a:pt x="45655" y="1845662"/>
                    <a:pt x="48508" y="1842856"/>
                    <a:pt x="51314" y="1839956"/>
                  </a:cubicBezTo>
                  <a:cubicBezTo>
                    <a:pt x="53465" y="1837851"/>
                    <a:pt x="55617" y="1835606"/>
                    <a:pt x="57955" y="1832987"/>
                  </a:cubicBezTo>
                  <a:cubicBezTo>
                    <a:pt x="57862" y="1832964"/>
                    <a:pt x="57721" y="1832964"/>
                    <a:pt x="57628" y="1832987"/>
                  </a:cubicBezTo>
                  <a:cubicBezTo>
                    <a:pt x="62819" y="1827398"/>
                    <a:pt x="67730" y="1821524"/>
                    <a:pt x="72313" y="1815402"/>
                  </a:cubicBezTo>
                  <a:cubicBezTo>
                    <a:pt x="90039" y="1791993"/>
                    <a:pt x="104210" y="1766102"/>
                    <a:pt x="114406" y="1738559"/>
                  </a:cubicBezTo>
                  <a:cubicBezTo>
                    <a:pt x="135219" y="1684540"/>
                    <a:pt x="145789" y="1628977"/>
                    <a:pt x="167443" y="1579167"/>
                  </a:cubicBezTo>
                  <a:cubicBezTo>
                    <a:pt x="178060" y="1554501"/>
                    <a:pt x="192372" y="1531616"/>
                    <a:pt x="209957" y="1511304"/>
                  </a:cubicBezTo>
                  <a:cubicBezTo>
                    <a:pt x="214260" y="1506225"/>
                    <a:pt x="218843" y="1501384"/>
                    <a:pt x="223661" y="1496806"/>
                  </a:cubicBezTo>
                  <a:lnTo>
                    <a:pt x="238487" y="1483383"/>
                  </a:lnTo>
                  <a:lnTo>
                    <a:pt x="254669" y="1471550"/>
                  </a:lnTo>
                  <a:cubicBezTo>
                    <a:pt x="260001" y="1467621"/>
                    <a:pt x="266081" y="1464581"/>
                    <a:pt x="271740" y="1461027"/>
                  </a:cubicBezTo>
                  <a:cubicBezTo>
                    <a:pt x="318510" y="1434041"/>
                    <a:pt x="373230" y="1422161"/>
                    <a:pt x="427483" y="1404903"/>
                  </a:cubicBezTo>
                  <a:cubicBezTo>
                    <a:pt x="455171" y="1396325"/>
                    <a:pt x="481830" y="1384787"/>
                    <a:pt x="506992" y="1370480"/>
                  </a:cubicBezTo>
                  <a:cubicBezTo>
                    <a:pt x="532622" y="1355874"/>
                    <a:pt x="555492" y="1336881"/>
                    <a:pt x="574575" y="1314356"/>
                  </a:cubicBezTo>
                  <a:cubicBezTo>
                    <a:pt x="593470" y="1291837"/>
                    <a:pt x="608904" y="1266614"/>
                    <a:pt x="620316" y="1239525"/>
                  </a:cubicBezTo>
                  <a:cubicBezTo>
                    <a:pt x="631260" y="1213104"/>
                    <a:pt x="640473" y="1186015"/>
                    <a:pt x="648003" y="1158426"/>
                  </a:cubicBezTo>
                  <a:cubicBezTo>
                    <a:pt x="663811" y="1104687"/>
                    <a:pt x="679339" y="1051089"/>
                    <a:pt x="712826" y="1008762"/>
                  </a:cubicBezTo>
                  <a:cubicBezTo>
                    <a:pt x="729477" y="987739"/>
                    <a:pt x="749401" y="969532"/>
                    <a:pt x="771803" y="954837"/>
                  </a:cubicBezTo>
                  <a:cubicBezTo>
                    <a:pt x="794861" y="940403"/>
                    <a:pt x="819649" y="928870"/>
                    <a:pt x="845559" y="920507"/>
                  </a:cubicBezTo>
                  <a:cubicBezTo>
                    <a:pt x="871610" y="911434"/>
                    <a:pt x="898596" y="904091"/>
                    <a:pt x="925723" y="895719"/>
                  </a:cubicBezTo>
                  <a:cubicBezTo>
                    <a:pt x="953411" y="887811"/>
                    <a:pt x="980303" y="877288"/>
                    <a:pt x="1006027" y="864290"/>
                  </a:cubicBezTo>
                  <a:cubicBezTo>
                    <a:pt x="1032030" y="850792"/>
                    <a:pt x="1055743" y="833221"/>
                    <a:pt x="1076181" y="812235"/>
                  </a:cubicBezTo>
                  <a:cubicBezTo>
                    <a:pt x="1096526" y="791095"/>
                    <a:pt x="1113223" y="766724"/>
                    <a:pt x="1125617" y="740116"/>
                  </a:cubicBezTo>
                  <a:cubicBezTo>
                    <a:pt x="1150873" y="687500"/>
                    <a:pt x="1161349" y="631142"/>
                    <a:pt x="1180244" y="579555"/>
                  </a:cubicBezTo>
                  <a:cubicBezTo>
                    <a:pt x="1189131" y="553855"/>
                    <a:pt x="1201197" y="529386"/>
                    <a:pt x="1216257" y="506735"/>
                  </a:cubicBezTo>
                  <a:cubicBezTo>
                    <a:pt x="1231457" y="484472"/>
                    <a:pt x="1250446" y="465063"/>
                    <a:pt x="1272381" y="449395"/>
                  </a:cubicBezTo>
                  <a:cubicBezTo>
                    <a:pt x="1294503" y="433629"/>
                    <a:pt x="1318730" y="420950"/>
                    <a:pt x="1344266" y="411698"/>
                  </a:cubicBezTo>
                  <a:cubicBezTo>
                    <a:pt x="1369942" y="401923"/>
                    <a:pt x="1396882" y="394627"/>
                    <a:pt x="1423775" y="386443"/>
                  </a:cubicBezTo>
                  <a:cubicBezTo>
                    <a:pt x="1451322" y="378665"/>
                    <a:pt x="1478262" y="368960"/>
                    <a:pt x="1504406" y="357399"/>
                  </a:cubicBezTo>
                  <a:cubicBezTo>
                    <a:pt x="1558285" y="333504"/>
                    <a:pt x="1602716" y="292375"/>
                    <a:pt x="1630684" y="240474"/>
                  </a:cubicBezTo>
                  <a:cubicBezTo>
                    <a:pt x="1644014" y="214985"/>
                    <a:pt x="1654771" y="188242"/>
                    <a:pt x="1662862" y="160638"/>
                  </a:cubicBezTo>
                  <a:cubicBezTo>
                    <a:pt x="1671281" y="133511"/>
                    <a:pt x="1678577" y="106385"/>
                    <a:pt x="1687322" y="80147"/>
                  </a:cubicBezTo>
                  <a:cubicBezTo>
                    <a:pt x="1691672" y="67005"/>
                    <a:pt x="1696676" y="54237"/>
                    <a:pt x="1701822" y="41515"/>
                  </a:cubicBezTo>
                  <a:cubicBezTo>
                    <a:pt x="1705002" y="35131"/>
                    <a:pt x="1706592" y="28074"/>
                    <a:pt x="1706499" y="20936"/>
                  </a:cubicBezTo>
                  <a:cubicBezTo>
                    <a:pt x="1706685" y="13659"/>
                    <a:pt x="1708603" y="6536"/>
                    <a:pt x="1712064" y="124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E166B8E0-B5CE-463A-A30C-C9860C94CD03}"/>
                </a:ext>
              </a:extLst>
            </p:cNvPr>
            <p:cNvSpPr/>
            <p:nvPr/>
          </p:nvSpPr>
          <p:spPr>
            <a:xfrm>
              <a:off x="10136841" y="4211697"/>
              <a:ext cx="1038945" cy="1031789"/>
            </a:xfrm>
            <a:custGeom>
              <a:avLst/>
              <a:gdLst>
                <a:gd name="connsiteX0" fmla="*/ 1037877 w 1038945"/>
                <a:gd name="connsiteY0" fmla="*/ -203 h 1031789"/>
                <a:gd name="connsiteX1" fmla="*/ 1020431 w 1038945"/>
                <a:gd name="connsiteY1" fmla="*/ 2042 h 1031789"/>
                <a:gd name="connsiteX2" fmla="*/ 1002940 w 1038945"/>
                <a:gd name="connsiteY2" fmla="*/ 6719 h 1031789"/>
                <a:gd name="connsiteX3" fmla="*/ 1000695 w 1038945"/>
                <a:gd name="connsiteY3" fmla="*/ 7841 h 1031789"/>
                <a:gd name="connsiteX4" fmla="*/ 1000695 w 1038945"/>
                <a:gd name="connsiteY4" fmla="*/ 7841 h 1031789"/>
                <a:gd name="connsiteX5" fmla="*/ 999151 w 1038945"/>
                <a:gd name="connsiteY5" fmla="*/ 8823 h 1031789"/>
                <a:gd name="connsiteX6" fmla="*/ 987272 w 1038945"/>
                <a:gd name="connsiteY6" fmla="*/ 16119 h 1031789"/>
                <a:gd name="connsiteX7" fmla="*/ 987552 w 1038945"/>
                <a:gd name="connsiteY7" fmla="*/ 16119 h 1031789"/>
                <a:gd name="connsiteX8" fmla="*/ 984044 w 1038945"/>
                <a:gd name="connsiteY8" fmla="*/ 18317 h 1031789"/>
                <a:gd name="connsiteX9" fmla="*/ 945319 w 1038945"/>
                <a:gd name="connsiteY9" fmla="*/ 50635 h 1031789"/>
                <a:gd name="connsiteX10" fmla="*/ 889476 w 1038945"/>
                <a:gd name="connsiteY10" fmla="*/ 133839 h 1031789"/>
                <a:gd name="connsiteX11" fmla="*/ 825775 w 1038945"/>
                <a:gd name="connsiteY11" fmla="*/ 317083 h 1031789"/>
                <a:gd name="connsiteX12" fmla="*/ 694820 w 1038945"/>
                <a:gd name="connsiteY12" fmla="*/ 444157 h 1031789"/>
                <a:gd name="connsiteX13" fmla="*/ 511014 w 1038945"/>
                <a:gd name="connsiteY13" fmla="*/ 507811 h 1031789"/>
                <a:gd name="connsiteX14" fmla="*/ 428933 w 1038945"/>
                <a:gd name="connsiteY14" fmla="*/ 565712 h 1031789"/>
                <a:gd name="connsiteX15" fmla="*/ 374353 w 1038945"/>
                <a:gd name="connsiteY15" fmla="*/ 649897 h 1031789"/>
                <a:gd name="connsiteX16" fmla="*/ 310465 w 1038945"/>
                <a:gd name="connsiteY16" fmla="*/ 832721 h 1031789"/>
                <a:gd name="connsiteX17" fmla="*/ 177779 w 1038945"/>
                <a:gd name="connsiteY17" fmla="*/ 957128 h 1031789"/>
                <a:gd name="connsiteX18" fmla="*/ 86859 w 1038945"/>
                <a:gd name="connsiteY18" fmla="*/ 987248 h 1031789"/>
                <a:gd name="connsiteX19" fmla="*/ 40089 w 1038945"/>
                <a:gd name="connsiteY19" fmla="*/ 1002074 h 1031789"/>
                <a:gd name="connsiteX20" fmla="*/ 28490 w 1038945"/>
                <a:gd name="connsiteY20" fmla="*/ 1006751 h 1031789"/>
                <a:gd name="connsiteX21" fmla="*/ 18154 w 1038945"/>
                <a:gd name="connsiteY21" fmla="*/ 1014422 h 1031789"/>
                <a:gd name="connsiteX22" fmla="*/ 9127 w 1038945"/>
                <a:gd name="connsiteY22" fmla="*/ 1024617 h 1031789"/>
                <a:gd name="connsiteX23" fmla="*/ -1069 w 1038945"/>
                <a:gd name="connsiteY23" fmla="*/ 1031539 h 1031789"/>
                <a:gd name="connsiteX24" fmla="*/ -1069 w 1038945"/>
                <a:gd name="connsiteY24" fmla="*/ 1031539 h 1031789"/>
                <a:gd name="connsiteX25" fmla="*/ 10811 w 1038945"/>
                <a:gd name="connsiteY25" fmla="*/ 1028359 h 1031789"/>
                <a:gd name="connsiteX26" fmla="*/ 24140 w 1038945"/>
                <a:gd name="connsiteY26" fmla="*/ 1028967 h 1031789"/>
                <a:gd name="connsiteX27" fmla="*/ 47525 w 1038945"/>
                <a:gd name="connsiteY27" fmla="*/ 1023962 h 1031789"/>
                <a:gd name="connsiteX28" fmla="*/ 93313 w 1038945"/>
                <a:gd name="connsiteY28" fmla="*/ 1009464 h 1031789"/>
                <a:gd name="connsiteX29" fmla="*/ 186853 w 1038945"/>
                <a:gd name="connsiteY29" fmla="*/ 978269 h 1031789"/>
                <a:gd name="connsiteX30" fmla="*/ 271647 w 1038945"/>
                <a:gd name="connsiteY30" fmla="*/ 924203 h 1031789"/>
                <a:gd name="connsiteX31" fmla="*/ 330530 w 1038945"/>
                <a:gd name="connsiteY31" fmla="*/ 842542 h 1031789"/>
                <a:gd name="connsiteX32" fmla="*/ 394277 w 1038945"/>
                <a:gd name="connsiteY32" fmla="*/ 658596 h 1031789"/>
                <a:gd name="connsiteX33" fmla="*/ 444648 w 1038945"/>
                <a:gd name="connsiteY33" fmla="*/ 580584 h 1031789"/>
                <a:gd name="connsiteX34" fmla="*/ 520088 w 1038945"/>
                <a:gd name="connsiteY34" fmla="*/ 526799 h 1031789"/>
                <a:gd name="connsiteX35" fmla="*/ 703191 w 1038945"/>
                <a:gd name="connsiteY35" fmla="*/ 463052 h 1031789"/>
                <a:gd name="connsiteX36" fmla="*/ 844343 w 1038945"/>
                <a:gd name="connsiteY36" fmla="*/ 325315 h 1031789"/>
                <a:gd name="connsiteX37" fmla="*/ 907716 w 1038945"/>
                <a:gd name="connsiteY37" fmla="*/ 141556 h 1031789"/>
                <a:gd name="connsiteX38" fmla="*/ 959163 w 1038945"/>
                <a:gd name="connsiteY38" fmla="*/ 64058 h 1031789"/>
                <a:gd name="connsiteX39" fmla="*/ 994895 w 1038945"/>
                <a:gd name="connsiteY39" fmla="*/ 34172 h 1031789"/>
                <a:gd name="connsiteX40" fmla="*/ 1000975 w 1038945"/>
                <a:gd name="connsiteY40" fmla="*/ 30010 h 1031789"/>
                <a:gd name="connsiteX41" fmla="*/ 1000975 w 1038945"/>
                <a:gd name="connsiteY41" fmla="*/ 30478 h 1031789"/>
                <a:gd name="connsiteX42" fmla="*/ 1012948 w 1038945"/>
                <a:gd name="connsiteY42" fmla="*/ 23462 h 1031789"/>
                <a:gd name="connsiteX43" fmla="*/ 1025249 w 1038945"/>
                <a:gd name="connsiteY43" fmla="*/ 11863 h 1031789"/>
                <a:gd name="connsiteX44" fmla="*/ 1037642 w 1038945"/>
                <a:gd name="connsiteY44" fmla="*/ -250 h 1031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038945" h="1031789">
                  <a:moveTo>
                    <a:pt x="1037877" y="-203"/>
                  </a:moveTo>
                  <a:cubicBezTo>
                    <a:pt x="1032357" y="2060"/>
                    <a:pt x="1026325" y="2837"/>
                    <a:pt x="1020431" y="2042"/>
                  </a:cubicBezTo>
                  <a:cubicBezTo>
                    <a:pt x="1014258" y="1709"/>
                    <a:pt x="1008131" y="3346"/>
                    <a:pt x="1002940" y="6719"/>
                  </a:cubicBezTo>
                  <a:lnTo>
                    <a:pt x="1000695" y="7841"/>
                  </a:lnTo>
                  <a:lnTo>
                    <a:pt x="1000695" y="7841"/>
                  </a:lnTo>
                  <a:cubicBezTo>
                    <a:pt x="1000180" y="8168"/>
                    <a:pt x="999665" y="8543"/>
                    <a:pt x="999151" y="8823"/>
                  </a:cubicBezTo>
                  <a:cubicBezTo>
                    <a:pt x="995035" y="10984"/>
                    <a:pt x="991060" y="13421"/>
                    <a:pt x="987272" y="16119"/>
                  </a:cubicBezTo>
                  <a:lnTo>
                    <a:pt x="987552" y="16119"/>
                  </a:lnTo>
                  <a:cubicBezTo>
                    <a:pt x="986383" y="16868"/>
                    <a:pt x="985214" y="17663"/>
                    <a:pt x="984044" y="18317"/>
                  </a:cubicBezTo>
                  <a:cubicBezTo>
                    <a:pt x="970060" y="27760"/>
                    <a:pt x="957105" y="38588"/>
                    <a:pt x="945319" y="50635"/>
                  </a:cubicBezTo>
                  <a:cubicBezTo>
                    <a:pt x="921747" y="74684"/>
                    <a:pt x="902805" y="102896"/>
                    <a:pt x="889476" y="133839"/>
                  </a:cubicBezTo>
                  <a:cubicBezTo>
                    <a:pt x="862302" y="194874"/>
                    <a:pt x="852715" y="260118"/>
                    <a:pt x="825775" y="317083"/>
                  </a:cubicBezTo>
                  <a:cubicBezTo>
                    <a:pt x="800099" y="374704"/>
                    <a:pt x="753189" y="420215"/>
                    <a:pt x="694820" y="444157"/>
                  </a:cubicBezTo>
                  <a:cubicBezTo>
                    <a:pt x="637106" y="469553"/>
                    <a:pt x="571721" y="479141"/>
                    <a:pt x="511014" y="507811"/>
                  </a:cubicBezTo>
                  <a:cubicBezTo>
                    <a:pt x="480333" y="521926"/>
                    <a:pt x="452505" y="541550"/>
                    <a:pt x="428933" y="565712"/>
                  </a:cubicBezTo>
                  <a:cubicBezTo>
                    <a:pt x="405829" y="590270"/>
                    <a:pt x="387355" y="618791"/>
                    <a:pt x="374353" y="649897"/>
                  </a:cubicBezTo>
                  <a:cubicBezTo>
                    <a:pt x="347787" y="711166"/>
                    <a:pt x="338059" y="776176"/>
                    <a:pt x="310465" y="832721"/>
                  </a:cubicBezTo>
                  <a:cubicBezTo>
                    <a:pt x="283807" y="889663"/>
                    <a:pt x="236335" y="934197"/>
                    <a:pt x="177779" y="957128"/>
                  </a:cubicBezTo>
                  <a:cubicBezTo>
                    <a:pt x="148080" y="968947"/>
                    <a:pt x="117727" y="979007"/>
                    <a:pt x="86859" y="987248"/>
                  </a:cubicBezTo>
                  <a:cubicBezTo>
                    <a:pt x="71284" y="991925"/>
                    <a:pt x="55476" y="996275"/>
                    <a:pt x="40089" y="1002074"/>
                  </a:cubicBezTo>
                  <a:cubicBezTo>
                    <a:pt x="36207" y="1003618"/>
                    <a:pt x="32231" y="1004740"/>
                    <a:pt x="28490" y="1006751"/>
                  </a:cubicBezTo>
                  <a:cubicBezTo>
                    <a:pt x="24608" y="1008692"/>
                    <a:pt x="21147" y="1011288"/>
                    <a:pt x="18154" y="1014422"/>
                  </a:cubicBezTo>
                  <a:cubicBezTo>
                    <a:pt x="15020" y="1017695"/>
                    <a:pt x="12307" y="1021764"/>
                    <a:pt x="9127" y="1024617"/>
                  </a:cubicBezTo>
                  <a:cubicBezTo>
                    <a:pt x="5994" y="1027293"/>
                    <a:pt x="2579" y="1029612"/>
                    <a:pt x="-1069" y="1031539"/>
                  </a:cubicBezTo>
                  <a:lnTo>
                    <a:pt x="-1069" y="1031539"/>
                  </a:lnTo>
                  <a:cubicBezTo>
                    <a:pt x="2767" y="1030010"/>
                    <a:pt x="6742" y="1028939"/>
                    <a:pt x="10811" y="1028359"/>
                  </a:cubicBezTo>
                  <a:cubicBezTo>
                    <a:pt x="15254" y="1028055"/>
                    <a:pt x="19744" y="1028261"/>
                    <a:pt x="24140" y="1028967"/>
                  </a:cubicBezTo>
                  <a:cubicBezTo>
                    <a:pt x="32185" y="1028948"/>
                    <a:pt x="40183" y="1027246"/>
                    <a:pt x="47525" y="1023962"/>
                  </a:cubicBezTo>
                  <a:cubicBezTo>
                    <a:pt x="62585" y="1018958"/>
                    <a:pt x="77832" y="1013954"/>
                    <a:pt x="93313" y="1009464"/>
                  </a:cubicBezTo>
                  <a:cubicBezTo>
                    <a:pt x="124228" y="1000110"/>
                    <a:pt x="155984" y="991504"/>
                    <a:pt x="186853" y="978269"/>
                  </a:cubicBezTo>
                  <a:cubicBezTo>
                    <a:pt x="218142" y="965500"/>
                    <a:pt x="246858" y="947185"/>
                    <a:pt x="271647" y="924203"/>
                  </a:cubicBezTo>
                  <a:cubicBezTo>
                    <a:pt x="296201" y="900911"/>
                    <a:pt x="316171" y="873209"/>
                    <a:pt x="330530" y="842542"/>
                  </a:cubicBezTo>
                  <a:cubicBezTo>
                    <a:pt x="359620" y="781742"/>
                    <a:pt x="369348" y="716264"/>
                    <a:pt x="394277" y="658596"/>
                  </a:cubicBezTo>
                  <a:cubicBezTo>
                    <a:pt x="406203" y="629744"/>
                    <a:pt x="423274" y="603310"/>
                    <a:pt x="444648" y="580584"/>
                  </a:cubicBezTo>
                  <a:cubicBezTo>
                    <a:pt x="466209" y="558116"/>
                    <a:pt x="491792" y="539876"/>
                    <a:pt x="520088" y="526799"/>
                  </a:cubicBezTo>
                  <a:cubicBezTo>
                    <a:pt x="576820" y="499579"/>
                    <a:pt x="641970" y="489804"/>
                    <a:pt x="703191" y="463052"/>
                  </a:cubicBezTo>
                  <a:cubicBezTo>
                    <a:pt x="766097" y="436819"/>
                    <a:pt x="816562" y="387547"/>
                    <a:pt x="844343" y="325315"/>
                  </a:cubicBezTo>
                  <a:cubicBezTo>
                    <a:pt x="872405" y="264514"/>
                    <a:pt x="882086" y="199036"/>
                    <a:pt x="907716" y="141556"/>
                  </a:cubicBezTo>
                  <a:cubicBezTo>
                    <a:pt x="919970" y="112788"/>
                    <a:pt x="937415" y="86517"/>
                    <a:pt x="959163" y="64058"/>
                  </a:cubicBezTo>
                  <a:cubicBezTo>
                    <a:pt x="970013" y="52899"/>
                    <a:pt x="981987" y="42886"/>
                    <a:pt x="994895" y="34172"/>
                  </a:cubicBezTo>
                  <a:cubicBezTo>
                    <a:pt x="996859" y="32685"/>
                    <a:pt x="998871" y="31296"/>
                    <a:pt x="1000975" y="30010"/>
                  </a:cubicBezTo>
                  <a:cubicBezTo>
                    <a:pt x="1000975" y="30164"/>
                    <a:pt x="1000975" y="30323"/>
                    <a:pt x="1000975" y="30478"/>
                  </a:cubicBezTo>
                  <a:lnTo>
                    <a:pt x="1012948" y="23462"/>
                  </a:lnTo>
                  <a:cubicBezTo>
                    <a:pt x="1018093" y="20909"/>
                    <a:pt x="1022395" y="16872"/>
                    <a:pt x="1025249" y="11863"/>
                  </a:cubicBezTo>
                  <a:cubicBezTo>
                    <a:pt x="1028055" y="6658"/>
                    <a:pt x="1032357" y="2434"/>
                    <a:pt x="1037642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AADC393C-36C9-4FCA-8354-0F05E562738B}"/>
                </a:ext>
              </a:extLst>
            </p:cNvPr>
            <p:cNvSpPr/>
            <p:nvPr/>
          </p:nvSpPr>
          <p:spPr>
            <a:xfrm>
              <a:off x="10200074" y="4152544"/>
              <a:ext cx="978238" cy="1011160"/>
            </a:xfrm>
            <a:custGeom>
              <a:avLst/>
              <a:gdLst>
                <a:gd name="connsiteX0" fmla="*/ 976982 w 978238"/>
                <a:gd name="connsiteY0" fmla="*/ 1001 h 1011160"/>
                <a:gd name="connsiteX1" fmla="*/ 959724 w 978238"/>
                <a:gd name="connsiteY1" fmla="*/ 487 h 1011160"/>
                <a:gd name="connsiteX2" fmla="*/ 942092 w 978238"/>
                <a:gd name="connsiteY2" fmla="*/ 2030 h 1011160"/>
                <a:gd name="connsiteX3" fmla="*/ 939099 w 978238"/>
                <a:gd name="connsiteY3" fmla="*/ 3012 h 1011160"/>
                <a:gd name="connsiteX4" fmla="*/ 921326 w 978238"/>
                <a:gd name="connsiteY4" fmla="*/ 10308 h 1011160"/>
                <a:gd name="connsiteX5" fmla="*/ 879233 w 978238"/>
                <a:gd name="connsiteY5" fmla="*/ 33693 h 1011160"/>
                <a:gd name="connsiteX6" fmla="*/ 841817 w 978238"/>
                <a:gd name="connsiteY6" fmla="*/ 64140 h 1011160"/>
                <a:gd name="connsiteX7" fmla="*/ 825541 w 978238"/>
                <a:gd name="connsiteY7" fmla="*/ 82006 h 1011160"/>
                <a:gd name="connsiteX8" fmla="*/ 810856 w 978238"/>
                <a:gd name="connsiteY8" fmla="*/ 101182 h 1011160"/>
                <a:gd name="connsiteX9" fmla="*/ 769090 w 978238"/>
                <a:gd name="connsiteY9" fmla="*/ 187005 h 1011160"/>
                <a:gd name="connsiteX10" fmla="*/ 741543 w 978238"/>
                <a:gd name="connsiteY10" fmla="*/ 276101 h 1011160"/>
                <a:gd name="connsiteX11" fmla="*/ 705904 w 978238"/>
                <a:gd name="connsiteY11" fmla="*/ 359258 h 1011160"/>
                <a:gd name="connsiteX12" fmla="*/ 647442 w 978238"/>
                <a:gd name="connsiteY12" fmla="*/ 425952 h 1011160"/>
                <a:gd name="connsiteX13" fmla="*/ 568634 w 978238"/>
                <a:gd name="connsiteY13" fmla="*/ 468513 h 1011160"/>
                <a:gd name="connsiteX14" fmla="*/ 480520 w 978238"/>
                <a:gd name="connsiteY14" fmla="*/ 496013 h 1011160"/>
                <a:gd name="connsiteX15" fmla="*/ 391938 w 978238"/>
                <a:gd name="connsiteY15" fmla="*/ 530295 h 1011160"/>
                <a:gd name="connsiteX16" fmla="*/ 316124 w 978238"/>
                <a:gd name="connsiteY16" fmla="*/ 589740 h 1011160"/>
                <a:gd name="connsiteX17" fmla="*/ 266127 w 978238"/>
                <a:gd name="connsiteY17" fmla="*/ 671634 h 1011160"/>
                <a:gd name="connsiteX18" fmla="*/ 236429 w 978238"/>
                <a:gd name="connsiteY18" fmla="*/ 760964 h 1011160"/>
                <a:gd name="connsiteX19" fmla="*/ 205654 w 978238"/>
                <a:gd name="connsiteY19" fmla="*/ 846880 h 1011160"/>
                <a:gd name="connsiteX20" fmla="*/ 154955 w 978238"/>
                <a:gd name="connsiteY20" fmla="*/ 919514 h 1011160"/>
                <a:gd name="connsiteX21" fmla="*/ 81574 w 978238"/>
                <a:gd name="connsiteY21" fmla="*/ 969184 h 1011160"/>
                <a:gd name="connsiteX22" fmla="*/ 39481 w 978238"/>
                <a:gd name="connsiteY22" fmla="*/ 985693 h 1011160"/>
                <a:gd name="connsiteX23" fmla="*/ 18855 w 978238"/>
                <a:gd name="connsiteY23" fmla="*/ 996684 h 1011160"/>
                <a:gd name="connsiteX24" fmla="*/ 9501 w 978238"/>
                <a:gd name="connsiteY24" fmla="*/ 1005150 h 1011160"/>
                <a:gd name="connsiteX25" fmla="*/ -1069 w 978238"/>
                <a:gd name="connsiteY25" fmla="*/ 1010248 h 1011160"/>
                <a:gd name="connsiteX26" fmla="*/ -1069 w 978238"/>
                <a:gd name="connsiteY26" fmla="*/ 1010248 h 1011160"/>
                <a:gd name="connsiteX27" fmla="*/ 10624 w 978238"/>
                <a:gd name="connsiteY27" fmla="*/ 1008751 h 1011160"/>
                <a:gd name="connsiteX28" fmla="*/ 23345 w 978238"/>
                <a:gd name="connsiteY28" fmla="*/ 1010528 h 1011160"/>
                <a:gd name="connsiteX29" fmla="*/ 47011 w 978238"/>
                <a:gd name="connsiteY29" fmla="*/ 1007254 h 1011160"/>
                <a:gd name="connsiteX30" fmla="*/ 91395 w 978238"/>
                <a:gd name="connsiteY30" fmla="*/ 989809 h 1011160"/>
                <a:gd name="connsiteX31" fmla="*/ 225952 w 978238"/>
                <a:gd name="connsiteY31" fmla="*/ 856141 h 1011160"/>
                <a:gd name="connsiteX32" fmla="*/ 257802 w 978238"/>
                <a:gd name="connsiteY32" fmla="*/ 766998 h 1011160"/>
                <a:gd name="connsiteX33" fmla="*/ 286519 w 978238"/>
                <a:gd name="connsiteY33" fmla="*/ 679772 h 1011160"/>
                <a:gd name="connsiteX34" fmla="*/ 332120 w 978238"/>
                <a:gd name="connsiteY34" fmla="*/ 603818 h 1011160"/>
                <a:gd name="connsiteX35" fmla="*/ 401713 w 978238"/>
                <a:gd name="connsiteY35" fmla="*/ 549004 h 1011160"/>
                <a:gd name="connsiteX36" fmla="*/ 486413 w 978238"/>
                <a:gd name="connsiteY36" fmla="*/ 516264 h 1011160"/>
                <a:gd name="connsiteX37" fmla="*/ 575790 w 978238"/>
                <a:gd name="connsiteY37" fmla="*/ 488203 h 1011160"/>
                <a:gd name="connsiteX38" fmla="*/ 659976 w 978238"/>
                <a:gd name="connsiteY38" fmla="*/ 442415 h 1011160"/>
                <a:gd name="connsiteX39" fmla="*/ 723349 w 978238"/>
                <a:gd name="connsiteY39" fmla="*/ 369968 h 1011160"/>
                <a:gd name="connsiteX40" fmla="*/ 760765 w 978238"/>
                <a:gd name="connsiteY40" fmla="*/ 282462 h 1011160"/>
                <a:gd name="connsiteX41" fmla="*/ 788032 w 978238"/>
                <a:gd name="connsiteY41" fmla="*/ 193599 h 1011160"/>
                <a:gd name="connsiteX42" fmla="*/ 827178 w 978238"/>
                <a:gd name="connsiteY42" fmla="*/ 112547 h 1011160"/>
                <a:gd name="connsiteX43" fmla="*/ 890224 w 978238"/>
                <a:gd name="connsiteY43" fmla="*/ 49969 h 1011160"/>
                <a:gd name="connsiteX44" fmla="*/ 929464 w 978238"/>
                <a:gd name="connsiteY44" fmla="*/ 28081 h 1011160"/>
                <a:gd name="connsiteX45" fmla="*/ 936854 w 978238"/>
                <a:gd name="connsiteY45" fmla="*/ 24901 h 1011160"/>
                <a:gd name="connsiteX46" fmla="*/ 949528 w 978238"/>
                <a:gd name="connsiteY46" fmla="*/ 20224 h 1011160"/>
                <a:gd name="connsiteX47" fmla="*/ 963138 w 978238"/>
                <a:gd name="connsiteY47" fmla="*/ 10870 h 1011160"/>
                <a:gd name="connsiteX48" fmla="*/ 977169 w 978238"/>
                <a:gd name="connsiteY48" fmla="*/ 1095 h 1011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978238" h="1011160">
                  <a:moveTo>
                    <a:pt x="976982" y="1001"/>
                  </a:moveTo>
                  <a:cubicBezTo>
                    <a:pt x="971276" y="2339"/>
                    <a:pt x="965336" y="2161"/>
                    <a:pt x="959724" y="487"/>
                  </a:cubicBezTo>
                  <a:cubicBezTo>
                    <a:pt x="953831" y="-879"/>
                    <a:pt x="947657" y="-336"/>
                    <a:pt x="942092" y="2030"/>
                  </a:cubicBezTo>
                  <a:lnTo>
                    <a:pt x="939099" y="3012"/>
                  </a:lnTo>
                  <a:cubicBezTo>
                    <a:pt x="939099" y="3012"/>
                    <a:pt x="927125" y="7455"/>
                    <a:pt x="921326" y="10308"/>
                  </a:cubicBezTo>
                  <a:cubicBezTo>
                    <a:pt x="906687" y="16954"/>
                    <a:pt x="892609" y="24774"/>
                    <a:pt x="879233" y="33693"/>
                  </a:cubicBezTo>
                  <a:cubicBezTo>
                    <a:pt x="865857" y="42659"/>
                    <a:pt x="853322" y="52855"/>
                    <a:pt x="841817" y="64140"/>
                  </a:cubicBezTo>
                  <a:cubicBezTo>
                    <a:pt x="836252" y="69940"/>
                    <a:pt x="830967" y="76020"/>
                    <a:pt x="825541" y="82006"/>
                  </a:cubicBezTo>
                  <a:cubicBezTo>
                    <a:pt x="820116" y="87993"/>
                    <a:pt x="815813" y="94822"/>
                    <a:pt x="810856" y="101182"/>
                  </a:cubicBezTo>
                  <a:cubicBezTo>
                    <a:pt x="793130" y="127766"/>
                    <a:pt x="779052" y="156637"/>
                    <a:pt x="769090" y="187005"/>
                  </a:cubicBezTo>
                  <a:cubicBezTo>
                    <a:pt x="758660" y="216750"/>
                    <a:pt x="750897" y="246917"/>
                    <a:pt x="741543" y="276101"/>
                  </a:cubicBezTo>
                  <a:cubicBezTo>
                    <a:pt x="732937" y="305103"/>
                    <a:pt x="720964" y="333011"/>
                    <a:pt x="705904" y="359258"/>
                  </a:cubicBezTo>
                  <a:cubicBezTo>
                    <a:pt x="690657" y="384883"/>
                    <a:pt x="670874" y="407492"/>
                    <a:pt x="647442" y="425952"/>
                  </a:cubicBezTo>
                  <a:cubicBezTo>
                    <a:pt x="623496" y="444052"/>
                    <a:pt x="596930" y="458406"/>
                    <a:pt x="568634" y="468513"/>
                  </a:cubicBezTo>
                  <a:cubicBezTo>
                    <a:pt x="540199" y="479129"/>
                    <a:pt x="510453" y="487220"/>
                    <a:pt x="480520" y="496013"/>
                  </a:cubicBezTo>
                  <a:cubicBezTo>
                    <a:pt x="449979" y="504577"/>
                    <a:pt x="420281" y="516054"/>
                    <a:pt x="391938" y="530295"/>
                  </a:cubicBezTo>
                  <a:cubicBezTo>
                    <a:pt x="363222" y="545295"/>
                    <a:pt x="337545" y="565443"/>
                    <a:pt x="316124" y="589740"/>
                  </a:cubicBezTo>
                  <a:cubicBezTo>
                    <a:pt x="295078" y="614121"/>
                    <a:pt x="278194" y="641785"/>
                    <a:pt x="266127" y="671634"/>
                  </a:cubicBezTo>
                  <a:cubicBezTo>
                    <a:pt x="254668" y="700865"/>
                    <a:pt x="244753" y="730685"/>
                    <a:pt x="236429" y="760964"/>
                  </a:cubicBezTo>
                  <a:cubicBezTo>
                    <a:pt x="228431" y="790359"/>
                    <a:pt x="218142" y="819085"/>
                    <a:pt x="205654" y="846880"/>
                  </a:cubicBezTo>
                  <a:cubicBezTo>
                    <a:pt x="192979" y="873787"/>
                    <a:pt x="175861" y="898346"/>
                    <a:pt x="154955" y="919514"/>
                  </a:cubicBezTo>
                  <a:cubicBezTo>
                    <a:pt x="133582" y="940247"/>
                    <a:pt x="108747" y="957061"/>
                    <a:pt x="81574" y="969184"/>
                  </a:cubicBezTo>
                  <a:cubicBezTo>
                    <a:pt x="67964" y="975591"/>
                    <a:pt x="53512" y="980455"/>
                    <a:pt x="39481" y="985693"/>
                  </a:cubicBezTo>
                  <a:cubicBezTo>
                    <a:pt x="31811" y="987592"/>
                    <a:pt x="24702" y="991371"/>
                    <a:pt x="18855" y="996684"/>
                  </a:cubicBezTo>
                  <a:cubicBezTo>
                    <a:pt x="16002" y="999771"/>
                    <a:pt x="12869" y="1002601"/>
                    <a:pt x="9501" y="1005150"/>
                  </a:cubicBezTo>
                  <a:cubicBezTo>
                    <a:pt x="6181" y="1007212"/>
                    <a:pt x="2626" y="1008924"/>
                    <a:pt x="-1069" y="1010248"/>
                  </a:cubicBezTo>
                  <a:lnTo>
                    <a:pt x="-1069" y="1010248"/>
                  </a:lnTo>
                  <a:cubicBezTo>
                    <a:pt x="2766" y="1009340"/>
                    <a:pt x="6695" y="1008840"/>
                    <a:pt x="10624" y="1008751"/>
                  </a:cubicBezTo>
                  <a:cubicBezTo>
                    <a:pt x="14927" y="1008971"/>
                    <a:pt x="19182" y="1009565"/>
                    <a:pt x="23345" y="1010528"/>
                  </a:cubicBezTo>
                  <a:cubicBezTo>
                    <a:pt x="31389" y="1011580"/>
                    <a:pt x="39574" y="1010453"/>
                    <a:pt x="47011" y="1007254"/>
                  </a:cubicBezTo>
                  <a:cubicBezTo>
                    <a:pt x="62164" y="1002334"/>
                    <a:pt x="76943" y="996506"/>
                    <a:pt x="91395" y="989809"/>
                  </a:cubicBezTo>
                  <a:cubicBezTo>
                    <a:pt x="151260" y="963482"/>
                    <a:pt x="199246" y="915843"/>
                    <a:pt x="225952" y="856141"/>
                  </a:cubicBezTo>
                  <a:cubicBezTo>
                    <a:pt x="238814" y="827284"/>
                    <a:pt x="249477" y="797482"/>
                    <a:pt x="257802" y="766998"/>
                  </a:cubicBezTo>
                  <a:cubicBezTo>
                    <a:pt x="265847" y="737434"/>
                    <a:pt x="275388" y="708320"/>
                    <a:pt x="286519" y="679772"/>
                  </a:cubicBezTo>
                  <a:cubicBezTo>
                    <a:pt x="297416" y="652098"/>
                    <a:pt x="312804" y="626426"/>
                    <a:pt x="332120" y="603818"/>
                  </a:cubicBezTo>
                  <a:cubicBezTo>
                    <a:pt x="351716" y="581401"/>
                    <a:pt x="375335" y="562814"/>
                    <a:pt x="401713" y="549004"/>
                  </a:cubicBezTo>
                  <a:cubicBezTo>
                    <a:pt x="428793" y="535309"/>
                    <a:pt x="457182" y="524342"/>
                    <a:pt x="486413" y="516264"/>
                  </a:cubicBezTo>
                  <a:cubicBezTo>
                    <a:pt x="515832" y="507285"/>
                    <a:pt x="546092" y="499287"/>
                    <a:pt x="575790" y="488203"/>
                  </a:cubicBezTo>
                  <a:cubicBezTo>
                    <a:pt x="606097" y="477488"/>
                    <a:pt x="634534" y="462030"/>
                    <a:pt x="659976" y="442415"/>
                  </a:cubicBezTo>
                  <a:cubicBezTo>
                    <a:pt x="685372" y="422346"/>
                    <a:pt x="706840" y="397792"/>
                    <a:pt x="723349" y="369968"/>
                  </a:cubicBezTo>
                  <a:cubicBezTo>
                    <a:pt x="739158" y="342351"/>
                    <a:pt x="751738" y="312984"/>
                    <a:pt x="760765" y="282462"/>
                  </a:cubicBezTo>
                  <a:cubicBezTo>
                    <a:pt x="770119" y="252576"/>
                    <a:pt x="778117" y="222643"/>
                    <a:pt x="788032" y="193599"/>
                  </a:cubicBezTo>
                  <a:cubicBezTo>
                    <a:pt x="797245" y="164901"/>
                    <a:pt x="810435" y="137621"/>
                    <a:pt x="827178" y="112547"/>
                  </a:cubicBezTo>
                  <a:cubicBezTo>
                    <a:pt x="844015" y="87853"/>
                    <a:pt x="865389" y="66610"/>
                    <a:pt x="890224" y="49969"/>
                  </a:cubicBezTo>
                  <a:cubicBezTo>
                    <a:pt x="902712" y="41630"/>
                    <a:pt x="915807" y="34311"/>
                    <a:pt x="929464" y="28081"/>
                  </a:cubicBezTo>
                  <a:lnTo>
                    <a:pt x="936854" y="24901"/>
                  </a:lnTo>
                  <a:cubicBezTo>
                    <a:pt x="936854" y="24901"/>
                    <a:pt x="949528" y="20224"/>
                    <a:pt x="949528" y="20224"/>
                  </a:cubicBezTo>
                  <a:cubicBezTo>
                    <a:pt x="954907" y="18540"/>
                    <a:pt x="959631" y="15280"/>
                    <a:pt x="963138" y="10870"/>
                  </a:cubicBezTo>
                  <a:cubicBezTo>
                    <a:pt x="966693" y="6244"/>
                    <a:pt x="971603" y="2830"/>
                    <a:pt x="977169" y="1095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AB4460F3-B8E2-40AF-895C-B5C34CEC8DE2}"/>
                </a:ext>
              </a:extLst>
            </p:cNvPr>
            <p:cNvSpPr/>
            <p:nvPr/>
          </p:nvSpPr>
          <p:spPr>
            <a:xfrm>
              <a:off x="10496267" y="4095423"/>
              <a:ext cx="681951" cy="596599"/>
            </a:xfrm>
            <a:custGeom>
              <a:avLst/>
              <a:gdLst>
                <a:gd name="connsiteX0" fmla="*/ 680883 w 681951"/>
                <a:gd name="connsiteY0" fmla="*/ 3074 h 596599"/>
                <a:gd name="connsiteX1" fmla="*/ 663718 w 681951"/>
                <a:gd name="connsiteY1" fmla="*/ 1156 h 596599"/>
                <a:gd name="connsiteX2" fmla="*/ 646039 w 681951"/>
                <a:gd name="connsiteY2" fmla="*/ 1156 h 596599"/>
                <a:gd name="connsiteX3" fmla="*/ 629202 w 681951"/>
                <a:gd name="connsiteY3" fmla="*/ 6348 h 596599"/>
                <a:gd name="connsiteX4" fmla="*/ 612271 w 681951"/>
                <a:gd name="connsiteY4" fmla="*/ 12334 h 596599"/>
                <a:gd name="connsiteX5" fmla="*/ 556615 w 681951"/>
                <a:gd name="connsiteY5" fmla="*/ 37871 h 596599"/>
                <a:gd name="connsiteX6" fmla="*/ 467238 w 681951"/>
                <a:gd name="connsiteY6" fmla="*/ 122056 h 596599"/>
                <a:gd name="connsiteX7" fmla="*/ 419486 w 681951"/>
                <a:gd name="connsiteY7" fmla="*/ 234304 h 596599"/>
                <a:gd name="connsiteX8" fmla="*/ 381649 w 681951"/>
                <a:gd name="connsiteY8" fmla="*/ 345944 h 596599"/>
                <a:gd name="connsiteX9" fmla="*/ 313131 w 681951"/>
                <a:gd name="connsiteY9" fmla="*/ 436724 h 596599"/>
                <a:gd name="connsiteX10" fmla="*/ 210939 w 681951"/>
                <a:gd name="connsiteY10" fmla="*/ 489387 h 596599"/>
                <a:gd name="connsiteX11" fmla="*/ 96634 w 681951"/>
                <a:gd name="connsiteY11" fmla="*/ 525213 h 596599"/>
                <a:gd name="connsiteX12" fmla="*/ 68572 w 681951"/>
                <a:gd name="connsiteY12" fmla="*/ 537139 h 596599"/>
                <a:gd name="connsiteX13" fmla="*/ 54541 w 681951"/>
                <a:gd name="connsiteY13" fmla="*/ 543733 h 596599"/>
                <a:gd name="connsiteX14" fmla="*/ 41024 w 681951"/>
                <a:gd name="connsiteY14" fmla="*/ 551357 h 596599"/>
                <a:gd name="connsiteX15" fmla="*/ 27976 w 681951"/>
                <a:gd name="connsiteY15" fmla="*/ 559682 h 596599"/>
                <a:gd name="connsiteX16" fmla="*/ 16143 w 681951"/>
                <a:gd name="connsiteY16" fmla="*/ 569784 h 596599"/>
                <a:gd name="connsiteX17" fmla="*/ 8285 w 681951"/>
                <a:gd name="connsiteY17" fmla="*/ 584423 h 596599"/>
                <a:gd name="connsiteX18" fmla="*/ -1069 w 681951"/>
                <a:gd name="connsiteY18" fmla="*/ 596349 h 596599"/>
                <a:gd name="connsiteX19" fmla="*/ -1069 w 681951"/>
                <a:gd name="connsiteY19" fmla="*/ 596349 h 596599"/>
                <a:gd name="connsiteX20" fmla="*/ 12027 w 681951"/>
                <a:gd name="connsiteY20" fmla="*/ 588726 h 596599"/>
                <a:gd name="connsiteX21" fmla="*/ 27227 w 681951"/>
                <a:gd name="connsiteY21" fmla="*/ 584376 h 596599"/>
                <a:gd name="connsiteX22" fmla="*/ 39761 w 681951"/>
                <a:gd name="connsiteY22" fmla="*/ 577221 h 596599"/>
                <a:gd name="connsiteX23" fmla="*/ 52015 w 681951"/>
                <a:gd name="connsiteY23" fmla="*/ 569784 h 596599"/>
                <a:gd name="connsiteX24" fmla="*/ 64362 w 681951"/>
                <a:gd name="connsiteY24" fmla="*/ 562535 h 596599"/>
                <a:gd name="connsiteX25" fmla="*/ 77364 w 681951"/>
                <a:gd name="connsiteY25" fmla="*/ 556268 h 596599"/>
                <a:gd name="connsiteX26" fmla="*/ 104117 w 681951"/>
                <a:gd name="connsiteY26" fmla="*/ 544949 h 596599"/>
                <a:gd name="connsiteX27" fmla="*/ 217580 w 681951"/>
                <a:gd name="connsiteY27" fmla="*/ 509124 h 596599"/>
                <a:gd name="connsiteX28" fmla="*/ 326180 w 681951"/>
                <a:gd name="connsiteY28" fmla="*/ 452579 h 596599"/>
                <a:gd name="connsiteX29" fmla="*/ 400170 w 681951"/>
                <a:gd name="connsiteY29" fmla="*/ 354362 h 596599"/>
                <a:gd name="connsiteX30" fmla="*/ 438802 w 681951"/>
                <a:gd name="connsiteY30" fmla="*/ 240057 h 596599"/>
                <a:gd name="connsiteX31" fmla="*/ 483982 w 681951"/>
                <a:gd name="connsiteY31" fmla="*/ 133001 h 596599"/>
                <a:gd name="connsiteX32" fmla="*/ 566390 w 681951"/>
                <a:gd name="connsiteY32" fmla="*/ 54801 h 596599"/>
                <a:gd name="connsiteX33" fmla="*/ 619053 w 681951"/>
                <a:gd name="connsiteY33" fmla="*/ 30621 h 596599"/>
                <a:gd name="connsiteX34" fmla="*/ 642438 w 681951"/>
                <a:gd name="connsiteY34" fmla="*/ 22577 h 596599"/>
                <a:gd name="connsiteX35" fmla="*/ 651792 w 681951"/>
                <a:gd name="connsiteY35" fmla="*/ 19771 h 596599"/>
                <a:gd name="connsiteX36" fmla="*/ 666150 w 681951"/>
                <a:gd name="connsiteY36" fmla="*/ 11633 h 596599"/>
                <a:gd name="connsiteX37" fmla="*/ 680742 w 681951"/>
                <a:gd name="connsiteY37" fmla="*/ 3027 h 596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81951" h="596599">
                  <a:moveTo>
                    <a:pt x="680883" y="3074"/>
                  </a:moveTo>
                  <a:cubicBezTo>
                    <a:pt x="675083" y="3949"/>
                    <a:pt x="669190" y="3289"/>
                    <a:pt x="663718" y="1156"/>
                  </a:cubicBezTo>
                  <a:cubicBezTo>
                    <a:pt x="657965" y="-719"/>
                    <a:pt x="651792" y="-719"/>
                    <a:pt x="646039" y="1156"/>
                  </a:cubicBezTo>
                  <a:cubicBezTo>
                    <a:pt x="640053" y="2560"/>
                    <a:pt x="629155" y="6301"/>
                    <a:pt x="629202" y="6348"/>
                  </a:cubicBezTo>
                  <a:cubicBezTo>
                    <a:pt x="623590" y="8312"/>
                    <a:pt x="617977" y="10464"/>
                    <a:pt x="612271" y="12334"/>
                  </a:cubicBezTo>
                  <a:cubicBezTo>
                    <a:pt x="593049" y="19326"/>
                    <a:pt x="574434" y="27867"/>
                    <a:pt x="556615" y="37871"/>
                  </a:cubicBezTo>
                  <a:cubicBezTo>
                    <a:pt x="520509" y="58389"/>
                    <a:pt x="489875" y="87255"/>
                    <a:pt x="467238" y="122056"/>
                  </a:cubicBezTo>
                  <a:cubicBezTo>
                    <a:pt x="444882" y="156947"/>
                    <a:pt x="431038" y="195859"/>
                    <a:pt x="419486" y="234304"/>
                  </a:cubicBezTo>
                  <a:cubicBezTo>
                    <a:pt x="407934" y="272749"/>
                    <a:pt x="398019" y="310866"/>
                    <a:pt x="381649" y="345944"/>
                  </a:cubicBezTo>
                  <a:cubicBezTo>
                    <a:pt x="365888" y="380960"/>
                    <a:pt x="342503" y="411987"/>
                    <a:pt x="313131" y="436724"/>
                  </a:cubicBezTo>
                  <a:cubicBezTo>
                    <a:pt x="283479" y="460857"/>
                    <a:pt x="247654" y="476853"/>
                    <a:pt x="210939" y="489387"/>
                  </a:cubicBezTo>
                  <a:cubicBezTo>
                    <a:pt x="174225" y="501921"/>
                    <a:pt x="134798" y="511041"/>
                    <a:pt x="96634" y="525213"/>
                  </a:cubicBezTo>
                  <a:cubicBezTo>
                    <a:pt x="87280" y="529235"/>
                    <a:pt x="77598" y="532415"/>
                    <a:pt x="68572" y="537139"/>
                  </a:cubicBezTo>
                  <a:lnTo>
                    <a:pt x="54541" y="543733"/>
                  </a:lnTo>
                  <a:lnTo>
                    <a:pt x="41024" y="551357"/>
                  </a:lnTo>
                  <a:cubicBezTo>
                    <a:pt x="36488" y="553868"/>
                    <a:pt x="32138" y="556646"/>
                    <a:pt x="27976" y="559682"/>
                  </a:cubicBezTo>
                  <a:cubicBezTo>
                    <a:pt x="23626" y="562530"/>
                    <a:pt x="19651" y="565926"/>
                    <a:pt x="16143" y="569784"/>
                  </a:cubicBezTo>
                  <a:cubicBezTo>
                    <a:pt x="12869" y="574288"/>
                    <a:pt x="10250" y="579213"/>
                    <a:pt x="8285" y="584423"/>
                  </a:cubicBezTo>
                  <a:cubicBezTo>
                    <a:pt x="5760" y="588843"/>
                    <a:pt x="2626" y="592865"/>
                    <a:pt x="-1069" y="596349"/>
                  </a:cubicBezTo>
                  <a:lnTo>
                    <a:pt x="-1069" y="596349"/>
                  </a:lnTo>
                  <a:cubicBezTo>
                    <a:pt x="2907" y="593164"/>
                    <a:pt x="7303" y="590597"/>
                    <a:pt x="12027" y="588726"/>
                  </a:cubicBezTo>
                  <a:cubicBezTo>
                    <a:pt x="17172" y="587136"/>
                    <a:pt x="22503" y="586060"/>
                    <a:pt x="27227" y="584376"/>
                  </a:cubicBezTo>
                  <a:cubicBezTo>
                    <a:pt x="31717" y="582599"/>
                    <a:pt x="35926" y="580190"/>
                    <a:pt x="39761" y="577221"/>
                  </a:cubicBezTo>
                  <a:cubicBezTo>
                    <a:pt x="43690" y="574489"/>
                    <a:pt x="47759" y="572006"/>
                    <a:pt x="52015" y="569784"/>
                  </a:cubicBezTo>
                  <a:cubicBezTo>
                    <a:pt x="56131" y="567399"/>
                    <a:pt x="60200" y="564827"/>
                    <a:pt x="64362" y="562535"/>
                  </a:cubicBezTo>
                  <a:lnTo>
                    <a:pt x="77364" y="556268"/>
                  </a:lnTo>
                  <a:cubicBezTo>
                    <a:pt x="85923" y="551825"/>
                    <a:pt x="95231" y="548738"/>
                    <a:pt x="104117" y="544949"/>
                  </a:cubicBezTo>
                  <a:cubicBezTo>
                    <a:pt x="140597" y="531339"/>
                    <a:pt x="179229" y="521845"/>
                    <a:pt x="217580" y="509124"/>
                  </a:cubicBezTo>
                  <a:cubicBezTo>
                    <a:pt x="255932" y="496402"/>
                    <a:pt x="294096" y="479097"/>
                    <a:pt x="326180" y="452579"/>
                  </a:cubicBezTo>
                  <a:cubicBezTo>
                    <a:pt x="357983" y="425864"/>
                    <a:pt x="383239" y="392283"/>
                    <a:pt x="400170" y="354362"/>
                  </a:cubicBezTo>
                  <a:cubicBezTo>
                    <a:pt x="417288" y="316946"/>
                    <a:pt x="427343" y="277894"/>
                    <a:pt x="438802" y="240057"/>
                  </a:cubicBezTo>
                  <a:cubicBezTo>
                    <a:pt x="450260" y="202220"/>
                    <a:pt x="463309" y="165225"/>
                    <a:pt x="483982" y="133001"/>
                  </a:cubicBezTo>
                  <a:cubicBezTo>
                    <a:pt x="504747" y="100678"/>
                    <a:pt x="533043" y="73851"/>
                    <a:pt x="566390" y="54801"/>
                  </a:cubicBezTo>
                  <a:cubicBezTo>
                    <a:pt x="583180" y="45176"/>
                    <a:pt x="600813" y="37080"/>
                    <a:pt x="619053" y="30621"/>
                  </a:cubicBezTo>
                  <a:cubicBezTo>
                    <a:pt x="626723" y="27441"/>
                    <a:pt x="634674" y="25243"/>
                    <a:pt x="642438" y="22577"/>
                  </a:cubicBezTo>
                  <a:lnTo>
                    <a:pt x="651792" y="19771"/>
                  </a:lnTo>
                  <a:cubicBezTo>
                    <a:pt x="657264" y="18559"/>
                    <a:pt x="662268" y="15725"/>
                    <a:pt x="666150" y="11633"/>
                  </a:cubicBezTo>
                  <a:cubicBezTo>
                    <a:pt x="670032" y="7330"/>
                    <a:pt x="675130" y="4323"/>
                    <a:pt x="680742" y="302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1955E274-8C66-4DC8-92D3-9070CB435161}"/>
                </a:ext>
              </a:extLst>
            </p:cNvPr>
            <p:cNvSpPr/>
            <p:nvPr/>
          </p:nvSpPr>
          <p:spPr>
            <a:xfrm>
              <a:off x="10533496" y="4039698"/>
              <a:ext cx="645189" cy="557148"/>
            </a:xfrm>
            <a:custGeom>
              <a:avLst/>
              <a:gdLst>
                <a:gd name="connsiteX0" fmla="*/ 644121 w 645189"/>
                <a:gd name="connsiteY0" fmla="*/ 3097 h 557148"/>
                <a:gd name="connsiteX1" fmla="*/ 644121 w 645189"/>
                <a:gd name="connsiteY1" fmla="*/ 3097 h 557148"/>
                <a:gd name="connsiteX2" fmla="*/ 627144 w 645189"/>
                <a:gd name="connsiteY2" fmla="*/ 1086 h 557148"/>
                <a:gd name="connsiteX3" fmla="*/ 612131 w 645189"/>
                <a:gd name="connsiteY3" fmla="*/ 571 h 557148"/>
                <a:gd name="connsiteX4" fmla="*/ 612131 w 645189"/>
                <a:gd name="connsiteY4" fmla="*/ 571 h 557148"/>
                <a:gd name="connsiteX5" fmla="*/ 611195 w 645189"/>
                <a:gd name="connsiteY5" fmla="*/ 899 h 557148"/>
                <a:gd name="connsiteX6" fmla="*/ 609605 w 645189"/>
                <a:gd name="connsiteY6" fmla="*/ 1226 h 557148"/>
                <a:gd name="connsiteX7" fmla="*/ 592019 w 645189"/>
                <a:gd name="connsiteY7" fmla="*/ 6464 h 557148"/>
                <a:gd name="connsiteX8" fmla="*/ 578316 w 645189"/>
                <a:gd name="connsiteY8" fmla="*/ 10627 h 557148"/>
                <a:gd name="connsiteX9" fmla="*/ 524016 w 645189"/>
                <a:gd name="connsiteY9" fmla="*/ 28727 h 557148"/>
                <a:gd name="connsiteX10" fmla="*/ 425191 w 645189"/>
                <a:gd name="connsiteY10" fmla="*/ 89527 h 557148"/>
                <a:gd name="connsiteX11" fmla="*/ 405221 w 645189"/>
                <a:gd name="connsiteY11" fmla="*/ 111042 h 557148"/>
                <a:gd name="connsiteX12" fmla="*/ 387775 w 645189"/>
                <a:gd name="connsiteY12" fmla="*/ 134427 h 557148"/>
                <a:gd name="connsiteX13" fmla="*/ 360976 w 645189"/>
                <a:gd name="connsiteY13" fmla="*/ 185873 h 557148"/>
                <a:gd name="connsiteX14" fmla="*/ 325478 w 645189"/>
                <a:gd name="connsiteY14" fmla="*/ 294099 h 557148"/>
                <a:gd name="connsiteX15" fmla="*/ 281936 w 645189"/>
                <a:gd name="connsiteY15" fmla="*/ 394841 h 557148"/>
                <a:gd name="connsiteX16" fmla="*/ 204719 w 645189"/>
                <a:gd name="connsiteY16" fmla="*/ 469673 h 557148"/>
                <a:gd name="connsiteX17" fmla="*/ 102901 w 645189"/>
                <a:gd name="connsiteY17" fmla="*/ 511204 h 557148"/>
                <a:gd name="connsiteX18" fmla="*/ 48741 w 645189"/>
                <a:gd name="connsiteY18" fmla="*/ 527246 h 557148"/>
                <a:gd name="connsiteX19" fmla="*/ 35131 w 645189"/>
                <a:gd name="connsiteY19" fmla="*/ 531923 h 557148"/>
                <a:gd name="connsiteX20" fmla="*/ 22223 w 645189"/>
                <a:gd name="connsiteY20" fmla="*/ 538378 h 557148"/>
                <a:gd name="connsiteX21" fmla="*/ 11045 w 645189"/>
                <a:gd name="connsiteY21" fmla="*/ 549135 h 557148"/>
                <a:gd name="connsiteX22" fmla="*/ -1069 w 645189"/>
                <a:gd name="connsiteY22" fmla="*/ 556898 h 557148"/>
                <a:gd name="connsiteX23" fmla="*/ -1069 w 645189"/>
                <a:gd name="connsiteY23" fmla="*/ 556898 h 557148"/>
                <a:gd name="connsiteX24" fmla="*/ 12962 w 645189"/>
                <a:gd name="connsiteY24" fmla="*/ 553812 h 557148"/>
                <a:gd name="connsiteX25" fmla="*/ 28162 w 645189"/>
                <a:gd name="connsiteY25" fmla="*/ 554607 h 557148"/>
                <a:gd name="connsiteX26" fmla="*/ 55148 w 645189"/>
                <a:gd name="connsiteY26" fmla="*/ 547498 h 557148"/>
                <a:gd name="connsiteX27" fmla="*/ 109074 w 645189"/>
                <a:gd name="connsiteY27" fmla="*/ 531222 h 557148"/>
                <a:gd name="connsiteX28" fmla="*/ 215616 w 645189"/>
                <a:gd name="connsiteY28" fmla="*/ 487352 h 557148"/>
                <a:gd name="connsiteX29" fmla="*/ 299287 w 645189"/>
                <a:gd name="connsiteY29" fmla="*/ 406159 h 557148"/>
                <a:gd name="connsiteX30" fmla="*/ 344888 w 645189"/>
                <a:gd name="connsiteY30" fmla="*/ 300179 h 557148"/>
                <a:gd name="connsiteX31" fmla="*/ 379404 w 645189"/>
                <a:gd name="connsiteY31" fmla="*/ 193731 h 557148"/>
                <a:gd name="connsiteX32" fmla="*/ 404472 w 645189"/>
                <a:gd name="connsiteY32" fmla="*/ 145230 h 557148"/>
                <a:gd name="connsiteX33" fmla="*/ 420561 w 645189"/>
                <a:gd name="connsiteY33" fmla="*/ 123436 h 557148"/>
                <a:gd name="connsiteX34" fmla="*/ 438989 w 645189"/>
                <a:gd name="connsiteY34" fmla="*/ 103558 h 557148"/>
                <a:gd name="connsiteX35" fmla="*/ 531172 w 645189"/>
                <a:gd name="connsiteY35" fmla="*/ 46639 h 557148"/>
                <a:gd name="connsiteX36" fmla="*/ 583928 w 645189"/>
                <a:gd name="connsiteY36" fmla="*/ 28914 h 557148"/>
                <a:gd name="connsiteX37" fmla="*/ 610961 w 645189"/>
                <a:gd name="connsiteY37" fmla="*/ 20916 h 557148"/>
                <a:gd name="connsiteX38" fmla="*/ 616901 w 645189"/>
                <a:gd name="connsiteY38" fmla="*/ 19232 h 557148"/>
                <a:gd name="connsiteX39" fmla="*/ 616901 w 645189"/>
                <a:gd name="connsiteY39" fmla="*/ 19232 h 557148"/>
                <a:gd name="connsiteX40" fmla="*/ 629903 w 645189"/>
                <a:gd name="connsiteY40" fmla="*/ 11656 h 557148"/>
                <a:gd name="connsiteX41" fmla="*/ 644121 w 645189"/>
                <a:gd name="connsiteY41" fmla="*/ 3097 h 557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645189" h="557148">
                  <a:moveTo>
                    <a:pt x="644121" y="3097"/>
                  </a:moveTo>
                  <a:lnTo>
                    <a:pt x="644121" y="3097"/>
                  </a:lnTo>
                  <a:cubicBezTo>
                    <a:pt x="638368" y="3943"/>
                    <a:pt x="632522" y="3246"/>
                    <a:pt x="627144" y="1086"/>
                  </a:cubicBezTo>
                  <a:cubicBezTo>
                    <a:pt x="622279" y="-500"/>
                    <a:pt x="617088" y="-678"/>
                    <a:pt x="612131" y="571"/>
                  </a:cubicBezTo>
                  <a:lnTo>
                    <a:pt x="612131" y="571"/>
                  </a:lnTo>
                  <a:lnTo>
                    <a:pt x="611195" y="899"/>
                  </a:lnTo>
                  <a:lnTo>
                    <a:pt x="609605" y="1226"/>
                  </a:lnTo>
                  <a:cubicBezTo>
                    <a:pt x="603712" y="2629"/>
                    <a:pt x="591926" y="6418"/>
                    <a:pt x="592019" y="6464"/>
                  </a:cubicBezTo>
                  <a:lnTo>
                    <a:pt x="578316" y="10627"/>
                  </a:lnTo>
                  <a:cubicBezTo>
                    <a:pt x="560123" y="15958"/>
                    <a:pt x="541929" y="21758"/>
                    <a:pt x="524016" y="28727"/>
                  </a:cubicBezTo>
                  <a:cubicBezTo>
                    <a:pt x="487348" y="42173"/>
                    <a:pt x="453721" y="62845"/>
                    <a:pt x="425191" y="89527"/>
                  </a:cubicBezTo>
                  <a:cubicBezTo>
                    <a:pt x="418036" y="96216"/>
                    <a:pt x="411862" y="103886"/>
                    <a:pt x="405221" y="111042"/>
                  </a:cubicBezTo>
                  <a:cubicBezTo>
                    <a:pt x="398579" y="118197"/>
                    <a:pt x="393482" y="126709"/>
                    <a:pt x="387775" y="134427"/>
                  </a:cubicBezTo>
                  <a:cubicBezTo>
                    <a:pt x="377392" y="150791"/>
                    <a:pt x="368460" y="168003"/>
                    <a:pt x="360976" y="185873"/>
                  </a:cubicBezTo>
                  <a:cubicBezTo>
                    <a:pt x="345963" y="221512"/>
                    <a:pt x="336375" y="258460"/>
                    <a:pt x="325478" y="294099"/>
                  </a:cubicBezTo>
                  <a:cubicBezTo>
                    <a:pt x="314581" y="329737"/>
                    <a:pt x="301579" y="364253"/>
                    <a:pt x="281936" y="394841"/>
                  </a:cubicBezTo>
                  <a:cubicBezTo>
                    <a:pt x="262245" y="425349"/>
                    <a:pt x="235820" y="450946"/>
                    <a:pt x="204719" y="469673"/>
                  </a:cubicBezTo>
                  <a:cubicBezTo>
                    <a:pt x="173710" y="488381"/>
                    <a:pt x="138726" y="500494"/>
                    <a:pt x="102901" y="511204"/>
                  </a:cubicBezTo>
                  <a:lnTo>
                    <a:pt x="48741" y="527246"/>
                  </a:lnTo>
                  <a:cubicBezTo>
                    <a:pt x="44064" y="528649"/>
                    <a:pt x="39668" y="530333"/>
                    <a:pt x="35131" y="531923"/>
                  </a:cubicBezTo>
                  <a:cubicBezTo>
                    <a:pt x="30501" y="533312"/>
                    <a:pt x="26104" y="535492"/>
                    <a:pt x="22223" y="538378"/>
                  </a:cubicBezTo>
                  <a:cubicBezTo>
                    <a:pt x="18294" y="541731"/>
                    <a:pt x="14552" y="545328"/>
                    <a:pt x="11045" y="549135"/>
                  </a:cubicBezTo>
                  <a:cubicBezTo>
                    <a:pt x="7350" y="552240"/>
                    <a:pt x="3281" y="554850"/>
                    <a:pt x="-1069" y="556898"/>
                  </a:cubicBezTo>
                  <a:lnTo>
                    <a:pt x="-1069" y="556898"/>
                  </a:lnTo>
                  <a:cubicBezTo>
                    <a:pt x="3468" y="555243"/>
                    <a:pt x="8145" y="554205"/>
                    <a:pt x="12962" y="553812"/>
                  </a:cubicBezTo>
                  <a:cubicBezTo>
                    <a:pt x="17639" y="553531"/>
                    <a:pt x="23392" y="554981"/>
                    <a:pt x="28162" y="554607"/>
                  </a:cubicBezTo>
                  <a:cubicBezTo>
                    <a:pt x="37516" y="553952"/>
                    <a:pt x="46169" y="549930"/>
                    <a:pt x="55148" y="547498"/>
                  </a:cubicBezTo>
                  <a:cubicBezTo>
                    <a:pt x="72780" y="541651"/>
                    <a:pt x="90974" y="536741"/>
                    <a:pt x="109074" y="531222"/>
                  </a:cubicBezTo>
                  <a:cubicBezTo>
                    <a:pt x="145274" y="520558"/>
                    <a:pt x="182128" y="507837"/>
                    <a:pt x="215616" y="487352"/>
                  </a:cubicBezTo>
                  <a:cubicBezTo>
                    <a:pt x="249243" y="466918"/>
                    <a:pt x="277866" y="439165"/>
                    <a:pt x="299287" y="406159"/>
                  </a:cubicBezTo>
                  <a:cubicBezTo>
                    <a:pt x="320474" y="373140"/>
                    <a:pt x="333756" y="336379"/>
                    <a:pt x="344888" y="300179"/>
                  </a:cubicBezTo>
                  <a:cubicBezTo>
                    <a:pt x="356019" y="263979"/>
                    <a:pt x="365326" y="227686"/>
                    <a:pt x="379404" y="193731"/>
                  </a:cubicBezTo>
                  <a:cubicBezTo>
                    <a:pt x="386326" y="176861"/>
                    <a:pt x="394698" y="160632"/>
                    <a:pt x="404472" y="145230"/>
                  </a:cubicBezTo>
                  <a:cubicBezTo>
                    <a:pt x="409757" y="137934"/>
                    <a:pt x="414902" y="130451"/>
                    <a:pt x="420561" y="123436"/>
                  </a:cubicBezTo>
                  <a:cubicBezTo>
                    <a:pt x="426220" y="116420"/>
                    <a:pt x="432394" y="109732"/>
                    <a:pt x="438989" y="103558"/>
                  </a:cubicBezTo>
                  <a:cubicBezTo>
                    <a:pt x="465460" y="78448"/>
                    <a:pt x="496843" y="59071"/>
                    <a:pt x="531172" y="46639"/>
                  </a:cubicBezTo>
                  <a:cubicBezTo>
                    <a:pt x="548336" y="39951"/>
                    <a:pt x="566062" y="34339"/>
                    <a:pt x="583928" y="28914"/>
                  </a:cubicBezTo>
                  <a:lnTo>
                    <a:pt x="610961" y="20916"/>
                  </a:lnTo>
                  <a:cubicBezTo>
                    <a:pt x="612925" y="20261"/>
                    <a:pt x="614890" y="19747"/>
                    <a:pt x="616901" y="19232"/>
                  </a:cubicBezTo>
                  <a:lnTo>
                    <a:pt x="616901" y="19232"/>
                  </a:lnTo>
                  <a:cubicBezTo>
                    <a:pt x="621859" y="17984"/>
                    <a:pt x="626348" y="15355"/>
                    <a:pt x="629903" y="11656"/>
                  </a:cubicBezTo>
                  <a:cubicBezTo>
                    <a:pt x="633645" y="7400"/>
                    <a:pt x="638602" y="4411"/>
                    <a:pt x="644121" y="309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B16BE0BB-875D-4D08-B891-D48236C694A4}"/>
                </a:ext>
              </a:extLst>
            </p:cNvPr>
            <p:cNvSpPr/>
            <p:nvPr/>
          </p:nvSpPr>
          <p:spPr>
            <a:xfrm>
              <a:off x="10543365" y="3983273"/>
              <a:ext cx="633450" cy="551556"/>
            </a:xfrm>
            <a:custGeom>
              <a:avLst/>
              <a:gdLst>
                <a:gd name="connsiteX0" fmla="*/ 632195 w 633450"/>
                <a:gd name="connsiteY0" fmla="*/ -250 h 551556"/>
                <a:gd name="connsiteX1" fmla="*/ 615498 w 633450"/>
                <a:gd name="connsiteY1" fmla="*/ 685 h 551556"/>
                <a:gd name="connsiteX2" fmla="*/ 599269 w 633450"/>
                <a:gd name="connsiteY2" fmla="*/ 1854 h 551556"/>
                <a:gd name="connsiteX3" fmla="*/ 593610 w 633450"/>
                <a:gd name="connsiteY3" fmla="*/ 3632 h 551556"/>
                <a:gd name="connsiteX4" fmla="*/ 593610 w 633450"/>
                <a:gd name="connsiteY4" fmla="*/ 3632 h 551556"/>
                <a:gd name="connsiteX5" fmla="*/ 590523 w 633450"/>
                <a:gd name="connsiteY5" fmla="*/ 4614 h 551556"/>
                <a:gd name="connsiteX6" fmla="*/ 586548 w 633450"/>
                <a:gd name="connsiteY6" fmla="*/ 5877 h 551556"/>
                <a:gd name="connsiteX7" fmla="*/ 586548 w 633450"/>
                <a:gd name="connsiteY7" fmla="*/ 5877 h 551556"/>
                <a:gd name="connsiteX8" fmla="*/ 569897 w 633450"/>
                <a:gd name="connsiteY8" fmla="*/ 11162 h 551556"/>
                <a:gd name="connsiteX9" fmla="*/ 516393 w 633450"/>
                <a:gd name="connsiteY9" fmla="*/ 27110 h 551556"/>
                <a:gd name="connsiteX10" fmla="*/ 411815 w 633450"/>
                <a:gd name="connsiteY10" fmla="*/ 72290 h 551556"/>
                <a:gd name="connsiteX11" fmla="*/ 331512 w 633450"/>
                <a:gd name="connsiteY11" fmla="*/ 154511 h 551556"/>
                <a:gd name="connsiteX12" fmla="*/ 287501 w 633450"/>
                <a:gd name="connsiteY12" fmla="*/ 259509 h 551556"/>
                <a:gd name="connsiteX13" fmla="*/ 252844 w 633450"/>
                <a:gd name="connsiteY13" fmla="*/ 364321 h 551556"/>
                <a:gd name="connsiteX14" fmla="*/ 192979 w 633450"/>
                <a:gd name="connsiteY14" fmla="*/ 452529 h 551556"/>
                <a:gd name="connsiteX15" fmla="*/ 101544 w 633450"/>
                <a:gd name="connsiteY15" fmla="*/ 507904 h 551556"/>
                <a:gd name="connsiteX16" fmla="*/ 49396 w 633450"/>
                <a:gd name="connsiteY16" fmla="*/ 525256 h 551556"/>
                <a:gd name="connsiteX17" fmla="*/ 23251 w 633450"/>
                <a:gd name="connsiteY17" fmla="*/ 535031 h 551556"/>
                <a:gd name="connsiteX18" fmla="*/ 11559 w 633450"/>
                <a:gd name="connsiteY18" fmla="*/ 544806 h 551556"/>
                <a:gd name="connsiteX19" fmla="*/ -1069 w 633450"/>
                <a:gd name="connsiteY19" fmla="*/ 551260 h 551556"/>
                <a:gd name="connsiteX20" fmla="*/ -1069 w 633450"/>
                <a:gd name="connsiteY20" fmla="*/ 551260 h 551556"/>
                <a:gd name="connsiteX21" fmla="*/ 12962 w 633450"/>
                <a:gd name="connsiteY21" fmla="*/ 549529 h 551556"/>
                <a:gd name="connsiteX22" fmla="*/ 28022 w 633450"/>
                <a:gd name="connsiteY22" fmla="*/ 551306 h 551556"/>
                <a:gd name="connsiteX23" fmla="*/ 55429 w 633450"/>
                <a:gd name="connsiteY23" fmla="*/ 545320 h 551556"/>
                <a:gd name="connsiteX24" fmla="*/ 109074 w 633450"/>
                <a:gd name="connsiteY24" fmla="*/ 527360 h 551556"/>
                <a:gd name="connsiteX25" fmla="*/ 207291 w 633450"/>
                <a:gd name="connsiteY25" fmla="*/ 467495 h 551556"/>
                <a:gd name="connsiteX26" fmla="*/ 227168 w 633450"/>
                <a:gd name="connsiteY26" fmla="*/ 446308 h 551556"/>
                <a:gd name="connsiteX27" fmla="*/ 244660 w 633450"/>
                <a:gd name="connsiteY27" fmla="*/ 423157 h 551556"/>
                <a:gd name="connsiteX28" fmla="*/ 259439 w 633450"/>
                <a:gd name="connsiteY28" fmla="*/ 398322 h 551556"/>
                <a:gd name="connsiteX29" fmla="*/ 271693 w 633450"/>
                <a:gd name="connsiteY29" fmla="*/ 372318 h 551556"/>
                <a:gd name="connsiteX30" fmla="*/ 306864 w 633450"/>
                <a:gd name="connsiteY30" fmla="*/ 265262 h 551556"/>
                <a:gd name="connsiteX31" fmla="*/ 348536 w 633450"/>
                <a:gd name="connsiteY31" fmla="*/ 164894 h 551556"/>
                <a:gd name="connsiteX32" fmla="*/ 422572 w 633450"/>
                <a:gd name="connsiteY32" fmla="*/ 88566 h 551556"/>
                <a:gd name="connsiteX33" fmla="*/ 522239 w 633450"/>
                <a:gd name="connsiteY33" fmla="*/ 45537 h 551556"/>
                <a:gd name="connsiteX34" fmla="*/ 575697 w 633450"/>
                <a:gd name="connsiteY34" fmla="*/ 29542 h 551556"/>
                <a:gd name="connsiteX35" fmla="*/ 604741 w 633450"/>
                <a:gd name="connsiteY35" fmla="*/ 20516 h 551556"/>
                <a:gd name="connsiteX36" fmla="*/ 619380 w 633450"/>
                <a:gd name="connsiteY36" fmla="*/ 10881 h 551556"/>
                <a:gd name="connsiteX37" fmla="*/ 632382 w 633450"/>
                <a:gd name="connsiteY37" fmla="*/ -157 h 551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33450" h="551556">
                  <a:moveTo>
                    <a:pt x="632195" y="-250"/>
                  </a:moveTo>
                  <a:cubicBezTo>
                    <a:pt x="626863" y="1770"/>
                    <a:pt x="621017" y="2098"/>
                    <a:pt x="615498" y="685"/>
                  </a:cubicBezTo>
                  <a:cubicBezTo>
                    <a:pt x="610072" y="-536"/>
                    <a:pt x="604460" y="-129"/>
                    <a:pt x="599269" y="1854"/>
                  </a:cubicBezTo>
                  <a:lnTo>
                    <a:pt x="593610" y="3632"/>
                  </a:lnTo>
                  <a:lnTo>
                    <a:pt x="593610" y="3632"/>
                  </a:lnTo>
                  <a:lnTo>
                    <a:pt x="590523" y="4614"/>
                  </a:lnTo>
                  <a:lnTo>
                    <a:pt x="586548" y="5877"/>
                  </a:lnTo>
                  <a:lnTo>
                    <a:pt x="586548" y="5877"/>
                  </a:lnTo>
                  <a:cubicBezTo>
                    <a:pt x="581029" y="7654"/>
                    <a:pt x="575463" y="9338"/>
                    <a:pt x="569897" y="11162"/>
                  </a:cubicBezTo>
                  <a:lnTo>
                    <a:pt x="516393" y="27110"/>
                  </a:lnTo>
                  <a:cubicBezTo>
                    <a:pt x="480567" y="37867"/>
                    <a:pt x="444367" y="51337"/>
                    <a:pt x="411815" y="72290"/>
                  </a:cubicBezTo>
                  <a:cubicBezTo>
                    <a:pt x="379217" y="93318"/>
                    <a:pt x="351763" y="121422"/>
                    <a:pt x="331512" y="154511"/>
                  </a:cubicBezTo>
                  <a:cubicBezTo>
                    <a:pt x="311167" y="187250"/>
                    <a:pt x="298398" y="223731"/>
                    <a:pt x="287501" y="259509"/>
                  </a:cubicBezTo>
                  <a:cubicBezTo>
                    <a:pt x="276604" y="295288"/>
                    <a:pt x="267250" y="331021"/>
                    <a:pt x="252844" y="364321"/>
                  </a:cubicBezTo>
                  <a:cubicBezTo>
                    <a:pt x="239328" y="397602"/>
                    <a:pt x="218889" y="427656"/>
                    <a:pt x="192979" y="452529"/>
                  </a:cubicBezTo>
                  <a:cubicBezTo>
                    <a:pt x="166507" y="476905"/>
                    <a:pt x="135405" y="495735"/>
                    <a:pt x="101544" y="507904"/>
                  </a:cubicBezTo>
                  <a:cubicBezTo>
                    <a:pt x="84613" y="514405"/>
                    <a:pt x="67168" y="520158"/>
                    <a:pt x="49396" y="525256"/>
                  </a:cubicBezTo>
                  <a:cubicBezTo>
                    <a:pt x="40650" y="528249"/>
                    <a:pt x="31389" y="529699"/>
                    <a:pt x="23251" y="535031"/>
                  </a:cubicBezTo>
                  <a:cubicBezTo>
                    <a:pt x="19182" y="537743"/>
                    <a:pt x="15534" y="541859"/>
                    <a:pt x="11559" y="544806"/>
                  </a:cubicBezTo>
                  <a:cubicBezTo>
                    <a:pt x="7630" y="547476"/>
                    <a:pt x="3374" y="549646"/>
                    <a:pt x="-1069" y="551260"/>
                  </a:cubicBezTo>
                  <a:lnTo>
                    <a:pt x="-1069" y="551260"/>
                  </a:lnTo>
                  <a:cubicBezTo>
                    <a:pt x="3515" y="550067"/>
                    <a:pt x="8238" y="549483"/>
                    <a:pt x="12962" y="549529"/>
                  </a:cubicBezTo>
                  <a:cubicBezTo>
                    <a:pt x="17920" y="549763"/>
                    <a:pt x="23205" y="551260"/>
                    <a:pt x="28022" y="551306"/>
                  </a:cubicBezTo>
                  <a:cubicBezTo>
                    <a:pt x="37750" y="551306"/>
                    <a:pt x="46356" y="547658"/>
                    <a:pt x="55429" y="545320"/>
                  </a:cubicBezTo>
                  <a:cubicBezTo>
                    <a:pt x="73295" y="539801"/>
                    <a:pt x="91349" y="534329"/>
                    <a:pt x="109074" y="527360"/>
                  </a:cubicBezTo>
                  <a:cubicBezTo>
                    <a:pt x="145461" y="514096"/>
                    <a:pt x="178855" y="493747"/>
                    <a:pt x="207291" y="467495"/>
                  </a:cubicBezTo>
                  <a:cubicBezTo>
                    <a:pt x="214634" y="461134"/>
                    <a:pt x="220480" y="453464"/>
                    <a:pt x="227168" y="446308"/>
                  </a:cubicBezTo>
                  <a:cubicBezTo>
                    <a:pt x="233856" y="439152"/>
                    <a:pt x="238813" y="430874"/>
                    <a:pt x="244660" y="423157"/>
                  </a:cubicBezTo>
                  <a:cubicBezTo>
                    <a:pt x="249805" y="415019"/>
                    <a:pt x="254715" y="406694"/>
                    <a:pt x="259439" y="398322"/>
                  </a:cubicBezTo>
                  <a:cubicBezTo>
                    <a:pt x="264163" y="389951"/>
                    <a:pt x="268232" y="381205"/>
                    <a:pt x="271693" y="372318"/>
                  </a:cubicBezTo>
                  <a:cubicBezTo>
                    <a:pt x="286519" y="337054"/>
                    <a:pt x="296341" y="300667"/>
                    <a:pt x="306864" y="265262"/>
                  </a:cubicBezTo>
                  <a:cubicBezTo>
                    <a:pt x="317387" y="229857"/>
                    <a:pt x="329781" y="195528"/>
                    <a:pt x="348536" y="164894"/>
                  </a:cubicBezTo>
                  <a:cubicBezTo>
                    <a:pt x="367150" y="134213"/>
                    <a:pt x="392453" y="108125"/>
                    <a:pt x="422572" y="88566"/>
                  </a:cubicBezTo>
                  <a:cubicBezTo>
                    <a:pt x="452739" y="69156"/>
                    <a:pt x="486974" y="56294"/>
                    <a:pt x="522239" y="45537"/>
                  </a:cubicBezTo>
                  <a:lnTo>
                    <a:pt x="575697" y="29542"/>
                  </a:lnTo>
                  <a:cubicBezTo>
                    <a:pt x="579766" y="28326"/>
                    <a:pt x="599082" y="22667"/>
                    <a:pt x="604741" y="20516"/>
                  </a:cubicBezTo>
                  <a:cubicBezTo>
                    <a:pt x="610541" y="18949"/>
                    <a:pt x="615638" y="15572"/>
                    <a:pt x="619380" y="10881"/>
                  </a:cubicBezTo>
                  <a:cubicBezTo>
                    <a:pt x="622654" y="6120"/>
                    <a:pt x="627144" y="2308"/>
                    <a:pt x="632382" y="-15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E3194BD5-4695-473F-B376-E067D912E6DA}"/>
                </a:ext>
              </a:extLst>
            </p:cNvPr>
            <p:cNvSpPr/>
            <p:nvPr/>
          </p:nvSpPr>
          <p:spPr>
            <a:xfrm>
              <a:off x="10572876" y="3917000"/>
              <a:ext cx="604921" cy="553801"/>
            </a:xfrm>
            <a:custGeom>
              <a:avLst/>
              <a:gdLst>
                <a:gd name="connsiteX0" fmla="*/ 603853 w 604921"/>
                <a:gd name="connsiteY0" fmla="*/ -157 h 553801"/>
                <a:gd name="connsiteX1" fmla="*/ 587483 w 604921"/>
                <a:gd name="connsiteY1" fmla="*/ 3211 h 553801"/>
                <a:gd name="connsiteX2" fmla="*/ 571582 w 604921"/>
                <a:gd name="connsiteY2" fmla="*/ 6718 h 553801"/>
                <a:gd name="connsiteX3" fmla="*/ 561292 w 604921"/>
                <a:gd name="connsiteY3" fmla="*/ 11676 h 553801"/>
                <a:gd name="connsiteX4" fmla="*/ 543659 w 604921"/>
                <a:gd name="connsiteY4" fmla="*/ 19112 h 553801"/>
                <a:gd name="connsiteX5" fmla="*/ 493195 w 604921"/>
                <a:gd name="connsiteY5" fmla="*/ 36230 h 553801"/>
                <a:gd name="connsiteX6" fmla="*/ 389506 w 604921"/>
                <a:gd name="connsiteY6" fmla="*/ 69998 h 553801"/>
                <a:gd name="connsiteX7" fmla="*/ 296387 w 604921"/>
                <a:gd name="connsiteY7" fmla="*/ 130799 h 553801"/>
                <a:gd name="connsiteX8" fmla="*/ 236008 w 604921"/>
                <a:gd name="connsiteY8" fmla="*/ 224338 h 553801"/>
                <a:gd name="connsiteX9" fmla="*/ 161691 w 604921"/>
                <a:gd name="connsiteY9" fmla="*/ 425449 h 553801"/>
                <a:gd name="connsiteX10" fmla="*/ 147145 w 604921"/>
                <a:gd name="connsiteY10" fmla="*/ 446963 h 553801"/>
                <a:gd name="connsiteX11" fmla="*/ 130401 w 604921"/>
                <a:gd name="connsiteY11" fmla="*/ 466700 h 553801"/>
                <a:gd name="connsiteX12" fmla="*/ 91208 w 604921"/>
                <a:gd name="connsiteY12" fmla="*/ 500374 h 553801"/>
                <a:gd name="connsiteX13" fmla="*/ 45421 w 604921"/>
                <a:gd name="connsiteY13" fmla="*/ 525302 h 553801"/>
                <a:gd name="connsiteX14" fmla="*/ 21708 w 604921"/>
                <a:gd name="connsiteY14" fmla="*/ 537182 h 553801"/>
                <a:gd name="connsiteX15" fmla="*/ 11045 w 604921"/>
                <a:gd name="connsiteY15" fmla="*/ 547191 h 553801"/>
                <a:gd name="connsiteX16" fmla="*/ -1069 w 604921"/>
                <a:gd name="connsiteY16" fmla="*/ 553551 h 553801"/>
                <a:gd name="connsiteX17" fmla="*/ -1069 w 604921"/>
                <a:gd name="connsiteY17" fmla="*/ 553551 h 553801"/>
                <a:gd name="connsiteX18" fmla="*/ 12495 w 604921"/>
                <a:gd name="connsiteY18" fmla="*/ 551494 h 553801"/>
                <a:gd name="connsiteX19" fmla="*/ 27368 w 604921"/>
                <a:gd name="connsiteY19" fmla="*/ 552523 h 553801"/>
                <a:gd name="connsiteX20" fmla="*/ 53839 w 604921"/>
                <a:gd name="connsiteY20" fmla="*/ 544338 h 553801"/>
                <a:gd name="connsiteX21" fmla="*/ 102761 w 604921"/>
                <a:gd name="connsiteY21" fmla="*/ 517352 h 553801"/>
                <a:gd name="connsiteX22" fmla="*/ 179136 w 604921"/>
                <a:gd name="connsiteY22" fmla="*/ 435458 h 553801"/>
                <a:gd name="connsiteX23" fmla="*/ 221228 w 604921"/>
                <a:gd name="connsiteY23" fmla="*/ 333499 h 553801"/>
                <a:gd name="connsiteX24" fmla="*/ 253967 w 604921"/>
                <a:gd name="connsiteY24" fmla="*/ 231635 h 553801"/>
                <a:gd name="connsiteX25" fmla="*/ 310091 w 604921"/>
                <a:gd name="connsiteY25" fmla="*/ 144409 h 553801"/>
                <a:gd name="connsiteX26" fmla="*/ 396849 w 604921"/>
                <a:gd name="connsiteY26" fmla="*/ 87770 h 553801"/>
                <a:gd name="connsiteX27" fmla="*/ 498621 w 604921"/>
                <a:gd name="connsiteY27" fmla="*/ 54377 h 553801"/>
                <a:gd name="connsiteX28" fmla="*/ 550535 w 604921"/>
                <a:gd name="connsiteY28" fmla="*/ 36791 h 553801"/>
                <a:gd name="connsiteX29" fmla="*/ 563583 w 604921"/>
                <a:gd name="connsiteY29" fmla="*/ 31553 h 553801"/>
                <a:gd name="connsiteX30" fmla="*/ 579392 w 604921"/>
                <a:gd name="connsiteY30" fmla="*/ 24257 h 553801"/>
                <a:gd name="connsiteX31" fmla="*/ 592441 w 604921"/>
                <a:gd name="connsiteY31" fmla="*/ 12565 h 553801"/>
                <a:gd name="connsiteX32" fmla="*/ 603712 w 604921"/>
                <a:gd name="connsiteY32" fmla="*/ -250 h 553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604921" h="553801">
                  <a:moveTo>
                    <a:pt x="603853" y="-157"/>
                  </a:moveTo>
                  <a:cubicBezTo>
                    <a:pt x="598848" y="2621"/>
                    <a:pt x="593142" y="3795"/>
                    <a:pt x="587483" y="3211"/>
                  </a:cubicBezTo>
                  <a:cubicBezTo>
                    <a:pt x="581964" y="2780"/>
                    <a:pt x="576398" y="4001"/>
                    <a:pt x="571582" y="6718"/>
                  </a:cubicBezTo>
                  <a:lnTo>
                    <a:pt x="561292" y="11676"/>
                  </a:lnTo>
                  <a:cubicBezTo>
                    <a:pt x="555492" y="14295"/>
                    <a:pt x="549646" y="16821"/>
                    <a:pt x="543659" y="19112"/>
                  </a:cubicBezTo>
                  <a:cubicBezTo>
                    <a:pt x="527290" y="25567"/>
                    <a:pt x="510359" y="31085"/>
                    <a:pt x="493195" y="36230"/>
                  </a:cubicBezTo>
                  <a:cubicBezTo>
                    <a:pt x="458959" y="46566"/>
                    <a:pt x="423648" y="55874"/>
                    <a:pt x="389506" y="69998"/>
                  </a:cubicBezTo>
                  <a:cubicBezTo>
                    <a:pt x="354803" y="84001"/>
                    <a:pt x="323187" y="104654"/>
                    <a:pt x="296387" y="130799"/>
                  </a:cubicBezTo>
                  <a:cubicBezTo>
                    <a:pt x="270196" y="157635"/>
                    <a:pt x="249664" y="189439"/>
                    <a:pt x="236008" y="224338"/>
                  </a:cubicBezTo>
                  <a:cubicBezTo>
                    <a:pt x="207665" y="292576"/>
                    <a:pt x="198311" y="365630"/>
                    <a:pt x="161691" y="425449"/>
                  </a:cubicBezTo>
                  <a:cubicBezTo>
                    <a:pt x="157341" y="432951"/>
                    <a:pt x="152477" y="440139"/>
                    <a:pt x="147145" y="446963"/>
                  </a:cubicBezTo>
                  <a:cubicBezTo>
                    <a:pt x="142001" y="453908"/>
                    <a:pt x="136435" y="460503"/>
                    <a:pt x="130401" y="466700"/>
                  </a:cubicBezTo>
                  <a:cubicBezTo>
                    <a:pt x="118756" y="479477"/>
                    <a:pt x="105614" y="490786"/>
                    <a:pt x="91208" y="500374"/>
                  </a:cubicBezTo>
                  <a:cubicBezTo>
                    <a:pt x="76756" y="510074"/>
                    <a:pt x="61416" y="518423"/>
                    <a:pt x="45421" y="525302"/>
                  </a:cubicBezTo>
                  <a:cubicBezTo>
                    <a:pt x="37563" y="529184"/>
                    <a:pt x="28958" y="531242"/>
                    <a:pt x="21708" y="537182"/>
                  </a:cubicBezTo>
                  <a:cubicBezTo>
                    <a:pt x="18107" y="540175"/>
                    <a:pt x="14786" y="544244"/>
                    <a:pt x="11045" y="547191"/>
                  </a:cubicBezTo>
                  <a:cubicBezTo>
                    <a:pt x="7303" y="549828"/>
                    <a:pt x="3234" y="551966"/>
                    <a:pt x="-1069" y="553551"/>
                  </a:cubicBezTo>
                  <a:lnTo>
                    <a:pt x="-1069" y="553551"/>
                  </a:lnTo>
                  <a:cubicBezTo>
                    <a:pt x="3375" y="552340"/>
                    <a:pt x="7911" y="551648"/>
                    <a:pt x="12495" y="551494"/>
                  </a:cubicBezTo>
                  <a:cubicBezTo>
                    <a:pt x="17172" y="551494"/>
                    <a:pt x="22503" y="552569"/>
                    <a:pt x="27368" y="552523"/>
                  </a:cubicBezTo>
                  <a:cubicBezTo>
                    <a:pt x="37002" y="552195"/>
                    <a:pt x="45234" y="547846"/>
                    <a:pt x="53839" y="544338"/>
                  </a:cubicBezTo>
                  <a:cubicBezTo>
                    <a:pt x="70957" y="536906"/>
                    <a:pt x="87326" y="527875"/>
                    <a:pt x="102761" y="517352"/>
                  </a:cubicBezTo>
                  <a:cubicBezTo>
                    <a:pt x="133862" y="495908"/>
                    <a:pt x="159913" y="467967"/>
                    <a:pt x="179136" y="435458"/>
                  </a:cubicBezTo>
                  <a:cubicBezTo>
                    <a:pt x="198545" y="403373"/>
                    <a:pt x="210752" y="368156"/>
                    <a:pt x="221228" y="333499"/>
                  </a:cubicBezTo>
                  <a:cubicBezTo>
                    <a:pt x="231705" y="298843"/>
                    <a:pt x="240779" y="264140"/>
                    <a:pt x="253967" y="231635"/>
                  </a:cubicBezTo>
                  <a:cubicBezTo>
                    <a:pt x="266829" y="199186"/>
                    <a:pt x="285864" y="169552"/>
                    <a:pt x="310091" y="144409"/>
                  </a:cubicBezTo>
                  <a:cubicBezTo>
                    <a:pt x="335019" y="120009"/>
                    <a:pt x="364485" y="100759"/>
                    <a:pt x="396849" y="87770"/>
                  </a:cubicBezTo>
                  <a:cubicBezTo>
                    <a:pt x="429307" y="74161"/>
                    <a:pt x="463870" y="64807"/>
                    <a:pt x="498621" y="54377"/>
                  </a:cubicBezTo>
                  <a:cubicBezTo>
                    <a:pt x="515972" y="49185"/>
                    <a:pt x="533417" y="43573"/>
                    <a:pt x="550535" y="36791"/>
                  </a:cubicBezTo>
                  <a:lnTo>
                    <a:pt x="563583" y="31553"/>
                  </a:lnTo>
                  <a:cubicBezTo>
                    <a:pt x="563583" y="31553"/>
                    <a:pt x="574060" y="27204"/>
                    <a:pt x="579392" y="24257"/>
                  </a:cubicBezTo>
                  <a:cubicBezTo>
                    <a:pt x="584864" y="21820"/>
                    <a:pt x="589401" y="17728"/>
                    <a:pt x="592441" y="12565"/>
                  </a:cubicBezTo>
                  <a:cubicBezTo>
                    <a:pt x="595013" y="7373"/>
                    <a:pt x="598895" y="2949"/>
                    <a:pt x="603712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CAFDA293-8918-4A39-A2F4-DE48542966E2}"/>
                </a:ext>
              </a:extLst>
            </p:cNvPr>
            <p:cNvSpPr/>
            <p:nvPr/>
          </p:nvSpPr>
          <p:spPr>
            <a:xfrm>
              <a:off x="10579564" y="3843712"/>
              <a:ext cx="595332" cy="565540"/>
            </a:xfrm>
            <a:custGeom>
              <a:avLst/>
              <a:gdLst>
                <a:gd name="connsiteX0" fmla="*/ 594264 w 595332"/>
                <a:gd name="connsiteY0" fmla="*/ -250 h 565540"/>
                <a:gd name="connsiteX1" fmla="*/ 578690 w 595332"/>
                <a:gd name="connsiteY1" fmla="*/ 5783 h 565540"/>
                <a:gd name="connsiteX2" fmla="*/ 563583 w 595332"/>
                <a:gd name="connsiteY2" fmla="*/ 11863 h 565540"/>
                <a:gd name="connsiteX3" fmla="*/ 552686 w 595332"/>
                <a:gd name="connsiteY3" fmla="*/ 19580 h 565540"/>
                <a:gd name="connsiteX4" fmla="*/ 552686 w 595332"/>
                <a:gd name="connsiteY4" fmla="*/ 19580 h 565540"/>
                <a:gd name="connsiteX5" fmla="*/ 540900 w 595332"/>
                <a:gd name="connsiteY5" fmla="*/ 27204 h 565540"/>
                <a:gd name="connsiteX6" fmla="*/ 517515 w 595332"/>
                <a:gd name="connsiteY6" fmla="*/ 39411 h 565540"/>
                <a:gd name="connsiteX7" fmla="*/ 505589 w 595332"/>
                <a:gd name="connsiteY7" fmla="*/ 44929 h 565540"/>
                <a:gd name="connsiteX8" fmla="*/ 493288 w 595332"/>
                <a:gd name="connsiteY8" fmla="*/ 49606 h 565540"/>
                <a:gd name="connsiteX9" fmla="*/ 390862 w 595332"/>
                <a:gd name="connsiteY9" fmla="*/ 82345 h 565540"/>
                <a:gd name="connsiteX10" fmla="*/ 289653 w 595332"/>
                <a:gd name="connsiteY10" fmla="*/ 126590 h 565540"/>
                <a:gd name="connsiteX11" fmla="*/ 211266 w 595332"/>
                <a:gd name="connsiteY11" fmla="*/ 205864 h 565540"/>
                <a:gd name="connsiteX12" fmla="*/ 167630 w 595332"/>
                <a:gd name="connsiteY12" fmla="*/ 307308 h 565540"/>
                <a:gd name="connsiteX13" fmla="*/ 134891 w 595332"/>
                <a:gd name="connsiteY13" fmla="*/ 409454 h 565540"/>
                <a:gd name="connsiteX14" fmla="*/ 80217 w 595332"/>
                <a:gd name="connsiteY14" fmla="*/ 497521 h 565540"/>
                <a:gd name="connsiteX15" fmla="*/ 40837 w 595332"/>
                <a:gd name="connsiteY15" fmla="*/ 531008 h 565540"/>
                <a:gd name="connsiteX16" fmla="*/ 19603 w 595332"/>
                <a:gd name="connsiteY16" fmla="*/ 546349 h 565540"/>
                <a:gd name="connsiteX17" fmla="*/ 10249 w 595332"/>
                <a:gd name="connsiteY17" fmla="*/ 557620 h 565540"/>
                <a:gd name="connsiteX18" fmla="*/ -1069 w 595332"/>
                <a:gd name="connsiteY18" fmla="*/ 565291 h 565540"/>
                <a:gd name="connsiteX19" fmla="*/ -1069 w 595332"/>
                <a:gd name="connsiteY19" fmla="*/ 565291 h 565540"/>
                <a:gd name="connsiteX20" fmla="*/ 12167 w 595332"/>
                <a:gd name="connsiteY20" fmla="*/ 561689 h 565540"/>
                <a:gd name="connsiteX21" fmla="*/ 27087 w 595332"/>
                <a:gd name="connsiteY21" fmla="*/ 560614 h 565540"/>
                <a:gd name="connsiteX22" fmla="*/ 52155 w 595332"/>
                <a:gd name="connsiteY22" fmla="*/ 548079 h 565540"/>
                <a:gd name="connsiteX23" fmla="*/ 94903 w 595332"/>
                <a:gd name="connsiteY23" fmla="*/ 511599 h 565540"/>
                <a:gd name="connsiteX24" fmla="*/ 153365 w 595332"/>
                <a:gd name="connsiteY24" fmla="*/ 416890 h 565540"/>
                <a:gd name="connsiteX25" fmla="*/ 186619 w 595332"/>
                <a:gd name="connsiteY25" fmla="*/ 313155 h 565540"/>
                <a:gd name="connsiteX26" fmla="*/ 227916 w 595332"/>
                <a:gd name="connsiteY26" fmla="*/ 216341 h 565540"/>
                <a:gd name="connsiteX27" fmla="*/ 300176 w 595332"/>
                <a:gd name="connsiteY27" fmla="*/ 142772 h 565540"/>
                <a:gd name="connsiteX28" fmla="*/ 396522 w 595332"/>
                <a:gd name="connsiteY28" fmla="*/ 100679 h 565540"/>
                <a:gd name="connsiteX29" fmla="*/ 500210 w 595332"/>
                <a:gd name="connsiteY29" fmla="*/ 67613 h 565540"/>
                <a:gd name="connsiteX30" fmla="*/ 513025 w 595332"/>
                <a:gd name="connsiteY30" fmla="*/ 62421 h 565540"/>
                <a:gd name="connsiteX31" fmla="*/ 525606 w 595332"/>
                <a:gd name="connsiteY31" fmla="*/ 56575 h 565540"/>
                <a:gd name="connsiteX32" fmla="*/ 550254 w 595332"/>
                <a:gd name="connsiteY32" fmla="*/ 43526 h 565540"/>
                <a:gd name="connsiteX33" fmla="*/ 559608 w 595332"/>
                <a:gd name="connsiteY33" fmla="*/ 37727 h 565540"/>
                <a:gd name="connsiteX34" fmla="*/ 559608 w 595332"/>
                <a:gd name="connsiteY34" fmla="*/ 38054 h 565540"/>
                <a:gd name="connsiteX35" fmla="*/ 574013 w 595332"/>
                <a:gd name="connsiteY35" fmla="*/ 27999 h 565540"/>
                <a:gd name="connsiteX36" fmla="*/ 584957 w 595332"/>
                <a:gd name="connsiteY36" fmla="*/ 14295 h 565540"/>
                <a:gd name="connsiteX37" fmla="*/ 593984 w 595332"/>
                <a:gd name="connsiteY37" fmla="*/ -203 h 56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95332" h="565540">
                  <a:moveTo>
                    <a:pt x="594264" y="-250"/>
                  </a:moveTo>
                  <a:cubicBezTo>
                    <a:pt x="589821" y="3309"/>
                    <a:pt x="584396" y="5418"/>
                    <a:pt x="578690" y="5783"/>
                  </a:cubicBezTo>
                  <a:cubicBezTo>
                    <a:pt x="573172" y="6274"/>
                    <a:pt x="567887" y="8388"/>
                    <a:pt x="563583" y="11863"/>
                  </a:cubicBezTo>
                  <a:lnTo>
                    <a:pt x="552686" y="19580"/>
                  </a:lnTo>
                  <a:lnTo>
                    <a:pt x="552686" y="19580"/>
                  </a:lnTo>
                  <a:cubicBezTo>
                    <a:pt x="552686" y="19580"/>
                    <a:pt x="544782" y="25193"/>
                    <a:pt x="540900" y="27204"/>
                  </a:cubicBezTo>
                  <a:cubicBezTo>
                    <a:pt x="533230" y="31366"/>
                    <a:pt x="525840" y="35996"/>
                    <a:pt x="517515" y="39411"/>
                  </a:cubicBezTo>
                  <a:lnTo>
                    <a:pt x="505589" y="44929"/>
                  </a:lnTo>
                  <a:lnTo>
                    <a:pt x="493288" y="49606"/>
                  </a:lnTo>
                  <a:cubicBezTo>
                    <a:pt x="460549" y="62515"/>
                    <a:pt x="425659" y="71401"/>
                    <a:pt x="390862" y="82345"/>
                  </a:cubicBezTo>
                  <a:cubicBezTo>
                    <a:pt x="356066" y="93289"/>
                    <a:pt x="321129" y="106151"/>
                    <a:pt x="289653" y="126590"/>
                  </a:cubicBezTo>
                  <a:cubicBezTo>
                    <a:pt x="257989" y="146888"/>
                    <a:pt x="231190" y="173963"/>
                    <a:pt x="211266" y="205864"/>
                  </a:cubicBezTo>
                  <a:cubicBezTo>
                    <a:pt x="191249" y="237574"/>
                    <a:pt x="178528" y="272652"/>
                    <a:pt x="167630" y="307308"/>
                  </a:cubicBezTo>
                  <a:cubicBezTo>
                    <a:pt x="156733" y="341965"/>
                    <a:pt x="147893" y="376808"/>
                    <a:pt x="134891" y="409454"/>
                  </a:cubicBezTo>
                  <a:cubicBezTo>
                    <a:pt x="122497" y="442047"/>
                    <a:pt x="103929" y="471947"/>
                    <a:pt x="80217" y="497521"/>
                  </a:cubicBezTo>
                  <a:cubicBezTo>
                    <a:pt x="68525" y="510243"/>
                    <a:pt x="55289" y="521491"/>
                    <a:pt x="40837" y="531008"/>
                  </a:cubicBezTo>
                  <a:cubicBezTo>
                    <a:pt x="33821" y="536153"/>
                    <a:pt x="25871" y="539614"/>
                    <a:pt x="19603" y="546349"/>
                  </a:cubicBezTo>
                  <a:cubicBezTo>
                    <a:pt x="16517" y="549857"/>
                    <a:pt x="13757" y="554253"/>
                    <a:pt x="10249" y="557620"/>
                  </a:cubicBezTo>
                  <a:cubicBezTo>
                    <a:pt x="6882" y="560707"/>
                    <a:pt x="3047" y="563289"/>
                    <a:pt x="-1069" y="565291"/>
                  </a:cubicBezTo>
                  <a:lnTo>
                    <a:pt x="-1069" y="565291"/>
                  </a:lnTo>
                  <a:cubicBezTo>
                    <a:pt x="3188" y="563644"/>
                    <a:pt x="7630" y="562438"/>
                    <a:pt x="12167" y="561689"/>
                  </a:cubicBezTo>
                  <a:cubicBezTo>
                    <a:pt x="16844" y="561128"/>
                    <a:pt x="22269" y="561456"/>
                    <a:pt x="27087" y="560614"/>
                  </a:cubicBezTo>
                  <a:cubicBezTo>
                    <a:pt x="36441" y="558836"/>
                    <a:pt x="44204" y="553037"/>
                    <a:pt x="52155" y="548079"/>
                  </a:cubicBezTo>
                  <a:cubicBezTo>
                    <a:pt x="67776" y="537640"/>
                    <a:pt x="82134" y="525396"/>
                    <a:pt x="94903" y="511599"/>
                  </a:cubicBezTo>
                  <a:cubicBezTo>
                    <a:pt x="120346" y="484098"/>
                    <a:pt x="140176" y="451939"/>
                    <a:pt x="153365" y="416890"/>
                  </a:cubicBezTo>
                  <a:cubicBezTo>
                    <a:pt x="167396" y="382608"/>
                    <a:pt x="176189" y="347296"/>
                    <a:pt x="186619" y="313155"/>
                  </a:cubicBezTo>
                  <a:cubicBezTo>
                    <a:pt x="197048" y="279012"/>
                    <a:pt x="209396" y="245806"/>
                    <a:pt x="227916" y="216341"/>
                  </a:cubicBezTo>
                  <a:cubicBezTo>
                    <a:pt x="246297" y="186787"/>
                    <a:pt x="270945" y="161662"/>
                    <a:pt x="300176" y="142772"/>
                  </a:cubicBezTo>
                  <a:cubicBezTo>
                    <a:pt x="329453" y="124064"/>
                    <a:pt x="362473" y="111249"/>
                    <a:pt x="396522" y="100679"/>
                  </a:cubicBezTo>
                  <a:cubicBezTo>
                    <a:pt x="430570" y="90109"/>
                    <a:pt x="465881" y="81129"/>
                    <a:pt x="500210" y="67613"/>
                  </a:cubicBezTo>
                  <a:lnTo>
                    <a:pt x="513025" y="62421"/>
                  </a:lnTo>
                  <a:lnTo>
                    <a:pt x="525606" y="56575"/>
                  </a:lnTo>
                  <a:cubicBezTo>
                    <a:pt x="534025" y="52642"/>
                    <a:pt x="542256" y="48287"/>
                    <a:pt x="550254" y="43526"/>
                  </a:cubicBezTo>
                  <a:cubicBezTo>
                    <a:pt x="553481" y="41749"/>
                    <a:pt x="556568" y="39818"/>
                    <a:pt x="559608" y="37727"/>
                  </a:cubicBezTo>
                  <a:cubicBezTo>
                    <a:pt x="559561" y="37834"/>
                    <a:pt x="559561" y="37947"/>
                    <a:pt x="559608" y="38054"/>
                  </a:cubicBezTo>
                  <a:cubicBezTo>
                    <a:pt x="564659" y="35094"/>
                    <a:pt x="569477" y="31731"/>
                    <a:pt x="574013" y="27999"/>
                  </a:cubicBezTo>
                  <a:cubicBezTo>
                    <a:pt x="579018" y="24687"/>
                    <a:pt x="582853" y="19894"/>
                    <a:pt x="584957" y="14295"/>
                  </a:cubicBezTo>
                  <a:cubicBezTo>
                    <a:pt x="586641" y="8753"/>
                    <a:pt x="589774" y="3753"/>
                    <a:pt x="593984" y="-20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BA734927-3EED-46AC-B781-AD8E5018826A}"/>
                </a:ext>
              </a:extLst>
            </p:cNvPr>
            <p:cNvSpPr/>
            <p:nvPr/>
          </p:nvSpPr>
          <p:spPr>
            <a:xfrm>
              <a:off x="10610666" y="3743484"/>
              <a:ext cx="564652" cy="576952"/>
            </a:xfrm>
            <a:custGeom>
              <a:avLst/>
              <a:gdLst>
                <a:gd name="connsiteX0" fmla="*/ 563583 w 564652"/>
                <a:gd name="connsiteY0" fmla="*/ 311 h 576952"/>
                <a:gd name="connsiteX1" fmla="*/ 550488 w 564652"/>
                <a:gd name="connsiteY1" fmla="*/ 10647 h 576952"/>
                <a:gd name="connsiteX2" fmla="*/ 537860 w 564652"/>
                <a:gd name="connsiteY2" fmla="*/ 20983 h 576952"/>
                <a:gd name="connsiteX3" fmla="*/ 529722 w 564652"/>
                <a:gd name="connsiteY3" fmla="*/ 31553 h 576952"/>
                <a:gd name="connsiteX4" fmla="*/ 530049 w 564652"/>
                <a:gd name="connsiteY4" fmla="*/ 31553 h 576952"/>
                <a:gd name="connsiteX5" fmla="*/ 518965 w 564652"/>
                <a:gd name="connsiteY5" fmla="*/ 44134 h 576952"/>
                <a:gd name="connsiteX6" fmla="*/ 500257 w 564652"/>
                <a:gd name="connsiteY6" fmla="*/ 61346 h 576952"/>
                <a:gd name="connsiteX7" fmla="*/ 480006 w 564652"/>
                <a:gd name="connsiteY7" fmla="*/ 76639 h 576952"/>
                <a:gd name="connsiteX8" fmla="*/ 386466 w 564652"/>
                <a:gd name="connsiteY8" fmla="*/ 119060 h 576952"/>
                <a:gd name="connsiteX9" fmla="*/ 285209 w 564652"/>
                <a:gd name="connsiteY9" fmla="*/ 150629 h 576952"/>
                <a:gd name="connsiteX10" fmla="*/ 260094 w 564652"/>
                <a:gd name="connsiteY10" fmla="*/ 160591 h 576952"/>
                <a:gd name="connsiteX11" fmla="*/ 235587 w 564652"/>
                <a:gd name="connsiteY11" fmla="*/ 172424 h 576952"/>
                <a:gd name="connsiteX12" fmla="*/ 212202 w 564652"/>
                <a:gd name="connsiteY12" fmla="*/ 186455 h 576952"/>
                <a:gd name="connsiteX13" fmla="*/ 190313 w 564652"/>
                <a:gd name="connsiteY13" fmla="*/ 202965 h 576952"/>
                <a:gd name="connsiteX14" fmla="*/ 123245 w 564652"/>
                <a:gd name="connsiteY14" fmla="*/ 288741 h 576952"/>
                <a:gd name="connsiteX15" fmla="*/ 86437 w 564652"/>
                <a:gd name="connsiteY15" fmla="*/ 389530 h 576952"/>
                <a:gd name="connsiteX16" fmla="*/ 51921 w 564652"/>
                <a:gd name="connsiteY16" fmla="*/ 487746 h 576952"/>
                <a:gd name="connsiteX17" fmla="*/ 39948 w 564652"/>
                <a:gd name="connsiteY17" fmla="*/ 510289 h 576952"/>
                <a:gd name="connsiteX18" fmla="*/ 33401 w 564652"/>
                <a:gd name="connsiteY18" fmla="*/ 521187 h 576952"/>
                <a:gd name="connsiteX19" fmla="*/ 25964 w 564652"/>
                <a:gd name="connsiteY19" fmla="*/ 531476 h 576952"/>
                <a:gd name="connsiteX20" fmla="*/ 18528 w 564652"/>
                <a:gd name="connsiteY20" fmla="*/ 541719 h 576952"/>
                <a:gd name="connsiteX21" fmla="*/ 11746 w 564652"/>
                <a:gd name="connsiteY21" fmla="*/ 552663 h 576952"/>
                <a:gd name="connsiteX22" fmla="*/ 7069 w 564652"/>
                <a:gd name="connsiteY22" fmla="*/ 566133 h 576952"/>
                <a:gd name="connsiteX23" fmla="*/ -1069 w 564652"/>
                <a:gd name="connsiteY23" fmla="*/ 576702 h 576952"/>
                <a:gd name="connsiteX24" fmla="*/ -1069 w 564652"/>
                <a:gd name="connsiteY24" fmla="*/ 576702 h 576952"/>
                <a:gd name="connsiteX25" fmla="*/ 10016 w 564652"/>
                <a:gd name="connsiteY25" fmla="*/ 569126 h 576952"/>
                <a:gd name="connsiteX26" fmla="*/ 23205 w 564652"/>
                <a:gd name="connsiteY26" fmla="*/ 563139 h 576952"/>
                <a:gd name="connsiteX27" fmla="*/ 34102 w 564652"/>
                <a:gd name="connsiteY27" fmla="*/ 554440 h 576952"/>
                <a:gd name="connsiteX28" fmla="*/ 42333 w 564652"/>
                <a:gd name="connsiteY28" fmla="*/ 543449 h 576952"/>
                <a:gd name="connsiteX29" fmla="*/ 50378 w 564652"/>
                <a:gd name="connsiteY29" fmla="*/ 532318 h 576952"/>
                <a:gd name="connsiteX30" fmla="*/ 57347 w 564652"/>
                <a:gd name="connsiteY30" fmla="*/ 520485 h 576952"/>
                <a:gd name="connsiteX31" fmla="*/ 70068 w 564652"/>
                <a:gd name="connsiteY31" fmla="*/ 496352 h 576952"/>
                <a:gd name="connsiteX32" fmla="*/ 105473 w 564652"/>
                <a:gd name="connsiteY32" fmla="*/ 395236 h 576952"/>
                <a:gd name="connsiteX33" fmla="*/ 140831 w 564652"/>
                <a:gd name="connsiteY33" fmla="*/ 297674 h 576952"/>
                <a:gd name="connsiteX34" fmla="*/ 202707 w 564652"/>
                <a:gd name="connsiteY34" fmla="*/ 217931 h 576952"/>
                <a:gd name="connsiteX35" fmla="*/ 291570 w 564652"/>
                <a:gd name="connsiteY35" fmla="*/ 168636 h 576952"/>
                <a:gd name="connsiteX36" fmla="*/ 392031 w 564652"/>
                <a:gd name="connsiteY36" fmla="*/ 137113 h 576952"/>
                <a:gd name="connsiteX37" fmla="*/ 490248 w 564652"/>
                <a:gd name="connsiteY37" fmla="*/ 92260 h 576952"/>
                <a:gd name="connsiteX38" fmla="*/ 512090 w 564652"/>
                <a:gd name="connsiteY38" fmla="*/ 75704 h 576952"/>
                <a:gd name="connsiteX39" fmla="*/ 532247 w 564652"/>
                <a:gd name="connsiteY39" fmla="*/ 56996 h 576952"/>
                <a:gd name="connsiteX40" fmla="*/ 541601 w 564652"/>
                <a:gd name="connsiteY40" fmla="*/ 46613 h 576952"/>
                <a:gd name="connsiteX41" fmla="*/ 541601 w 564652"/>
                <a:gd name="connsiteY41" fmla="*/ 46613 h 576952"/>
                <a:gd name="connsiteX42" fmla="*/ 552405 w 564652"/>
                <a:gd name="connsiteY42" fmla="*/ 32582 h 576952"/>
                <a:gd name="connsiteX43" fmla="*/ 558766 w 564652"/>
                <a:gd name="connsiteY43" fmla="*/ 16306 h 576952"/>
                <a:gd name="connsiteX44" fmla="*/ 563116 w 564652"/>
                <a:gd name="connsiteY44" fmla="*/ -250 h 576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4652" h="576952">
                  <a:moveTo>
                    <a:pt x="563583" y="311"/>
                  </a:moveTo>
                  <a:cubicBezTo>
                    <a:pt x="560403" y="5021"/>
                    <a:pt x="555820" y="8627"/>
                    <a:pt x="550488" y="10647"/>
                  </a:cubicBezTo>
                  <a:cubicBezTo>
                    <a:pt x="545343" y="12747"/>
                    <a:pt x="540946" y="16348"/>
                    <a:pt x="537860" y="20983"/>
                  </a:cubicBezTo>
                  <a:lnTo>
                    <a:pt x="529722" y="31553"/>
                  </a:lnTo>
                  <a:lnTo>
                    <a:pt x="530049" y="31553"/>
                  </a:lnTo>
                  <a:cubicBezTo>
                    <a:pt x="526448" y="35809"/>
                    <a:pt x="522800" y="40019"/>
                    <a:pt x="518965" y="44134"/>
                  </a:cubicBezTo>
                  <a:cubicBezTo>
                    <a:pt x="513119" y="50214"/>
                    <a:pt x="506477" y="55546"/>
                    <a:pt x="500257" y="61346"/>
                  </a:cubicBezTo>
                  <a:cubicBezTo>
                    <a:pt x="494037" y="67145"/>
                    <a:pt x="486694" y="71495"/>
                    <a:pt x="480006" y="76639"/>
                  </a:cubicBezTo>
                  <a:cubicBezTo>
                    <a:pt x="451944" y="95955"/>
                    <a:pt x="419626" y="108490"/>
                    <a:pt x="386466" y="119060"/>
                  </a:cubicBezTo>
                  <a:cubicBezTo>
                    <a:pt x="353306" y="129630"/>
                    <a:pt x="318977" y="138422"/>
                    <a:pt x="285209" y="150629"/>
                  </a:cubicBezTo>
                  <a:cubicBezTo>
                    <a:pt x="276744" y="153529"/>
                    <a:pt x="268466" y="157317"/>
                    <a:pt x="260094" y="160591"/>
                  </a:cubicBezTo>
                  <a:cubicBezTo>
                    <a:pt x="251722" y="163865"/>
                    <a:pt x="243724" y="168449"/>
                    <a:pt x="235587" y="172424"/>
                  </a:cubicBezTo>
                  <a:cubicBezTo>
                    <a:pt x="227823" y="177101"/>
                    <a:pt x="219825" y="181778"/>
                    <a:pt x="212202" y="186455"/>
                  </a:cubicBezTo>
                  <a:cubicBezTo>
                    <a:pt x="204578" y="191132"/>
                    <a:pt x="197142" y="196885"/>
                    <a:pt x="190313" y="202965"/>
                  </a:cubicBezTo>
                  <a:cubicBezTo>
                    <a:pt x="162251" y="226579"/>
                    <a:pt x="139381" y="255791"/>
                    <a:pt x="123245" y="288741"/>
                  </a:cubicBezTo>
                  <a:cubicBezTo>
                    <a:pt x="106829" y="321199"/>
                    <a:pt x="96446" y="355762"/>
                    <a:pt x="86437" y="389530"/>
                  </a:cubicBezTo>
                  <a:cubicBezTo>
                    <a:pt x="76429" y="423297"/>
                    <a:pt x="66748" y="456785"/>
                    <a:pt x="51921" y="487746"/>
                  </a:cubicBezTo>
                  <a:cubicBezTo>
                    <a:pt x="48367" y="495487"/>
                    <a:pt x="44391" y="503012"/>
                    <a:pt x="39948" y="510289"/>
                  </a:cubicBezTo>
                  <a:lnTo>
                    <a:pt x="33401" y="521187"/>
                  </a:lnTo>
                  <a:lnTo>
                    <a:pt x="25964" y="531476"/>
                  </a:lnTo>
                  <a:cubicBezTo>
                    <a:pt x="23485" y="534890"/>
                    <a:pt x="21287" y="538398"/>
                    <a:pt x="18528" y="541719"/>
                  </a:cubicBezTo>
                  <a:cubicBezTo>
                    <a:pt x="15722" y="544988"/>
                    <a:pt x="13430" y="548683"/>
                    <a:pt x="11746" y="552663"/>
                  </a:cubicBezTo>
                  <a:cubicBezTo>
                    <a:pt x="10063" y="556872"/>
                    <a:pt x="9127" y="562017"/>
                    <a:pt x="7069" y="566133"/>
                  </a:cubicBezTo>
                  <a:cubicBezTo>
                    <a:pt x="4778" y="569963"/>
                    <a:pt x="2065" y="573513"/>
                    <a:pt x="-1069" y="576702"/>
                  </a:cubicBezTo>
                  <a:lnTo>
                    <a:pt x="-1069" y="576702"/>
                  </a:lnTo>
                  <a:cubicBezTo>
                    <a:pt x="2345" y="573770"/>
                    <a:pt x="6040" y="571230"/>
                    <a:pt x="10016" y="569126"/>
                  </a:cubicBezTo>
                  <a:cubicBezTo>
                    <a:pt x="14178" y="567021"/>
                    <a:pt x="18948" y="565384"/>
                    <a:pt x="23205" y="563139"/>
                  </a:cubicBezTo>
                  <a:cubicBezTo>
                    <a:pt x="27227" y="560791"/>
                    <a:pt x="30922" y="557859"/>
                    <a:pt x="34102" y="554440"/>
                  </a:cubicBezTo>
                  <a:cubicBezTo>
                    <a:pt x="36955" y="550839"/>
                    <a:pt x="39574" y="547097"/>
                    <a:pt x="42333" y="543449"/>
                  </a:cubicBezTo>
                  <a:cubicBezTo>
                    <a:pt x="45093" y="539801"/>
                    <a:pt x="47899" y="536106"/>
                    <a:pt x="50378" y="532318"/>
                  </a:cubicBezTo>
                  <a:lnTo>
                    <a:pt x="57347" y="520485"/>
                  </a:lnTo>
                  <a:cubicBezTo>
                    <a:pt x="62071" y="512712"/>
                    <a:pt x="66326" y="504654"/>
                    <a:pt x="70068" y="496352"/>
                  </a:cubicBezTo>
                  <a:cubicBezTo>
                    <a:pt x="85642" y="463613"/>
                    <a:pt x="95791" y="429003"/>
                    <a:pt x="105473" y="395236"/>
                  </a:cubicBezTo>
                  <a:cubicBezTo>
                    <a:pt x="115154" y="361468"/>
                    <a:pt x="125584" y="328261"/>
                    <a:pt x="140831" y="297674"/>
                  </a:cubicBezTo>
                  <a:cubicBezTo>
                    <a:pt x="155703" y="267081"/>
                    <a:pt x="176750" y="239922"/>
                    <a:pt x="202707" y="217931"/>
                  </a:cubicBezTo>
                  <a:cubicBezTo>
                    <a:pt x="229132" y="196314"/>
                    <a:pt x="259252" y="179617"/>
                    <a:pt x="291570" y="168636"/>
                  </a:cubicBezTo>
                  <a:cubicBezTo>
                    <a:pt x="324028" y="156569"/>
                    <a:pt x="358123" y="148010"/>
                    <a:pt x="392031" y="137113"/>
                  </a:cubicBezTo>
                  <a:cubicBezTo>
                    <a:pt x="425940" y="126215"/>
                    <a:pt x="459988" y="112933"/>
                    <a:pt x="490248" y="92260"/>
                  </a:cubicBezTo>
                  <a:cubicBezTo>
                    <a:pt x="497498" y="86695"/>
                    <a:pt x="505308" y="81831"/>
                    <a:pt x="512090" y="75704"/>
                  </a:cubicBezTo>
                  <a:cubicBezTo>
                    <a:pt x="518871" y="69577"/>
                    <a:pt x="526121" y="63684"/>
                    <a:pt x="532247" y="56996"/>
                  </a:cubicBezTo>
                  <a:cubicBezTo>
                    <a:pt x="535568" y="53675"/>
                    <a:pt x="538702" y="50168"/>
                    <a:pt x="541601" y="46613"/>
                  </a:cubicBezTo>
                  <a:lnTo>
                    <a:pt x="541601" y="46613"/>
                  </a:lnTo>
                  <a:cubicBezTo>
                    <a:pt x="545577" y="42240"/>
                    <a:pt x="549178" y="37549"/>
                    <a:pt x="552405" y="32582"/>
                  </a:cubicBezTo>
                  <a:cubicBezTo>
                    <a:pt x="556193" y="27971"/>
                    <a:pt x="558439" y="22269"/>
                    <a:pt x="558766" y="16306"/>
                  </a:cubicBezTo>
                  <a:cubicBezTo>
                    <a:pt x="558719" y="10502"/>
                    <a:pt x="560262" y="4792"/>
                    <a:pt x="563116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CE9E4B6B-064A-41A3-9DDE-75BEDCC8812B}"/>
                </a:ext>
              </a:extLst>
            </p:cNvPr>
            <p:cNvSpPr/>
            <p:nvPr/>
          </p:nvSpPr>
          <p:spPr>
            <a:xfrm>
              <a:off x="10647942" y="3596954"/>
              <a:ext cx="526574" cy="552351"/>
            </a:xfrm>
            <a:custGeom>
              <a:avLst/>
              <a:gdLst>
                <a:gd name="connsiteX0" fmla="*/ 524624 w 526574"/>
                <a:gd name="connsiteY0" fmla="*/ 16774 h 552351"/>
                <a:gd name="connsiteX1" fmla="*/ 523595 w 526574"/>
                <a:gd name="connsiteY1" fmla="*/ -250 h 552351"/>
                <a:gd name="connsiteX2" fmla="*/ 523595 w 526574"/>
                <a:gd name="connsiteY2" fmla="*/ -250 h 552351"/>
                <a:gd name="connsiteX3" fmla="*/ 514241 w 526574"/>
                <a:gd name="connsiteY3" fmla="*/ 13781 h 552351"/>
                <a:gd name="connsiteX4" fmla="*/ 506103 w 526574"/>
                <a:gd name="connsiteY4" fmla="*/ 25847 h 552351"/>
                <a:gd name="connsiteX5" fmla="*/ 506103 w 526574"/>
                <a:gd name="connsiteY5" fmla="*/ 25847 h 552351"/>
                <a:gd name="connsiteX6" fmla="*/ 505168 w 526574"/>
                <a:gd name="connsiteY6" fmla="*/ 28981 h 552351"/>
                <a:gd name="connsiteX7" fmla="*/ 501193 w 526574"/>
                <a:gd name="connsiteY7" fmla="*/ 40252 h 552351"/>
                <a:gd name="connsiteX8" fmla="*/ 496001 w 526574"/>
                <a:gd name="connsiteY8" fmla="*/ 54985 h 552351"/>
                <a:gd name="connsiteX9" fmla="*/ 475376 w 526574"/>
                <a:gd name="connsiteY9" fmla="*/ 99182 h 552351"/>
                <a:gd name="connsiteX10" fmla="*/ 412517 w 526574"/>
                <a:gd name="connsiteY10" fmla="*/ 171723 h 552351"/>
                <a:gd name="connsiteX11" fmla="*/ 326507 w 526574"/>
                <a:gd name="connsiteY11" fmla="*/ 216481 h 552351"/>
                <a:gd name="connsiteX12" fmla="*/ 230910 w 526574"/>
                <a:gd name="connsiteY12" fmla="*/ 246087 h 552351"/>
                <a:gd name="connsiteX13" fmla="*/ 137090 w 526574"/>
                <a:gd name="connsiteY13" fmla="*/ 287712 h 552351"/>
                <a:gd name="connsiteX14" fmla="*/ 62725 w 526574"/>
                <a:gd name="connsiteY14" fmla="*/ 359878 h 552351"/>
                <a:gd name="connsiteX15" fmla="*/ 19229 w 526574"/>
                <a:gd name="connsiteY15" fmla="*/ 453043 h 552351"/>
                <a:gd name="connsiteX16" fmla="*/ 4450 w 526574"/>
                <a:gd name="connsiteY16" fmla="*/ 501356 h 552351"/>
                <a:gd name="connsiteX17" fmla="*/ -227 w 526574"/>
                <a:gd name="connsiteY17" fmla="*/ 526098 h 552351"/>
                <a:gd name="connsiteX18" fmla="*/ 1083 w 526574"/>
                <a:gd name="connsiteY18" fmla="*/ 539614 h 552351"/>
                <a:gd name="connsiteX19" fmla="*/ -1069 w 526574"/>
                <a:gd name="connsiteY19" fmla="*/ 552102 h 552351"/>
                <a:gd name="connsiteX20" fmla="*/ -1069 w 526574"/>
                <a:gd name="connsiteY20" fmla="*/ 552102 h 552351"/>
                <a:gd name="connsiteX21" fmla="*/ 4684 w 526574"/>
                <a:gd name="connsiteY21" fmla="*/ 540737 h 552351"/>
                <a:gd name="connsiteX22" fmla="*/ 13477 w 526574"/>
                <a:gd name="connsiteY22" fmla="*/ 530307 h 552351"/>
                <a:gd name="connsiteX23" fmla="*/ 23392 w 526574"/>
                <a:gd name="connsiteY23" fmla="*/ 506922 h 552351"/>
                <a:gd name="connsiteX24" fmla="*/ 37844 w 526574"/>
                <a:gd name="connsiteY24" fmla="*/ 459170 h 552351"/>
                <a:gd name="connsiteX25" fmla="*/ 78767 w 526574"/>
                <a:gd name="connsiteY25" fmla="*/ 370822 h 552351"/>
                <a:gd name="connsiteX26" fmla="*/ 147332 w 526574"/>
                <a:gd name="connsiteY26" fmla="*/ 303894 h 552351"/>
                <a:gd name="connsiteX27" fmla="*/ 236522 w 526574"/>
                <a:gd name="connsiteY27" fmla="*/ 264280 h 552351"/>
                <a:gd name="connsiteX28" fmla="*/ 332681 w 526574"/>
                <a:gd name="connsiteY28" fmla="*/ 234301 h 552351"/>
                <a:gd name="connsiteX29" fmla="*/ 423882 w 526574"/>
                <a:gd name="connsiteY29" fmla="*/ 186642 h 552351"/>
                <a:gd name="connsiteX30" fmla="*/ 461765 w 526574"/>
                <a:gd name="connsiteY30" fmla="*/ 150957 h 552351"/>
                <a:gd name="connsiteX31" fmla="*/ 491605 w 526574"/>
                <a:gd name="connsiteY31" fmla="*/ 108443 h 552351"/>
                <a:gd name="connsiteX32" fmla="*/ 513446 w 526574"/>
                <a:gd name="connsiteY32" fmla="*/ 61673 h 552351"/>
                <a:gd name="connsiteX33" fmla="*/ 517515 w 526574"/>
                <a:gd name="connsiteY33" fmla="*/ 51010 h 552351"/>
                <a:gd name="connsiteX34" fmla="*/ 523455 w 526574"/>
                <a:gd name="connsiteY34" fmla="*/ 34453 h 552351"/>
                <a:gd name="connsiteX35" fmla="*/ 524624 w 526574"/>
                <a:gd name="connsiteY35" fmla="*/ 16774 h 552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26574" h="552351">
                  <a:moveTo>
                    <a:pt x="524624" y="16774"/>
                  </a:moveTo>
                  <a:cubicBezTo>
                    <a:pt x="522800" y="11288"/>
                    <a:pt x="522426" y="5418"/>
                    <a:pt x="523595" y="-250"/>
                  </a:cubicBezTo>
                  <a:lnTo>
                    <a:pt x="523595" y="-250"/>
                  </a:lnTo>
                  <a:cubicBezTo>
                    <a:pt x="522005" y="5287"/>
                    <a:pt x="518731" y="10198"/>
                    <a:pt x="514241" y="13781"/>
                  </a:cubicBezTo>
                  <a:cubicBezTo>
                    <a:pt x="510453" y="16947"/>
                    <a:pt x="507600" y="21133"/>
                    <a:pt x="506103" y="25847"/>
                  </a:cubicBezTo>
                  <a:lnTo>
                    <a:pt x="506103" y="25847"/>
                  </a:lnTo>
                  <a:cubicBezTo>
                    <a:pt x="505823" y="26876"/>
                    <a:pt x="505495" y="27905"/>
                    <a:pt x="505168" y="28981"/>
                  </a:cubicBezTo>
                  <a:lnTo>
                    <a:pt x="501193" y="40252"/>
                  </a:lnTo>
                  <a:cubicBezTo>
                    <a:pt x="501193" y="40252"/>
                    <a:pt x="497825" y="50121"/>
                    <a:pt x="496001" y="54985"/>
                  </a:cubicBezTo>
                  <a:cubicBezTo>
                    <a:pt x="490248" y="70209"/>
                    <a:pt x="483326" y="84983"/>
                    <a:pt x="475376" y="99182"/>
                  </a:cubicBezTo>
                  <a:cubicBezTo>
                    <a:pt x="459567" y="127366"/>
                    <a:pt x="438147" y="152042"/>
                    <a:pt x="412517" y="171723"/>
                  </a:cubicBezTo>
                  <a:cubicBezTo>
                    <a:pt x="386419" y="191146"/>
                    <a:pt x="357375" y="206257"/>
                    <a:pt x="326507" y="216481"/>
                  </a:cubicBezTo>
                  <a:cubicBezTo>
                    <a:pt x="295499" y="227472"/>
                    <a:pt x="263134" y="235844"/>
                    <a:pt x="230910" y="246087"/>
                  </a:cubicBezTo>
                  <a:cubicBezTo>
                    <a:pt x="197937" y="255749"/>
                    <a:pt x="166367" y="269747"/>
                    <a:pt x="137090" y="287712"/>
                  </a:cubicBezTo>
                  <a:cubicBezTo>
                    <a:pt x="107718" y="306541"/>
                    <a:pt x="82415" y="331081"/>
                    <a:pt x="62725" y="359878"/>
                  </a:cubicBezTo>
                  <a:cubicBezTo>
                    <a:pt x="43877" y="388711"/>
                    <a:pt x="29238" y="420084"/>
                    <a:pt x="19229" y="453043"/>
                  </a:cubicBezTo>
                  <a:cubicBezTo>
                    <a:pt x="13944" y="469193"/>
                    <a:pt x="9034" y="485300"/>
                    <a:pt x="4450" y="501356"/>
                  </a:cubicBezTo>
                  <a:cubicBezTo>
                    <a:pt x="1410" y="509251"/>
                    <a:pt x="-180" y="517637"/>
                    <a:pt x="-227" y="526098"/>
                  </a:cubicBezTo>
                  <a:cubicBezTo>
                    <a:pt x="474" y="530573"/>
                    <a:pt x="895" y="535087"/>
                    <a:pt x="1083" y="539614"/>
                  </a:cubicBezTo>
                  <a:cubicBezTo>
                    <a:pt x="802" y="543842"/>
                    <a:pt x="101" y="548023"/>
                    <a:pt x="-1069" y="552102"/>
                  </a:cubicBezTo>
                  <a:lnTo>
                    <a:pt x="-1069" y="552102"/>
                  </a:lnTo>
                  <a:cubicBezTo>
                    <a:pt x="474" y="548126"/>
                    <a:pt x="2392" y="544314"/>
                    <a:pt x="4684" y="540737"/>
                  </a:cubicBezTo>
                  <a:cubicBezTo>
                    <a:pt x="7116" y="537135"/>
                    <a:pt x="10577" y="533815"/>
                    <a:pt x="13477" y="530307"/>
                  </a:cubicBezTo>
                  <a:cubicBezTo>
                    <a:pt x="18247" y="523217"/>
                    <a:pt x="21615" y="515280"/>
                    <a:pt x="23392" y="506922"/>
                  </a:cubicBezTo>
                  <a:cubicBezTo>
                    <a:pt x="28069" y="490880"/>
                    <a:pt x="32746" y="474838"/>
                    <a:pt x="37844" y="459170"/>
                  </a:cubicBezTo>
                  <a:cubicBezTo>
                    <a:pt x="47291" y="427951"/>
                    <a:pt x="61042" y="398210"/>
                    <a:pt x="78767" y="370822"/>
                  </a:cubicBezTo>
                  <a:cubicBezTo>
                    <a:pt x="96867" y="344126"/>
                    <a:pt x="120205" y="321363"/>
                    <a:pt x="147332" y="303894"/>
                  </a:cubicBezTo>
                  <a:cubicBezTo>
                    <a:pt x="175207" y="286870"/>
                    <a:pt x="205186" y="273554"/>
                    <a:pt x="236522" y="264280"/>
                  </a:cubicBezTo>
                  <a:cubicBezTo>
                    <a:pt x="267998" y="254131"/>
                    <a:pt x="300597" y="245853"/>
                    <a:pt x="332681" y="234301"/>
                  </a:cubicBezTo>
                  <a:cubicBezTo>
                    <a:pt x="365420" y="223328"/>
                    <a:pt x="396194" y="207244"/>
                    <a:pt x="423882" y="186642"/>
                  </a:cubicBezTo>
                  <a:cubicBezTo>
                    <a:pt x="437632" y="175979"/>
                    <a:pt x="450307" y="164029"/>
                    <a:pt x="461765" y="150957"/>
                  </a:cubicBezTo>
                  <a:cubicBezTo>
                    <a:pt x="473131" y="137819"/>
                    <a:pt x="483093" y="123578"/>
                    <a:pt x="491605" y="108443"/>
                  </a:cubicBezTo>
                  <a:cubicBezTo>
                    <a:pt x="500023" y="93411"/>
                    <a:pt x="507319" y="77781"/>
                    <a:pt x="513446" y="61673"/>
                  </a:cubicBezTo>
                  <a:cubicBezTo>
                    <a:pt x="514849" y="58165"/>
                    <a:pt x="517515" y="51010"/>
                    <a:pt x="517515" y="51010"/>
                  </a:cubicBezTo>
                  <a:cubicBezTo>
                    <a:pt x="519947" y="45669"/>
                    <a:pt x="521958" y="40131"/>
                    <a:pt x="523455" y="34453"/>
                  </a:cubicBezTo>
                  <a:cubicBezTo>
                    <a:pt x="525700" y="28831"/>
                    <a:pt x="526121" y="22644"/>
                    <a:pt x="524624" y="16774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2">
            <a:extLst>
              <a:ext uri="{FF2B5EF4-FFF2-40B4-BE49-F238E27FC236}">
                <a16:creationId xmlns:a16="http://schemas.microsoft.com/office/drawing/2014/main" id="{92F9063E-4707-4794-9D0E-7ED9D26C06F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17268" y="595215"/>
            <a:ext cx="5198638" cy="5550254"/>
          </a:xfrm>
        </p:spPr>
        <p:txBody>
          <a:bodyPr/>
          <a:lstStyle>
            <a:lvl1pPr marL="342900" marR="0" indent="-342900" algn="l" defTabSz="941900" rtl="0" eaLnBrk="0" fontAlgn="base" latinLnBrk="0" hangingPunct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lang="en-US" sz="213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5" name="Rectangle 25">
            <a:extLst>
              <a:ext uri="{FF2B5EF4-FFF2-40B4-BE49-F238E27FC236}">
                <a16:creationId xmlns:a16="http://schemas.microsoft.com/office/drawing/2014/main" id="{1E26F92D-334E-495F-8B23-5F7AF7CC14C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029368" y="1919257"/>
            <a:ext cx="4195188" cy="3177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44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BEFAA3BA-0EA5-4436-B8CA-2302D0849288}"/>
              </a:ext>
            </a:extLst>
          </p:cNvPr>
          <p:cNvGrpSpPr/>
          <p:nvPr/>
        </p:nvGrpSpPr>
        <p:grpSpPr>
          <a:xfrm>
            <a:off x="11217203" y="6437490"/>
            <a:ext cx="549385" cy="213656"/>
            <a:chOff x="17092245" y="9730154"/>
            <a:chExt cx="833634" cy="356946"/>
          </a:xfrm>
        </p:grpSpPr>
        <p:sp>
          <p:nvSpPr>
            <p:cNvPr id="63" name="Freeform 8">
              <a:extLst>
                <a:ext uri="{FF2B5EF4-FFF2-40B4-BE49-F238E27FC236}">
                  <a16:creationId xmlns:a16="http://schemas.microsoft.com/office/drawing/2014/main" id="{C34307B6-D4CB-4715-BBD3-1DFEEEF375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4" name="Freeform 9">
              <a:extLst>
                <a:ext uri="{FF2B5EF4-FFF2-40B4-BE49-F238E27FC236}">
                  <a16:creationId xmlns:a16="http://schemas.microsoft.com/office/drawing/2014/main" id="{87B912DF-E7E1-42D0-87F2-244F71A441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5" name="Rectangle 10">
              <a:extLst>
                <a:ext uri="{FF2B5EF4-FFF2-40B4-BE49-F238E27FC236}">
                  <a16:creationId xmlns:a16="http://schemas.microsoft.com/office/drawing/2014/main" id="{B4E21140-18ED-45A0-8C03-550BAE99A7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6" name="Freeform 11">
              <a:extLst>
                <a:ext uri="{FF2B5EF4-FFF2-40B4-BE49-F238E27FC236}">
                  <a16:creationId xmlns:a16="http://schemas.microsoft.com/office/drawing/2014/main" id="{D8C00BC4-55D7-403A-AEE3-45112DE35E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7" name="Rectangle 12">
              <a:extLst>
                <a:ext uri="{FF2B5EF4-FFF2-40B4-BE49-F238E27FC236}">
                  <a16:creationId xmlns:a16="http://schemas.microsoft.com/office/drawing/2014/main" id="{49587CAC-F489-460A-A3BA-EA93575A34A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8" name="Rectangle 13">
              <a:extLst>
                <a:ext uri="{FF2B5EF4-FFF2-40B4-BE49-F238E27FC236}">
                  <a16:creationId xmlns:a16="http://schemas.microsoft.com/office/drawing/2014/main" id="{0C93F0BD-F7A4-435A-BF72-23B32A5DC49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9" name="Rectangle 14">
              <a:extLst>
                <a:ext uri="{FF2B5EF4-FFF2-40B4-BE49-F238E27FC236}">
                  <a16:creationId xmlns:a16="http://schemas.microsoft.com/office/drawing/2014/main" id="{4A02A443-F935-4A5E-9B31-E0D1007D620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3064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D527877-68C1-4DA3-B6B9-A49AEE5D2C35}"/>
              </a:ext>
            </a:extLst>
          </p:cNvPr>
          <p:cNvSpPr/>
          <p:nvPr/>
        </p:nvSpPr>
        <p:spPr>
          <a:xfrm>
            <a:off x="7116024" y="0"/>
            <a:ext cx="5075976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0889867-F0B9-49AE-9FBF-596364B1E227}"/>
              </a:ext>
            </a:extLst>
          </p:cNvPr>
          <p:cNvSpPr/>
          <p:nvPr/>
        </p:nvSpPr>
        <p:spPr>
          <a:xfrm>
            <a:off x="6689505" y="1"/>
            <a:ext cx="451736" cy="3558012"/>
          </a:xfrm>
          <a:prstGeom prst="rect">
            <a:avLst/>
          </a:prstGeom>
          <a:gradFill>
            <a:gsLst>
              <a:gs pos="0">
                <a:schemeClr val="accent3"/>
              </a:gs>
              <a:gs pos="93805">
                <a:schemeClr val="accent1"/>
              </a:gs>
              <a:gs pos="49000">
                <a:schemeClr val="accent2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BAD24AA-374D-4BDA-9F51-2A7F6BB78486}"/>
              </a:ext>
            </a:extLst>
          </p:cNvPr>
          <p:cNvSpPr/>
          <p:nvPr/>
        </p:nvSpPr>
        <p:spPr>
          <a:xfrm>
            <a:off x="6689498" y="3539905"/>
            <a:ext cx="451736" cy="3318095"/>
          </a:xfrm>
          <a:prstGeom prst="rect">
            <a:avLst/>
          </a:prstGeom>
          <a:solidFill>
            <a:schemeClr val="accent4"/>
          </a:solidFill>
          <a:ln w="1486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00451" y="6394658"/>
            <a:ext cx="857032" cy="365125"/>
          </a:xfr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1196651-BC66-446C-AED3-8BCCC153CBB6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AA1DB9B3-2186-4DFE-9DFB-EEB5D9776B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F052EEAF-F828-4276-BDE3-EC16EAEB59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12694FAC-CBE6-457C-8458-D614D68728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A4983321-6360-455B-B9E7-728EFF560C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6" name="Rectangle 12">
              <a:extLst>
                <a:ext uri="{FF2B5EF4-FFF2-40B4-BE49-F238E27FC236}">
                  <a16:creationId xmlns:a16="http://schemas.microsoft.com/office/drawing/2014/main" id="{888BDF00-ED5B-4E00-9422-C4696422010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7" name="Rectangle 13">
              <a:extLst>
                <a:ext uri="{FF2B5EF4-FFF2-40B4-BE49-F238E27FC236}">
                  <a16:creationId xmlns:a16="http://schemas.microsoft.com/office/drawing/2014/main" id="{24FF870B-6323-4E50-B943-E44905E9FB2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8" name="Rectangle 14">
              <a:extLst>
                <a:ext uri="{FF2B5EF4-FFF2-40B4-BE49-F238E27FC236}">
                  <a16:creationId xmlns:a16="http://schemas.microsoft.com/office/drawing/2014/main" id="{C86AA52C-B69B-4644-A9A2-32A008C292C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B467462-6235-43C2-BD2F-FB20D6DC9D10}"/>
              </a:ext>
            </a:extLst>
          </p:cNvPr>
          <p:cNvGrpSpPr/>
          <p:nvPr/>
        </p:nvGrpSpPr>
        <p:grpSpPr>
          <a:xfrm>
            <a:off x="11217203" y="6437490"/>
            <a:ext cx="549385" cy="213656"/>
            <a:chOff x="17092245" y="9730154"/>
            <a:chExt cx="833634" cy="356946"/>
          </a:xfrm>
        </p:grpSpPr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id="{09E3127D-A4E6-49BF-A0CB-FCB226196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9D5B0A7B-4382-46F0-B66E-1314B5DB61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2" name="Rectangle 10">
              <a:extLst>
                <a:ext uri="{FF2B5EF4-FFF2-40B4-BE49-F238E27FC236}">
                  <a16:creationId xmlns:a16="http://schemas.microsoft.com/office/drawing/2014/main" id="{74E79E91-2D38-497A-82BD-D6F94BFFACE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BE257014-7354-4207-9716-24DA20B6D6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4" name="Rectangle 12">
              <a:extLst>
                <a:ext uri="{FF2B5EF4-FFF2-40B4-BE49-F238E27FC236}">
                  <a16:creationId xmlns:a16="http://schemas.microsoft.com/office/drawing/2014/main" id="{7DFB285E-AA7F-4448-B778-82B2E8FEB9F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5" name="Rectangle 13">
              <a:extLst>
                <a:ext uri="{FF2B5EF4-FFF2-40B4-BE49-F238E27FC236}">
                  <a16:creationId xmlns:a16="http://schemas.microsoft.com/office/drawing/2014/main" id="{0DC60978-90B0-4628-966B-EBDEE23E0BD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6" name="Rectangle 14">
              <a:extLst>
                <a:ext uri="{FF2B5EF4-FFF2-40B4-BE49-F238E27FC236}">
                  <a16:creationId xmlns:a16="http://schemas.microsoft.com/office/drawing/2014/main" id="{8B9EEC1C-2BA0-4D80-BC1D-BD4B152EBBE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FB9DA8AE-93B0-4E39-ABC8-86C57B021919}"/>
              </a:ext>
            </a:extLst>
          </p:cNvPr>
          <p:cNvSpPr/>
          <p:nvPr/>
        </p:nvSpPr>
        <p:spPr>
          <a:xfrm>
            <a:off x="1" y="0"/>
            <a:ext cx="108284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aa-ET"/>
          </a:p>
        </p:txBody>
      </p:sp>
      <p:sp>
        <p:nvSpPr>
          <p:cNvPr id="71" name="Title 9">
            <a:extLst>
              <a:ext uri="{FF2B5EF4-FFF2-40B4-BE49-F238E27FC236}">
                <a16:creationId xmlns:a16="http://schemas.microsoft.com/office/drawing/2014/main" id="{A1DDE33F-BC80-4C41-AFF1-5F20932324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0478" y="516046"/>
            <a:ext cx="3802641" cy="2797521"/>
          </a:xfrm>
        </p:spPr>
        <p:txBody>
          <a:bodyPr/>
          <a:lstStyle>
            <a:lvl1pPr>
              <a:defRPr lang="aa-ET" sz="36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lvl="0" indent="0" algn="l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</a:pPr>
            <a:r>
              <a:rPr lang="en-US"/>
              <a:t>Click to edit Master title style</a:t>
            </a:r>
            <a:endParaRPr lang="aa-ET"/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4A4DEE69-655D-4E3F-B03F-0D5999F257D6}"/>
              </a:ext>
            </a:extLst>
          </p:cNvPr>
          <p:cNvGrpSpPr/>
          <p:nvPr/>
        </p:nvGrpSpPr>
        <p:grpSpPr>
          <a:xfrm>
            <a:off x="7730159" y="3473856"/>
            <a:ext cx="3448526" cy="2903050"/>
            <a:chOff x="7730159" y="3473856"/>
            <a:chExt cx="3448526" cy="2903050"/>
          </a:xfrm>
          <a:gradFill flip="none" rotWithShape="1">
            <a:gsLst>
              <a:gs pos="27000">
                <a:schemeClr val="accent4"/>
              </a:gs>
              <a:gs pos="99000">
                <a:schemeClr val="accent5"/>
              </a:gs>
            </a:gsLst>
            <a:lin ang="5400000" scaled="1"/>
            <a:tileRect/>
          </a:gra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C09C496B-9A23-494D-B7EE-0734DFEFF4FF}"/>
                </a:ext>
              </a:extLst>
            </p:cNvPr>
            <p:cNvSpPr/>
            <p:nvPr/>
          </p:nvSpPr>
          <p:spPr>
            <a:xfrm>
              <a:off x="8136214" y="3523525"/>
              <a:ext cx="588645" cy="588645"/>
            </a:xfrm>
            <a:custGeom>
              <a:avLst/>
              <a:gdLst>
                <a:gd name="connsiteX0" fmla="*/ 0 w 588645"/>
                <a:gd name="connsiteY0" fmla="*/ 0 h 588645"/>
                <a:gd name="connsiteX1" fmla="*/ 588645 w 588645"/>
                <a:gd name="connsiteY1" fmla="*/ 0 h 588645"/>
                <a:gd name="connsiteX2" fmla="*/ 588645 w 588645"/>
                <a:gd name="connsiteY2" fmla="*/ 588645 h 588645"/>
                <a:gd name="connsiteX3" fmla="*/ 0 w 588645"/>
                <a:gd name="connsiteY3" fmla="*/ 588645 h 588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8645" h="588645">
                  <a:moveTo>
                    <a:pt x="0" y="0"/>
                  </a:moveTo>
                  <a:lnTo>
                    <a:pt x="588645" y="0"/>
                  </a:lnTo>
                  <a:lnTo>
                    <a:pt x="588645" y="588645"/>
                  </a:lnTo>
                  <a:lnTo>
                    <a:pt x="0" y="588645"/>
                  </a:ln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6B17F23C-FA6B-407C-BE06-3F67C321196F}"/>
                </a:ext>
              </a:extLst>
            </p:cNvPr>
            <p:cNvSpPr/>
            <p:nvPr/>
          </p:nvSpPr>
          <p:spPr>
            <a:xfrm>
              <a:off x="9208834" y="3523525"/>
              <a:ext cx="588645" cy="588645"/>
            </a:xfrm>
            <a:custGeom>
              <a:avLst/>
              <a:gdLst>
                <a:gd name="connsiteX0" fmla="*/ 0 w 588645"/>
                <a:gd name="connsiteY0" fmla="*/ 0 h 588645"/>
                <a:gd name="connsiteX1" fmla="*/ 588645 w 588645"/>
                <a:gd name="connsiteY1" fmla="*/ 0 h 588645"/>
                <a:gd name="connsiteX2" fmla="*/ 588645 w 588645"/>
                <a:gd name="connsiteY2" fmla="*/ 588645 h 588645"/>
                <a:gd name="connsiteX3" fmla="*/ 0 w 588645"/>
                <a:gd name="connsiteY3" fmla="*/ 588645 h 588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8645" h="588645">
                  <a:moveTo>
                    <a:pt x="0" y="0"/>
                  </a:moveTo>
                  <a:lnTo>
                    <a:pt x="588645" y="0"/>
                  </a:lnTo>
                  <a:lnTo>
                    <a:pt x="588645" y="588645"/>
                  </a:lnTo>
                  <a:lnTo>
                    <a:pt x="0" y="588645"/>
                  </a:ln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1B1E7E6-B647-4216-964F-C1CDFE2DE032}"/>
                </a:ext>
              </a:extLst>
            </p:cNvPr>
            <p:cNvSpPr/>
            <p:nvPr/>
          </p:nvSpPr>
          <p:spPr>
            <a:xfrm>
              <a:off x="10777214" y="5043124"/>
              <a:ext cx="146342" cy="255035"/>
            </a:xfrm>
            <a:custGeom>
              <a:avLst/>
              <a:gdLst>
                <a:gd name="connsiteX0" fmla="*/ -1069 w 146342"/>
                <a:gd name="connsiteY0" fmla="*/ 254786 h 255035"/>
                <a:gd name="connsiteX1" fmla="*/ 194 w 146342"/>
                <a:gd name="connsiteY1" fmla="*/ 215546 h 255035"/>
                <a:gd name="connsiteX2" fmla="*/ 10764 w 146342"/>
                <a:gd name="connsiteY2" fmla="*/ 179206 h 255035"/>
                <a:gd name="connsiteX3" fmla="*/ 37470 w 146342"/>
                <a:gd name="connsiteY3" fmla="*/ 106993 h 255035"/>
                <a:gd name="connsiteX4" fmla="*/ 79890 w 146342"/>
                <a:gd name="connsiteY4" fmla="*/ 41188 h 255035"/>
                <a:gd name="connsiteX5" fmla="*/ 93359 w 146342"/>
                <a:gd name="connsiteY5" fmla="*/ 26829 h 255035"/>
                <a:gd name="connsiteX6" fmla="*/ 108139 w 146342"/>
                <a:gd name="connsiteY6" fmla="*/ 13781 h 255035"/>
                <a:gd name="connsiteX7" fmla="*/ 126847 w 146342"/>
                <a:gd name="connsiteY7" fmla="*/ 6438 h 255035"/>
                <a:gd name="connsiteX8" fmla="*/ 145274 w 146342"/>
                <a:gd name="connsiteY8" fmla="*/ -250 h 255035"/>
                <a:gd name="connsiteX9" fmla="*/ 145274 w 146342"/>
                <a:gd name="connsiteY9" fmla="*/ -250 h 255035"/>
                <a:gd name="connsiteX10" fmla="*/ 132319 w 146342"/>
                <a:gd name="connsiteY10" fmla="*/ 14015 h 255035"/>
                <a:gd name="connsiteX11" fmla="*/ 121468 w 146342"/>
                <a:gd name="connsiteY11" fmla="*/ 29870 h 255035"/>
                <a:gd name="connsiteX12" fmla="*/ 95885 w 146342"/>
                <a:gd name="connsiteY12" fmla="*/ 55359 h 255035"/>
                <a:gd name="connsiteX13" fmla="*/ 57019 w 146342"/>
                <a:gd name="connsiteY13" fmla="*/ 116160 h 255035"/>
                <a:gd name="connsiteX14" fmla="*/ 31577 w 146342"/>
                <a:gd name="connsiteY14" fmla="*/ 185473 h 255035"/>
                <a:gd name="connsiteX15" fmla="*/ 20726 w 146342"/>
                <a:gd name="connsiteY15" fmla="*/ 221579 h 255035"/>
                <a:gd name="connsiteX16" fmla="*/ -929 w 146342"/>
                <a:gd name="connsiteY16" fmla="*/ 254318 h 25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6342" h="255035">
                  <a:moveTo>
                    <a:pt x="-1069" y="254786"/>
                  </a:moveTo>
                  <a:cubicBezTo>
                    <a:pt x="4684" y="241877"/>
                    <a:pt x="-3922" y="227332"/>
                    <a:pt x="194" y="215546"/>
                  </a:cubicBezTo>
                  <a:cubicBezTo>
                    <a:pt x="3421" y="203432"/>
                    <a:pt x="7022" y="191319"/>
                    <a:pt x="10764" y="179206"/>
                  </a:cubicBezTo>
                  <a:cubicBezTo>
                    <a:pt x="17920" y="154525"/>
                    <a:pt x="26853" y="130396"/>
                    <a:pt x="37470" y="106993"/>
                  </a:cubicBezTo>
                  <a:cubicBezTo>
                    <a:pt x="48554" y="83220"/>
                    <a:pt x="62818" y="61079"/>
                    <a:pt x="79890" y="41188"/>
                  </a:cubicBezTo>
                  <a:cubicBezTo>
                    <a:pt x="84567" y="36511"/>
                    <a:pt x="88682" y="31413"/>
                    <a:pt x="93359" y="26829"/>
                  </a:cubicBezTo>
                  <a:cubicBezTo>
                    <a:pt x="98036" y="22246"/>
                    <a:pt x="102947" y="17850"/>
                    <a:pt x="108139" y="13781"/>
                  </a:cubicBezTo>
                  <a:cubicBezTo>
                    <a:pt x="113611" y="9744"/>
                    <a:pt x="120065" y="7214"/>
                    <a:pt x="126847" y="6438"/>
                  </a:cubicBezTo>
                  <a:cubicBezTo>
                    <a:pt x="133348" y="5353"/>
                    <a:pt x="139568" y="3085"/>
                    <a:pt x="145274" y="-250"/>
                  </a:cubicBezTo>
                  <a:lnTo>
                    <a:pt x="145274" y="-250"/>
                  </a:lnTo>
                  <a:cubicBezTo>
                    <a:pt x="139802" y="3309"/>
                    <a:pt x="135359" y="8225"/>
                    <a:pt x="132319" y="14015"/>
                  </a:cubicBezTo>
                  <a:cubicBezTo>
                    <a:pt x="129746" y="19936"/>
                    <a:pt x="126051" y="25314"/>
                    <a:pt x="121468" y="29870"/>
                  </a:cubicBezTo>
                  <a:cubicBezTo>
                    <a:pt x="112488" y="37881"/>
                    <a:pt x="103929" y="46389"/>
                    <a:pt x="95885" y="55359"/>
                  </a:cubicBezTo>
                  <a:cubicBezTo>
                    <a:pt x="80217" y="73772"/>
                    <a:pt x="67168" y="94225"/>
                    <a:pt x="57019" y="116160"/>
                  </a:cubicBezTo>
                  <a:cubicBezTo>
                    <a:pt x="46917" y="138637"/>
                    <a:pt x="38405" y="161798"/>
                    <a:pt x="31577" y="185473"/>
                  </a:cubicBezTo>
                  <a:cubicBezTo>
                    <a:pt x="28022" y="197446"/>
                    <a:pt x="24655" y="209512"/>
                    <a:pt x="20726" y="221579"/>
                  </a:cubicBezTo>
                  <a:cubicBezTo>
                    <a:pt x="17779" y="233926"/>
                    <a:pt x="2673" y="243748"/>
                    <a:pt x="-929" y="254318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26EF05E-F45E-446C-BA76-5CB76B9CC44F}"/>
                </a:ext>
              </a:extLst>
            </p:cNvPr>
            <p:cNvSpPr/>
            <p:nvPr/>
          </p:nvSpPr>
          <p:spPr>
            <a:xfrm>
              <a:off x="9862910" y="6022974"/>
              <a:ext cx="143817" cy="71114"/>
            </a:xfrm>
            <a:custGeom>
              <a:avLst/>
              <a:gdLst>
                <a:gd name="connsiteX0" fmla="*/ -1069 w 143817"/>
                <a:gd name="connsiteY0" fmla="*/ 70864 h 71114"/>
                <a:gd name="connsiteX1" fmla="*/ 10951 w 143817"/>
                <a:gd name="connsiteY1" fmla="*/ 53513 h 71114"/>
                <a:gd name="connsiteX2" fmla="*/ 24982 w 143817"/>
                <a:gd name="connsiteY2" fmla="*/ 36769 h 71114"/>
                <a:gd name="connsiteX3" fmla="*/ 45888 w 143817"/>
                <a:gd name="connsiteY3" fmla="*/ 31250 h 71114"/>
                <a:gd name="connsiteX4" fmla="*/ 64315 w 143817"/>
                <a:gd name="connsiteY4" fmla="*/ 22224 h 71114"/>
                <a:gd name="connsiteX5" fmla="*/ 100234 w 143817"/>
                <a:gd name="connsiteY5" fmla="*/ 1271 h 71114"/>
                <a:gd name="connsiteX6" fmla="*/ 142749 w 143817"/>
                <a:gd name="connsiteY6" fmla="*/ 897 h 71114"/>
                <a:gd name="connsiteX7" fmla="*/ 142749 w 143817"/>
                <a:gd name="connsiteY7" fmla="*/ 897 h 71114"/>
                <a:gd name="connsiteX8" fmla="*/ 108513 w 143817"/>
                <a:gd name="connsiteY8" fmla="*/ 24983 h 71114"/>
                <a:gd name="connsiteX9" fmla="*/ 69647 w 143817"/>
                <a:gd name="connsiteY9" fmla="*/ 33823 h 71114"/>
                <a:gd name="connsiteX10" fmla="*/ 52062 w 143817"/>
                <a:gd name="connsiteY10" fmla="*/ 42709 h 71114"/>
                <a:gd name="connsiteX11" fmla="*/ 38031 w 143817"/>
                <a:gd name="connsiteY11" fmla="*/ 57535 h 71114"/>
                <a:gd name="connsiteX12" fmla="*/ 18715 w 143817"/>
                <a:gd name="connsiteY12" fmla="*/ 63709 h 71114"/>
                <a:gd name="connsiteX13" fmla="*/ -1022 w 143817"/>
                <a:gd name="connsiteY13" fmla="*/ 70818 h 71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3817" h="71114">
                  <a:moveTo>
                    <a:pt x="-1069" y="70864"/>
                  </a:moveTo>
                  <a:cubicBezTo>
                    <a:pt x="4309" y="66164"/>
                    <a:pt x="8425" y="60201"/>
                    <a:pt x="10951" y="53513"/>
                  </a:cubicBezTo>
                  <a:cubicBezTo>
                    <a:pt x="13570" y="46488"/>
                    <a:pt x="18528" y="40581"/>
                    <a:pt x="24982" y="36769"/>
                  </a:cubicBezTo>
                  <a:cubicBezTo>
                    <a:pt x="31202" y="32766"/>
                    <a:pt x="38498" y="30834"/>
                    <a:pt x="45888" y="31250"/>
                  </a:cubicBezTo>
                  <a:cubicBezTo>
                    <a:pt x="53278" y="32177"/>
                    <a:pt x="60527" y="28631"/>
                    <a:pt x="64315" y="22224"/>
                  </a:cubicBezTo>
                  <a:cubicBezTo>
                    <a:pt x="73249" y="8474"/>
                    <a:pt x="87700" y="6369"/>
                    <a:pt x="100234" y="1271"/>
                  </a:cubicBezTo>
                  <a:cubicBezTo>
                    <a:pt x="112769" y="-3827"/>
                    <a:pt x="130354" y="5948"/>
                    <a:pt x="142749" y="897"/>
                  </a:cubicBezTo>
                  <a:lnTo>
                    <a:pt x="142749" y="897"/>
                  </a:lnTo>
                  <a:cubicBezTo>
                    <a:pt x="129419" y="3469"/>
                    <a:pt x="121141" y="21756"/>
                    <a:pt x="108513" y="24983"/>
                  </a:cubicBezTo>
                  <a:cubicBezTo>
                    <a:pt x="95885" y="28210"/>
                    <a:pt x="85128" y="36349"/>
                    <a:pt x="69647" y="33823"/>
                  </a:cubicBezTo>
                  <a:cubicBezTo>
                    <a:pt x="62445" y="32462"/>
                    <a:pt x="55242" y="36110"/>
                    <a:pt x="52062" y="42709"/>
                  </a:cubicBezTo>
                  <a:cubicBezTo>
                    <a:pt x="48741" y="48775"/>
                    <a:pt x="43924" y="53882"/>
                    <a:pt x="38031" y="57535"/>
                  </a:cubicBezTo>
                  <a:cubicBezTo>
                    <a:pt x="32278" y="61351"/>
                    <a:pt x="25590" y="63489"/>
                    <a:pt x="18715" y="63709"/>
                  </a:cubicBezTo>
                  <a:cubicBezTo>
                    <a:pt x="11559" y="63896"/>
                    <a:pt x="4637" y="66389"/>
                    <a:pt x="-1022" y="70818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79B64B5-82B2-40AB-AF79-8A2621171631}"/>
                </a:ext>
              </a:extLst>
            </p:cNvPr>
            <p:cNvSpPr/>
            <p:nvPr/>
          </p:nvSpPr>
          <p:spPr>
            <a:xfrm>
              <a:off x="11168724" y="4281150"/>
              <a:ext cx="1075" cy="748"/>
            </a:xfrm>
            <a:custGeom>
              <a:avLst/>
              <a:gdLst>
                <a:gd name="connsiteX0" fmla="*/ -1069 w 1075"/>
                <a:gd name="connsiteY0" fmla="*/ 498 h 748"/>
                <a:gd name="connsiteX1" fmla="*/ 7 w 1075"/>
                <a:gd name="connsiteY1" fmla="*/ -250 h 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75" h="748">
                  <a:moveTo>
                    <a:pt x="-1069" y="498"/>
                  </a:moveTo>
                  <a:lnTo>
                    <a:pt x="7" y="-250"/>
                  </a:lnTo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6CA9F3F-3BB7-467D-82A5-850FD3042D84}"/>
                </a:ext>
              </a:extLst>
            </p:cNvPr>
            <p:cNvSpPr/>
            <p:nvPr/>
          </p:nvSpPr>
          <p:spPr>
            <a:xfrm>
              <a:off x="10281921" y="4908146"/>
              <a:ext cx="113089" cy="161402"/>
            </a:xfrm>
            <a:custGeom>
              <a:avLst/>
              <a:gdLst>
                <a:gd name="connsiteX0" fmla="*/ -1022 w 113089"/>
                <a:gd name="connsiteY0" fmla="*/ 160778 h 161402"/>
                <a:gd name="connsiteX1" fmla="*/ 8004 w 113089"/>
                <a:gd name="connsiteY1" fmla="*/ 152219 h 161402"/>
                <a:gd name="connsiteX2" fmla="*/ 14225 w 113089"/>
                <a:gd name="connsiteY2" fmla="*/ 140059 h 161402"/>
                <a:gd name="connsiteX3" fmla="*/ 30173 w 113089"/>
                <a:gd name="connsiteY3" fmla="*/ 121632 h 161402"/>
                <a:gd name="connsiteX4" fmla="*/ 60761 w 113089"/>
                <a:gd name="connsiteY4" fmla="*/ 84684 h 161402"/>
                <a:gd name="connsiteX5" fmla="*/ 84146 w 113089"/>
                <a:gd name="connsiteY5" fmla="*/ 42310 h 161402"/>
                <a:gd name="connsiteX6" fmla="*/ 96399 w 113089"/>
                <a:gd name="connsiteY6" fmla="*/ 20749 h 161402"/>
                <a:gd name="connsiteX7" fmla="*/ 106034 w 113089"/>
                <a:gd name="connsiteY7" fmla="*/ 10974 h 161402"/>
                <a:gd name="connsiteX8" fmla="*/ 112020 w 113089"/>
                <a:gd name="connsiteY8" fmla="*/ -250 h 161402"/>
                <a:gd name="connsiteX9" fmla="*/ 112020 w 113089"/>
                <a:gd name="connsiteY9" fmla="*/ -250 h 161402"/>
                <a:gd name="connsiteX10" fmla="*/ 109916 w 113089"/>
                <a:gd name="connsiteY10" fmla="*/ 12377 h 161402"/>
                <a:gd name="connsiteX11" fmla="*/ 111085 w 113089"/>
                <a:gd name="connsiteY11" fmla="*/ 26408 h 161402"/>
                <a:gd name="connsiteX12" fmla="*/ 104257 w 113089"/>
                <a:gd name="connsiteY12" fmla="*/ 51477 h 161402"/>
                <a:gd name="connsiteX13" fmla="*/ 79422 w 113089"/>
                <a:gd name="connsiteY13" fmla="*/ 97312 h 161402"/>
                <a:gd name="connsiteX14" fmla="*/ 45935 w 113089"/>
                <a:gd name="connsiteY14" fmla="*/ 137814 h 161402"/>
                <a:gd name="connsiteX15" fmla="*/ 24281 w 113089"/>
                <a:gd name="connsiteY15" fmla="*/ 152827 h 161402"/>
                <a:gd name="connsiteX16" fmla="*/ 10904 w 113089"/>
                <a:gd name="connsiteY16" fmla="*/ 156475 h 161402"/>
                <a:gd name="connsiteX17" fmla="*/ -1069 w 113089"/>
                <a:gd name="connsiteY17" fmla="*/ 161152 h 161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3089" h="161402">
                  <a:moveTo>
                    <a:pt x="-1022" y="160778"/>
                  </a:moveTo>
                  <a:cubicBezTo>
                    <a:pt x="2486" y="158487"/>
                    <a:pt x="5526" y="155587"/>
                    <a:pt x="8004" y="152219"/>
                  </a:cubicBezTo>
                  <a:cubicBezTo>
                    <a:pt x="10436" y="148351"/>
                    <a:pt x="12495" y="144282"/>
                    <a:pt x="14225" y="140059"/>
                  </a:cubicBezTo>
                  <a:cubicBezTo>
                    <a:pt x="18200" y="132108"/>
                    <a:pt x="24561" y="127385"/>
                    <a:pt x="30173" y="121632"/>
                  </a:cubicBezTo>
                  <a:cubicBezTo>
                    <a:pt x="41539" y="110332"/>
                    <a:pt x="51781" y="97957"/>
                    <a:pt x="60761" y="84684"/>
                  </a:cubicBezTo>
                  <a:cubicBezTo>
                    <a:pt x="69741" y="71242"/>
                    <a:pt x="77551" y="57071"/>
                    <a:pt x="84146" y="42310"/>
                  </a:cubicBezTo>
                  <a:cubicBezTo>
                    <a:pt x="87700" y="34967"/>
                    <a:pt x="90086" y="27204"/>
                    <a:pt x="96399" y="20749"/>
                  </a:cubicBezTo>
                  <a:cubicBezTo>
                    <a:pt x="99814" y="17714"/>
                    <a:pt x="103041" y="14450"/>
                    <a:pt x="106034" y="10974"/>
                  </a:cubicBezTo>
                  <a:cubicBezTo>
                    <a:pt x="108466" y="7490"/>
                    <a:pt x="110477" y="3721"/>
                    <a:pt x="112020" y="-250"/>
                  </a:cubicBezTo>
                  <a:lnTo>
                    <a:pt x="112020" y="-250"/>
                  </a:lnTo>
                  <a:cubicBezTo>
                    <a:pt x="110898" y="3875"/>
                    <a:pt x="110197" y="8107"/>
                    <a:pt x="109916" y="12377"/>
                  </a:cubicBezTo>
                  <a:cubicBezTo>
                    <a:pt x="109916" y="16774"/>
                    <a:pt x="110805" y="21731"/>
                    <a:pt x="111085" y="26408"/>
                  </a:cubicBezTo>
                  <a:cubicBezTo>
                    <a:pt x="110758" y="35173"/>
                    <a:pt x="108420" y="43751"/>
                    <a:pt x="104257" y="51477"/>
                  </a:cubicBezTo>
                  <a:cubicBezTo>
                    <a:pt x="97335" y="67449"/>
                    <a:pt x="89010" y="82785"/>
                    <a:pt x="79422" y="97312"/>
                  </a:cubicBezTo>
                  <a:cubicBezTo>
                    <a:pt x="69647" y="111908"/>
                    <a:pt x="58422" y="125481"/>
                    <a:pt x="45935" y="137814"/>
                  </a:cubicBezTo>
                  <a:cubicBezTo>
                    <a:pt x="39574" y="143801"/>
                    <a:pt x="33401" y="150255"/>
                    <a:pt x="24281" y="152827"/>
                  </a:cubicBezTo>
                  <a:cubicBezTo>
                    <a:pt x="19604" y="154043"/>
                    <a:pt x="14927" y="155119"/>
                    <a:pt x="10904" y="156475"/>
                  </a:cubicBezTo>
                  <a:cubicBezTo>
                    <a:pt x="6882" y="157832"/>
                    <a:pt x="2673" y="159282"/>
                    <a:pt x="-1069" y="161152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F4105EF-EDA6-4DF7-B9AC-5BC56C3994A4}"/>
                </a:ext>
              </a:extLst>
            </p:cNvPr>
            <p:cNvSpPr/>
            <p:nvPr/>
          </p:nvSpPr>
          <p:spPr>
            <a:xfrm>
              <a:off x="9551095" y="5487765"/>
              <a:ext cx="303816" cy="176649"/>
            </a:xfrm>
            <a:custGeom>
              <a:avLst/>
              <a:gdLst>
                <a:gd name="connsiteX0" fmla="*/ -1069 w 303816"/>
                <a:gd name="connsiteY0" fmla="*/ 176165 h 176649"/>
                <a:gd name="connsiteX1" fmla="*/ 8987 w 303816"/>
                <a:gd name="connsiteY1" fmla="*/ 170319 h 176649"/>
                <a:gd name="connsiteX2" fmla="*/ 17639 w 303816"/>
                <a:gd name="connsiteY2" fmla="*/ 160965 h 176649"/>
                <a:gd name="connsiteX3" fmla="*/ 27975 w 303816"/>
                <a:gd name="connsiteY3" fmla="*/ 155727 h 176649"/>
                <a:gd name="connsiteX4" fmla="*/ 40603 w 303816"/>
                <a:gd name="connsiteY4" fmla="*/ 157317 h 176649"/>
                <a:gd name="connsiteX5" fmla="*/ 62866 w 303816"/>
                <a:gd name="connsiteY5" fmla="*/ 152640 h 176649"/>
                <a:gd name="connsiteX6" fmla="*/ 72594 w 303816"/>
                <a:gd name="connsiteY6" fmla="*/ 145484 h 176649"/>
                <a:gd name="connsiteX7" fmla="*/ 81948 w 303816"/>
                <a:gd name="connsiteY7" fmla="*/ 136925 h 176649"/>
                <a:gd name="connsiteX8" fmla="*/ 103135 w 303816"/>
                <a:gd name="connsiteY8" fmla="*/ 128975 h 176649"/>
                <a:gd name="connsiteX9" fmla="*/ 124508 w 303816"/>
                <a:gd name="connsiteY9" fmla="*/ 122380 h 176649"/>
                <a:gd name="connsiteX10" fmla="*/ 165946 w 303816"/>
                <a:gd name="connsiteY10" fmla="*/ 107087 h 176649"/>
                <a:gd name="connsiteX11" fmla="*/ 239282 w 303816"/>
                <a:gd name="connsiteY11" fmla="*/ 61813 h 176649"/>
                <a:gd name="connsiteX12" fmla="*/ 268840 w 303816"/>
                <a:gd name="connsiteY12" fmla="*/ 30524 h 176649"/>
                <a:gd name="connsiteX13" fmla="*/ 285162 w 303816"/>
                <a:gd name="connsiteY13" fmla="*/ 15371 h 176649"/>
                <a:gd name="connsiteX14" fmla="*/ 295593 w 303816"/>
                <a:gd name="connsiteY14" fmla="*/ 8683 h 176649"/>
                <a:gd name="connsiteX15" fmla="*/ 302748 w 303816"/>
                <a:gd name="connsiteY15" fmla="*/ -250 h 176649"/>
                <a:gd name="connsiteX16" fmla="*/ 302748 w 303816"/>
                <a:gd name="connsiteY16" fmla="*/ -250 h 176649"/>
                <a:gd name="connsiteX17" fmla="*/ 298866 w 303816"/>
                <a:gd name="connsiteY17" fmla="*/ 10600 h 176649"/>
                <a:gd name="connsiteX18" fmla="*/ 297463 w 303816"/>
                <a:gd name="connsiteY18" fmla="*/ 23228 h 176649"/>
                <a:gd name="connsiteX19" fmla="*/ 287735 w 303816"/>
                <a:gd name="connsiteY19" fmla="*/ 45117 h 176649"/>
                <a:gd name="connsiteX20" fmla="*/ 255417 w 303816"/>
                <a:gd name="connsiteY20" fmla="*/ 79867 h 176649"/>
                <a:gd name="connsiteX21" fmla="*/ 175628 w 303816"/>
                <a:gd name="connsiteY21" fmla="*/ 129770 h 176649"/>
                <a:gd name="connsiteX22" fmla="*/ 132132 w 303816"/>
                <a:gd name="connsiteY22" fmla="*/ 145952 h 176649"/>
                <a:gd name="connsiteX23" fmla="*/ 110244 w 303816"/>
                <a:gd name="connsiteY23" fmla="*/ 152781 h 176649"/>
                <a:gd name="connsiteX24" fmla="*/ 87981 w 303816"/>
                <a:gd name="connsiteY24" fmla="*/ 157691 h 176649"/>
                <a:gd name="connsiteX25" fmla="*/ 63567 w 303816"/>
                <a:gd name="connsiteY25" fmla="*/ 154885 h 176649"/>
                <a:gd name="connsiteX26" fmla="*/ 42661 w 303816"/>
                <a:gd name="connsiteY26" fmla="*/ 163725 h 176649"/>
                <a:gd name="connsiteX27" fmla="*/ 33821 w 303816"/>
                <a:gd name="connsiteY27" fmla="*/ 172518 h 176649"/>
                <a:gd name="connsiteX28" fmla="*/ 22924 w 303816"/>
                <a:gd name="connsiteY28" fmla="*/ 175090 h 176649"/>
                <a:gd name="connsiteX29" fmla="*/ -1069 w 303816"/>
                <a:gd name="connsiteY29" fmla="*/ 176399 h 176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3816" h="176649">
                  <a:moveTo>
                    <a:pt x="-1069" y="176165"/>
                  </a:moveTo>
                  <a:cubicBezTo>
                    <a:pt x="3188" y="173546"/>
                    <a:pt x="5853" y="172705"/>
                    <a:pt x="8987" y="170319"/>
                  </a:cubicBezTo>
                  <a:cubicBezTo>
                    <a:pt x="12120" y="167934"/>
                    <a:pt x="14646" y="163959"/>
                    <a:pt x="17639" y="160965"/>
                  </a:cubicBezTo>
                  <a:cubicBezTo>
                    <a:pt x="20352" y="158033"/>
                    <a:pt x="24000" y="156176"/>
                    <a:pt x="27975" y="155727"/>
                  </a:cubicBezTo>
                  <a:cubicBezTo>
                    <a:pt x="32231" y="155835"/>
                    <a:pt x="36441" y="156363"/>
                    <a:pt x="40603" y="157317"/>
                  </a:cubicBezTo>
                  <a:cubicBezTo>
                    <a:pt x="48321" y="157818"/>
                    <a:pt x="55990" y="156200"/>
                    <a:pt x="62866" y="152640"/>
                  </a:cubicBezTo>
                  <a:cubicBezTo>
                    <a:pt x="66607" y="150999"/>
                    <a:pt x="69928" y="148557"/>
                    <a:pt x="72594" y="145484"/>
                  </a:cubicBezTo>
                  <a:cubicBezTo>
                    <a:pt x="75306" y="142220"/>
                    <a:pt x="78440" y="139339"/>
                    <a:pt x="81948" y="136925"/>
                  </a:cubicBezTo>
                  <a:cubicBezTo>
                    <a:pt x="88682" y="133469"/>
                    <a:pt x="95791" y="130799"/>
                    <a:pt x="103135" y="128975"/>
                  </a:cubicBezTo>
                  <a:lnTo>
                    <a:pt x="124508" y="122380"/>
                  </a:lnTo>
                  <a:cubicBezTo>
                    <a:pt x="138539" y="117703"/>
                    <a:pt x="152570" y="113026"/>
                    <a:pt x="165946" y="107087"/>
                  </a:cubicBezTo>
                  <a:cubicBezTo>
                    <a:pt x="192699" y="96133"/>
                    <a:pt x="217487" y="80835"/>
                    <a:pt x="239282" y="61813"/>
                  </a:cubicBezTo>
                  <a:cubicBezTo>
                    <a:pt x="250038" y="52268"/>
                    <a:pt x="259907" y="41796"/>
                    <a:pt x="268840" y="30524"/>
                  </a:cubicBezTo>
                  <a:cubicBezTo>
                    <a:pt x="272956" y="24215"/>
                    <a:pt x="278568" y="19014"/>
                    <a:pt x="285162" y="15371"/>
                  </a:cubicBezTo>
                  <a:cubicBezTo>
                    <a:pt x="288904" y="13617"/>
                    <a:pt x="292412" y="11367"/>
                    <a:pt x="295593" y="8683"/>
                  </a:cubicBezTo>
                  <a:cubicBezTo>
                    <a:pt x="298352" y="6036"/>
                    <a:pt x="300784" y="3028"/>
                    <a:pt x="302748" y="-250"/>
                  </a:cubicBezTo>
                  <a:lnTo>
                    <a:pt x="302748" y="-250"/>
                  </a:lnTo>
                  <a:cubicBezTo>
                    <a:pt x="301111" y="3229"/>
                    <a:pt x="299801" y="6863"/>
                    <a:pt x="298866" y="10600"/>
                  </a:cubicBezTo>
                  <a:cubicBezTo>
                    <a:pt x="298071" y="14768"/>
                    <a:pt x="297603" y="18991"/>
                    <a:pt x="297463" y="23228"/>
                  </a:cubicBezTo>
                  <a:cubicBezTo>
                    <a:pt x="296621" y="31371"/>
                    <a:pt x="293207" y="39036"/>
                    <a:pt x="287735" y="45117"/>
                  </a:cubicBezTo>
                  <a:cubicBezTo>
                    <a:pt x="278241" y="57814"/>
                    <a:pt x="267390" y="69465"/>
                    <a:pt x="255417" y="79867"/>
                  </a:cubicBezTo>
                  <a:cubicBezTo>
                    <a:pt x="231798" y="100861"/>
                    <a:pt x="204859" y="117731"/>
                    <a:pt x="175628" y="129770"/>
                  </a:cubicBezTo>
                  <a:cubicBezTo>
                    <a:pt x="161269" y="135944"/>
                    <a:pt x="146724" y="141275"/>
                    <a:pt x="132132" y="145952"/>
                  </a:cubicBezTo>
                  <a:cubicBezTo>
                    <a:pt x="124836" y="148244"/>
                    <a:pt x="117586" y="150629"/>
                    <a:pt x="110244" y="152781"/>
                  </a:cubicBezTo>
                  <a:cubicBezTo>
                    <a:pt x="103088" y="155381"/>
                    <a:pt x="95605" y="157027"/>
                    <a:pt x="87981" y="157691"/>
                  </a:cubicBezTo>
                  <a:cubicBezTo>
                    <a:pt x="80217" y="157972"/>
                    <a:pt x="70817" y="152781"/>
                    <a:pt x="63567" y="154885"/>
                  </a:cubicBezTo>
                  <a:cubicBezTo>
                    <a:pt x="55850" y="155676"/>
                    <a:pt x="48601" y="158758"/>
                    <a:pt x="42661" y="163725"/>
                  </a:cubicBezTo>
                  <a:cubicBezTo>
                    <a:pt x="39949" y="166896"/>
                    <a:pt x="37002" y="169838"/>
                    <a:pt x="33821" y="172518"/>
                  </a:cubicBezTo>
                  <a:cubicBezTo>
                    <a:pt x="30641" y="174674"/>
                    <a:pt x="26759" y="175586"/>
                    <a:pt x="22924" y="175090"/>
                  </a:cubicBezTo>
                  <a:cubicBezTo>
                    <a:pt x="14974" y="173013"/>
                    <a:pt x="6602" y="173472"/>
                    <a:pt x="-1069" y="176399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D3D7117E-4217-437F-8A1D-A4540336A717}"/>
                </a:ext>
              </a:extLst>
            </p:cNvPr>
            <p:cNvSpPr/>
            <p:nvPr/>
          </p:nvSpPr>
          <p:spPr>
            <a:xfrm>
              <a:off x="9202520" y="5744859"/>
              <a:ext cx="1964" cy="6501"/>
            </a:xfrm>
            <a:custGeom>
              <a:avLst/>
              <a:gdLst>
                <a:gd name="connsiteX0" fmla="*/ -1069 w 1964"/>
                <a:gd name="connsiteY0" fmla="*/ 6251 h 6501"/>
                <a:gd name="connsiteX1" fmla="*/ 896 w 1964"/>
                <a:gd name="connsiteY1" fmla="*/ -250 h 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64" h="6501">
                  <a:moveTo>
                    <a:pt x="-1069" y="6251"/>
                  </a:moveTo>
                  <a:lnTo>
                    <a:pt x="896" y="-250"/>
                  </a:lnTo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244D942-919E-4DFB-B050-B77C479FF884}"/>
                </a:ext>
              </a:extLst>
            </p:cNvPr>
            <p:cNvSpPr/>
            <p:nvPr/>
          </p:nvSpPr>
          <p:spPr>
            <a:xfrm>
              <a:off x="8490355" y="5804256"/>
              <a:ext cx="552164" cy="547066"/>
            </a:xfrm>
            <a:custGeom>
              <a:avLst/>
              <a:gdLst>
                <a:gd name="connsiteX0" fmla="*/ 7350 w 552164"/>
                <a:gd name="connsiteY0" fmla="*/ 535779 h 547066"/>
                <a:gd name="connsiteX1" fmla="*/ 12915 w 552164"/>
                <a:gd name="connsiteY1" fmla="*/ 522496 h 547066"/>
                <a:gd name="connsiteX2" fmla="*/ 28770 w 552164"/>
                <a:gd name="connsiteY2" fmla="*/ 503367 h 547066"/>
                <a:gd name="connsiteX3" fmla="*/ 45047 w 552164"/>
                <a:gd name="connsiteY3" fmla="*/ 485174 h 547066"/>
                <a:gd name="connsiteX4" fmla="*/ 59078 w 552164"/>
                <a:gd name="connsiteY4" fmla="*/ 465250 h 547066"/>
                <a:gd name="connsiteX5" fmla="*/ 99159 w 552164"/>
                <a:gd name="connsiteY5" fmla="*/ 374283 h 547066"/>
                <a:gd name="connsiteX6" fmla="*/ 130121 w 552164"/>
                <a:gd name="connsiteY6" fmla="*/ 275271 h 547066"/>
                <a:gd name="connsiteX7" fmla="*/ 181568 w 552164"/>
                <a:gd name="connsiteY7" fmla="*/ 181450 h 547066"/>
                <a:gd name="connsiteX8" fmla="*/ 265753 w 552164"/>
                <a:gd name="connsiteY8" fmla="*/ 114149 h 547066"/>
                <a:gd name="connsiteX9" fmla="*/ 364531 w 552164"/>
                <a:gd name="connsiteY9" fmla="*/ 77107 h 547066"/>
                <a:gd name="connsiteX10" fmla="*/ 460737 w 552164"/>
                <a:gd name="connsiteY10" fmla="*/ 44836 h 547066"/>
                <a:gd name="connsiteX11" fmla="*/ 483046 w 552164"/>
                <a:gd name="connsiteY11" fmla="*/ 34079 h 547066"/>
                <a:gd name="connsiteX12" fmla="*/ 504092 w 552164"/>
                <a:gd name="connsiteY12" fmla="*/ 21404 h 547066"/>
                <a:gd name="connsiteX13" fmla="*/ 514101 w 552164"/>
                <a:gd name="connsiteY13" fmla="*/ 14342 h 547066"/>
                <a:gd name="connsiteX14" fmla="*/ 525840 w 552164"/>
                <a:gd name="connsiteY14" fmla="*/ 9665 h 547066"/>
                <a:gd name="connsiteX15" fmla="*/ 539871 w 552164"/>
                <a:gd name="connsiteY15" fmla="*/ 6578 h 547066"/>
                <a:gd name="connsiteX16" fmla="*/ 551096 w 552164"/>
                <a:gd name="connsiteY16" fmla="*/ -250 h 547066"/>
                <a:gd name="connsiteX17" fmla="*/ 551096 w 552164"/>
                <a:gd name="connsiteY17" fmla="*/ -250 h 547066"/>
                <a:gd name="connsiteX18" fmla="*/ 543332 w 552164"/>
                <a:gd name="connsiteY18" fmla="*/ 10320 h 547066"/>
                <a:gd name="connsiteX19" fmla="*/ 538141 w 552164"/>
                <a:gd name="connsiteY19" fmla="*/ 24351 h 547066"/>
                <a:gd name="connsiteX20" fmla="*/ 518545 w 552164"/>
                <a:gd name="connsiteY20" fmla="*/ 43059 h 547066"/>
                <a:gd name="connsiteX21" fmla="*/ 495160 w 552164"/>
                <a:gd name="connsiteY21" fmla="*/ 57090 h 547066"/>
                <a:gd name="connsiteX22" fmla="*/ 471026 w 552164"/>
                <a:gd name="connsiteY22" fmla="*/ 68782 h 547066"/>
                <a:gd name="connsiteX23" fmla="*/ 371781 w 552164"/>
                <a:gd name="connsiteY23" fmla="*/ 102176 h 547066"/>
                <a:gd name="connsiteX24" fmla="*/ 277586 w 552164"/>
                <a:gd name="connsiteY24" fmla="*/ 137347 h 547066"/>
                <a:gd name="connsiteX25" fmla="*/ 201679 w 552164"/>
                <a:gd name="connsiteY25" fmla="*/ 198147 h 547066"/>
                <a:gd name="connsiteX26" fmla="*/ 154488 w 552164"/>
                <a:gd name="connsiteY26" fmla="*/ 284438 h 547066"/>
                <a:gd name="connsiteX27" fmla="*/ 123901 w 552164"/>
                <a:gd name="connsiteY27" fmla="*/ 382327 h 547066"/>
                <a:gd name="connsiteX28" fmla="*/ 80872 w 552164"/>
                <a:gd name="connsiteY28" fmla="*/ 479562 h 547066"/>
                <a:gd name="connsiteX29" fmla="*/ 65111 w 552164"/>
                <a:gd name="connsiteY29" fmla="*/ 501590 h 547066"/>
                <a:gd name="connsiteX30" fmla="*/ 47058 w 552164"/>
                <a:gd name="connsiteY30" fmla="*/ 521888 h 547066"/>
                <a:gd name="connsiteX31" fmla="*/ 24889 w 552164"/>
                <a:gd name="connsiteY31" fmla="*/ 537556 h 547066"/>
                <a:gd name="connsiteX32" fmla="*/ 10109 w 552164"/>
                <a:gd name="connsiteY32" fmla="*/ 540128 h 547066"/>
                <a:gd name="connsiteX33" fmla="*/ -1069 w 552164"/>
                <a:gd name="connsiteY33" fmla="*/ 546816 h 547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552164" h="547066">
                  <a:moveTo>
                    <a:pt x="7350" y="535779"/>
                  </a:moveTo>
                  <a:cubicBezTo>
                    <a:pt x="9501" y="531486"/>
                    <a:pt x="11372" y="527047"/>
                    <a:pt x="12915" y="522496"/>
                  </a:cubicBezTo>
                  <a:cubicBezTo>
                    <a:pt x="16610" y="514078"/>
                    <a:pt x="23346" y="509541"/>
                    <a:pt x="28770" y="503367"/>
                  </a:cubicBezTo>
                  <a:cubicBezTo>
                    <a:pt x="34196" y="497194"/>
                    <a:pt x="39855" y="491441"/>
                    <a:pt x="45047" y="485174"/>
                  </a:cubicBezTo>
                  <a:cubicBezTo>
                    <a:pt x="50238" y="478907"/>
                    <a:pt x="54822" y="472078"/>
                    <a:pt x="59078" y="465250"/>
                  </a:cubicBezTo>
                  <a:cubicBezTo>
                    <a:pt x="76850" y="437749"/>
                    <a:pt x="88963" y="406554"/>
                    <a:pt x="99159" y="374283"/>
                  </a:cubicBezTo>
                  <a:cubicBezTo>
                    <a:pt x="109355" y="342011"/>
                    <a:pt x="117867" y="308431"/>
                    <a:pt x="130121" y="275271"/>
                  </a:cubicBezTo>
                  <a:cubicBezTo>
                    <a:pt x="141767" y="241269"/>
                    <a:pt x="159165" y="209531"/>
                    <a:pt x="181568" y="181450"/>
                  </a:cubicBezTo>
                  <a:cubicBezTo>
                    <a:pt x="204719" y="153487"/>
                    <a:pt x="233389" y="130579"/>
                    <a:pt x="265753" y="114149"/>
                  </a:cubicBezTo>
                  <a:cubicBezTo>
                    <a:pt x="297650" y="97592"/>
                    <a:pt x="331231" y="86929"/>
                    <a:pt x="364531" y="77107"/>
                  </a:cubicBezTo>
                  <a:cubicBezTo>
                    <a:pt x="397831" y="67285"/>
                    <a:pt x="430290" y="58118"/>
                    <a:pt x="460737" y="44836"/>
                  </a:cubicBezTo>
                  <a:cubicBezTo>
                    <a:pt x="468267" y="41422"/>
                    <a:pt x="475563" y="37633"/>
                    <a:pt x="483046" y="34079"/>
                  </a:cubicBezTo>
                  <a:lnTo>
                    <a:pt x="504092" y="21404"/>
                  </a:lnTo>
                  <a:lnTo>
                    <a:pt x="514101" y="14342"/>
                  </a:lnTo>
                  <a:cubicBezTo>
                    <a:pt x="517749" y="12209"/>
                    <a:pt x="521725" y="10633"/>
                    <a:pt x="525840" y="9665"/>
                  </a:cubicBezTo>
                  <a:cubicBezTo>
                    <a:pt x="530517" y="8543"/>
                    <a:pt x="535475" y="8121"/>
                    <a:pt x="539871" y="6578"/>
                  </a:cubicBezTo>
                  <a:cubicBezTo>
                    <a:pt x="543940" y="4904"/>
                    <a:pt x="547729" y="2598"/>
                    <a:pt x="551096" y="-250"/>
                  </a:cubicBezTo>
                  <a:lnTo>
                    <a:pt x="551096" y="-250"/>
                  </a:lnTo>
                  <a:cubicBezTo>
                    <a:pt x="548103" y="2967"/>
                    <a:pt x="545530" y="6513"/>
                    <a:pt x="543332" y="10320"/>
                  </a:cubicBezTo>
                  <a:cubicBezTo>
                    <a:pt x="541275" y="14529"/>
                    <a:pt x="540105" y="19674"/>
                    <a:pt x="538141" y="24351"/>
                  </a:cubicBezTo>
                  <a:cubicBezTo>
                    <a:pt x="533838" y="33237"/>
                    <a:pt x="525560" y="37540"/>
                    <a:pt x="518545" y="43059"/>
                  </a:cubicBezTo>
                  <a:cubicBezTo>
                    <a:pt x="511529" y="48577"/>
                    <a:pt x="503017" y="52413"/>
                    <a:pt x="495160" y="57090"/>
                  </a:cubicBezTo>
                  <a:cubicBezTo>
                    <a:pt x="487115" y="61018"/>
                    <a:pt x="479164" y="65134"/>
                    <a:pt x="471026" y="68782"/>
                  </a:cubicBezTo>
                  <a:cubicBezTo>
                    <a:pt x="438287" y="82813"/>
                    <a:pt x="404567" y="92448"/>
                    <a:pt x="371781" y="102176"/>
                  </a:cubicBezTo>
                  <a:cubicBezTo>
                    <a:pt x="338995" y="111904"/>
                    <a:pt x="306864" y="122146"/>
                    <a:pt x="277586" y="137347"/>
                  </a:cubicBezTo>
                  <a:cubicBezTo>
                    <a:pt x="248355" y="152187"/>
                    <a:pt x="222538" y="172882"/>
                    <a:pt x="201679" y="198147"/>
                  </a:cubicBezTo>
                  <a:cubicBezTo>
                    <a:pt x="181053" y="223955"/>
                    <a:pt x="165105" y="253154"/>
                    <a:pt x="154488" y="284438"/>
                  </a:cubicBezTo>
                  <a:cubicBezTo>
                    <a:pt x="142936" y="315914"/>
                    <a:pt x="134471" y="349074"/>
                    <a:pt x="123901" y="382327"/>
                  </a:cubicBezTo>
                  <a:cubicBezTo>
                    <a:pt x="113331" y="415580"/>
                    <a:pt x="100516" y="449114"/>
                    <a:pt x="80872" y="479562"/>
                  </a:cubicBezTo>
                  <a:cubicBezTo>
                    <a:pt x="76195" y="487092"/>
                    <a:pt x="70349" y="494247"/>
                    <a:pt x="65111" y="501590"/>
                  </a:cubicBezTo>
                  <a:cubicBezTo>
                    <a:pt x="59873" y="508933"/>
                    <a:pt x="53278" y="515294"/>
                    <a:pt x="47058" y="521888"/>
                  </a:cubicBezTo>
                  <a:cubicBezTo>
                    <a:pt x="40837" y="528483"/>
                    <a:pt x="34477" y="535077"/>
                    <a:pt x="24889" y="537556"/>
                  </a:cubicBezTo>
                  <a:cubicBezTo>
                    <a:pt x="20212" y="538725"/>
                    <a:pt x="14646" y="538959"/>
                    <a:pt x="10109" y="540128"/>
                  </a:cubicBezTo>
                  <a:cubicBezTo>
                    <a:pt x="5807" y="541153"/>
                    <a:pt x="1878" y="543491"/>
                    <a:pt x="-1069" y="546816"/>
                  </a:cubicBezTo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BB2ED678-7E61-4F0B-84FC-B527EEDB0C67}"/>
                </a:ext>
              </a:extLst>
            </p:cNvPr>
            <p:cNvSpPr/>
            <p:nvPr/>
          </p:nvSpPr>
          <p:spPr>
            <a:xfrm>
              <a:off x="10660429" y="3478813"/>
              <a:ext cx="493515" cy="468446"/>
            </a:xfrm>
            <a:custGeom>
              <a:avLst/>
              <a:gdLst>
                <a:gd name="connsiteX0" fmla="*/ -1069 w 493515"/>
                <a:gd name="connsiteY0" fmla="*/ 467916 h 468446"/>
                <a:gd name="connsiteX1" fmla="*/ 5386 w 493515"/>
                <a:gd name="connsiteY1" fmla="*/ 445045 h 468446"/>
                <a:gd name="connsiteX2" fmla="*/ 15582 w 493515"/>
                <a:gd name="connsiteY2" fmla="*/ 423718 h 468446"/>
                <a:gd name="connsiteX3" fmla="*/ 47572 w 493515"/>
                <a:gd name="connsiteY3" fmla="*/ 389296 h 468446"/>
                <a:gd name="connsiteX4" fmla="*/ 126333 w 493515"/>
                <a:gd name="connsiteY4" fmla="*/ 339299 h 468446"/>
                <a:gd name="connsiteX5" fmla="*/ 297837 w 493515"/>
                <a:gd name="connsiteY5" fmla="*/ 281211 h 468446"/>
                <a:gd name="connsiteX6" fmla="*/ 424444 w 493515"/>
                <a:gd name="connsiteY6" fmla="*/ 166063 h 468446"/>
                <a:gd name="connsiteX7" fmla="*/ 456481 w 493515"/>
                <a:gd name="connsiteY7" fmla="*/ 83374 h 468446"/>
                <a:gd name="connsiteX8" fmla="*/ 469390 w 493515"/>
                <a:gd name="connsiteY8" fmla="*/ 40019 h 468446"/>
                <a:gd name="connsiteX9" fmla="*/ 479679 w 493515"/>
                <a:gd name="connsiteY9" fmla="*/ 19300 h 468446"/>
                <a:gd name="connsiteX10" fmla="*/ 487302 w 493515"/>
                <a:gd name="connsiteY10" fmla="*/ 9946 h 468446"/>
                <a:gd name="connsiteX11" fmla="*/ 492447 w 493515"/>
                <a:gd name="connsiteY11" fmla="*/ -250 h 468446"/>
                <a:gd name="connsiteX12" fmla="*/ 492447 w 493515"/>
                <a:gd name="connsiteY12" fmla="*/ -250 h 468446"/>
                <a:gd name="connsiteX13" fmla="*/ 490576 w 493515"/>
                <a:gd name="connsiteY13" fmla="*/ 23135 h 468446"/>
                <a:gd name="connsiteX14" fmla="*/ 487396 w 493515"/>
                <a:gd name="connsiteY14" fmla="*/ 45725 h 468446"/>
                <a:gd name="connsiteX15" fmla="*/ 474534 w 493515"/>
                <a:gd name="connsiteY15" fmla="*/ 89174 h 468446"/>
                <a:gd name="connsiteX16" fmla="*/ 441187 w 493515"/>
                <a:gd name="connsiteY16" fmla="*/ 175183 h 468446"/>
                <a:gd name="connsiteX17" fmla="*/ 305555 w 493515"/>
                <a:gd name="connsiteY17" fmla="*/ 298890 h 468446"/>
                <a:gd name="connsiteX18" fmla="*/ 134190 w 493515"/>
                <a:gd name="connsiteY18" fmla="*/ 357305 h 468446"/>
                <a:gd name="connsiteX19" fmla="*/ 60761 w 493515"/>
                <a:gd name="connsiteY19" fmla="*/ 404075 h 468446"/>
                <a:gd name="connsiteX20" fmla="*/ 31203 w 493515"/>
                <a:gd name="connsiteY20" fmla="*/ 435925 h 468446"/>
                <a:gd name="connsiteX21" fmla="*/ 15675 w 493515"/>
                <a:gd name="connsiteY21" fmla="*/ 451827 h 468446"/>
                <a:gd name="connsiteX22" fmla="*/ -928 w 493515"/>
                <a:gd name="connsiteY22" fmla="*/ 468197 h 468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93515" h="468446">
                  <a:moveTo>
                    <a:pt x="-1069" y="467916"/>
                  </a:moveTo>
                  <a:cubicBezTo>
                    <a:pt x="2112" y="460620"/>
                    <a:pt x="4263" y="452926"/>
                    <a:pt x="5386" y="445045"/>
                  </a:cubicBezTo>
                  <a:cubicBezTo>
                    <a:pt x="6742" y="437127"/>
                    <a:pt x="10250" y="429742"/>
                    <a:pt x="15582" y="423718"/>
                  </a:cubicBezTo>
                  <a:cubicBezTo>
                    <a:pt x="24889" y="411067"/>
                    <a:pt x="35646" y="399515"/>
                    <a:pt x="47572" y="389296"/>
                  </a:cubicBezTo>
                  <a:cubicBezTo>
                    <a:pt x="70817" y="368324"/>
                    <a:pt x="97476" y="351422"/>
                    <a:pt x="126333" y="339299"/>
                  </a:cubicBezTo>
                  <a:cubicBezTo>
                    <a:pt x="183345" y="314604"/>
                    <a:pt x="243772" y="304689"/>
                    <a:pt x="297837" y="281211"/>
                  </a:cubicBezTo>
                  <a:cubicBezTo>
                    <a:pt x="352324" y="259032"/>
                    <a:pt x="397223" y="218230"/>
                    <a:pt x="424444" y="166063"/>
                  </a:cubicBezTo>
                  <a:cubicBezTo>
                    <a:pt x="437773" y="139592"/>
                    <a:pt x="448484" y="111904"/>
                    <a:pt x="456481" y="83374"/>
                  </a:cubicBezTo>
                  <a:cubicBezTo>
                    <a:pt x="461158" y="69109"/>
                    <a:pt x="464759" y="54470"/>
                    <a:pt x="469390" y="40019"/>
                  </a:cubicBezTo>
                  <a:cubicBezTo>
                    <a:pt x="471167" y="32405"/>
                    <a:pt x="474675" y="25305"/>
                    <a:pt x="479679" y="19300"/>
                  </a:cubicBezTo>
                  <a:cubicBezTo>
                    <a:pt x="482438" y="16372"/>
                    <a:pt x="485010" y="13243"/>
                    <a:pt x="487302" y="9946"/>
                  </a:cubicBezTo>
                  <a:cubicBezTo>
                    <a:pt x="489314" y="6704"/>
                    <a:pt x="491044" y="3290"/>
                    <a:pt x="492447" y="-250"/>
                  </a:cubicBezTo>
                  <a:lnTo>
                    <a:pt x="492447" y="-250"/>
                  </a:lnTo>
                  <a:cubicBezTo>
                    <a:pt x="489968" y="7284"/>
                    <a:pt x="489314" y="15301"/>
                    <a:pt x="490576" y="23135"/>
                  </a:cubicBezTo>
                  <a:cubicBezTo>
                    <a:pt x="491138" y="30805"/>
                    <a:pt x="490061" y="38508"/>
                    <a:pt x="487396" y="45725"/>
                  </a:cubicBezTo>
                  <a:cubicBezTo>
                    <a:pt x="483280" y="60176"/>
                    <a:pt x="478930" y="74582"/>
                    <a:pt x="474534" y="89174"/>
                  </a:cubicBezTo>
                  <a:cubicBezTo>
                    <a:pt x="466209" y="118854"/>
                    <a:pt x="455031" y="147655"/>
                    <a:pt x="441187" y="175183"/>
                  </a:cubicBezTo>
                  <a:cubicBezTo>
                    <a:pt x="413125" y="231307"/>
                    <a:pt x="362427" y="275037"/>
                    <a:pt x="305555" y="298890"/>
                  </a:cubicBezTo>
                  <a:cubicBezTo>
                    <a:pt x="248636" y="323771"/>
                    <a:pt x="188069" y="333406"/>
                    <a:pt x="134190" y="357305"/>
                  </a:cubicBezTo>
                  <a:cubicBezTo>
                    <a:pt x="107297" y="368726"/>
                    <a:pt x="82463" y="384530"/>
                    <a:pt x="60761" y="404075"/>
                  </a:cubicBezTo>
                  <a:cubicBezTo>
                    <a:pt x="49864" y="413663"/>
                    <a:pt x="39949" y="424336"/>
                    <a:pt x="31203" y="435925"/>
                  </a:cubicBezTo>
                  <a:cubicBezTo>
                    <a:pt x="27134" y="442216"/>
                    <a:pt x="21849" y="447622"/>
                    <a:pt x="15675" y="451827"/>
                  </a:cubicBezTo>
                  <a:cubicBezTo>
                    <a:pt x="8660" y="455569"/>
                    <a:pt x="2907" y="461256"/>
                    <a:pt x="-928" y="46819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3BF197F-88C8-4509-97F8-177DCA8B1BEA}"/>
                </a:ext>
              </a:extLst>
            </p:cNvPr>
            <p:cNvSpPr/>
            <p:nvPr/>
          </p:nvSpPr>
          <p:spPr>
            <a:xfrm>
              <a:off x="10644948" y="3479234"/>
              <a:ext cx="452217" cy="381174"/>
            </a:xfrm>
            <a:custGeom>
              <a:avLst/>
              <a:gdLst>
                <a:gd name="connsiteX0" fmla="*/ -1069 w 452217"/>
                <a:gd name="connsiteY0" fmla="*/ 380784 h 381174"/>
                <a:gd name="connsiteX1" fmla="*/ 20398 w 452217"/>
                <a:gd name="connsiteY1" fmla="*/ 346314 h 381174"/>
                <a:gd name="connsiteX2" fmla="*/ 35645 w 452217"/>
                <a:gd name="connsiteY2" fmla="*/ 333032 h 381174"/>
                <a:gd name="connsiteX3" fmla="*/ 52062 w 452217"/>
                <a:gd name="connsiteY3" fmla="*/ 321105 h 381174"/>
                <a:gd name="connsiteX4" fmla="*/ 124181 w 452217"/>
                <a:gd name="connsiteY4" fmla="*/ 286309 h 381174"/>
                <a:gd name="connsiteX5" fmla="*/ 271740 w 452217"/>
                <a:gd name="connsiteY5" fmla="*/ 237621 h 381174"/>
                <a:gd name="connsiteX6" fmla="*/ 336235 w 452217"/>
                <a:gd name="connsiteY6" fmla="*/ 199083 h 381174"/>
                <a:gd name="connsiteX7" fmla="*/ 363222 w 452217"/>
                <a:gd name="connsiteY7" fmla="*/ 173126 h 381174"/>
                <a:gd name="connsiteX8" fmla="*/ 385811 w 452217"/>
                <a:gd name="connsiteY8" fmla="*/ 143146 h 381174"/>
                <a:gd name="connsiteX9" fmla="*/ 418176 w 452217"/>
                <a:gd name="connsiteY9" fmla="*/ 74722 h 381174"/>
                <a:gd name="connsiteX10" fmla="*/ 431178 w 452217"/>
                <a:gd name="connsiteY10" fmla="*/ 34500 h 381174"/>
                <a:gd name="connsiteX11" fmla="*/ 441421 w 452217"/>
                <a:gd name="connsiteY11" fmla="*/ 17242 h 381174"/>
                <a:gd name="connsiteX12" fmla="*/ 451149 w 452217"/>
                <a:gd name="connsiteY12" fmla="*/ -250 h 381174"/>
                <a:gd name="connsiteX13" fmla="*/ 451149 w 452217"/>
                <a:gd name="connsiteY13" fmla="*/ -250 h 381174"/>
                <a:gd name="connsiteX14" fmla="*/ 449839 w 452217"/>
                <a:gd name="connsiteY14" fmla="*/ 19720 h 381174"/>
                <a:gd name="connsiteX15" fmla="*/ 448997 w 452217"/>
                <a:gd name="connsiteY15" fmla="*/ 39878 h 381174"/>
                <a:gd name="connsiteX16" fmla="*/ 435995 w 452217"/>
                <a:gd name="connsiteY16" fmla="*/ 81082 h 381174"/>
                <a:gd name="connsiteX17" fmla="*/ 401713 w 452217"/>
                <a:gd name="connsiteY17" fmla="*/ 153342 h 381174"/>
                <a:gd name="connsiteX18" fmla="*/ 377393 w 452217"/>
                <a:gd name="connsiteY18" fmla="*/ 185660 h 381174"/>
                <a:gd name="connsiteX19" fmla="*/ 348209 w 452217"/>
                <a:gd name="connsiteY19" fmla="*/ 213722 h 381174"/>
                <a:gd name="connsiteX20" fmla="*/ 279363 w 452217"/>
                <a:gd name="connsiteY20" fmla="*/ 255160 h 381174"/>
                <a:gd name="connsiteX21" fmla="*/ 130775 w 452217"/>
                <a:gd name="connsiteY21" fmla="*/ 304455 h 381174"/>
                <a:gd name="connsiteX22" fmla="*/ 62819 w 452217"/>
                <a:gd name="connsiteY22" fmla="*/ 337522 h 381174"/>
                <a:gd name="connsiteX23" fmla="*/ 33260 w 452217"/>
                <a:gd name="connsiteY23" fmla="*/ 360579 h 381174"/>
                <a:gd name="connsiteX24" fmla="*/ 16283 w 452217"/>
                <a:gd name="connsiteY24" fmla="*/ 370635 h 381174"/>
                <a:gd name="connsiteX25" fmla="*/ -788 w 452217"/>
                <a:gd name="connsiteY25" fmla="*/ 380924 h 381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52217" h="381174">
                  <a:moveTo>
                    <a:pt x="-1069" y="380784"/>
                  </a:moveTo>
                  <a:cubicBezTo>
                    <a:pt x="9828" y="372272"/>
                    <a:pt x="8940" y="354359"/>
                    <a:pt x="20398" y="346314"/>
                  </a:cubicBezTo>
                  <a:cubicBezTo>
                    <a:pt x="25216" y="341577"/>
                    <a:pt x="30314" y="337143"/>
                    <a:pt x="35645" y="333032"/>
                  </a:cubicBezTo>
                  <a:lnTo>
                    <a:pt x="52062" y="321105"/>
                  </a:lnTo>
                  <a:cubicBezTo>
                    <a:pt x="74745" y="306920"/>
                    <a:pt x="98925" y="295251"/>
                    <a:pt x="124181" y="286309"/>
                  </a:cubicBezTo>
                  <a:cubicBezTo>
                    <a:pt x="173991" y="268115"/>
                    <a:pt x="225157" y="257966"/>
                    <a:pt x="271740" y="237621"/>
                  </a:cubicBezTo>
                  <a:cubicBezTo>
                    <a:pt x="294844" y="227650"/>
                    <a:pt x="316499" y="214695"/>
                    <a:pt x="336235" y="199083"/>
                  </a:cubicBezTo>
                  <a:cubicBezTo>
                    <a:pt x="345730" y="190987"/>
                    <a:pt x="354756" y="182316"/>
                    <a:pt x="363222" y="173126"/>
                  </a:cubicBezTo>
                  <a:cubicBezTo>
                    <a:pt x="371453" y="163678"/>
                    <a:pt x="378983" y="153660"/>
                    <a:pt x="385811" y="143146"/>
                  </a:cubicBezTo>
                  <a:cubicBezTo>
                    <a:pt x="399141" y="121627"/>
                    <a:pt x="409991" y="98677"/>
                    <a:pt x="418176" y="74722"/>
                  </a:cubicBezTo>
                  <a:cubicBezTo>
                    <a:pt x="422339" y="62655"/>
                    <a:pt x="427202" y="46660"/>
                    <a:pt x="431178" y="34500"/>
                  </a:cubicBezTo>
                  <a:cubicBezTo>
                    <a:pt x="433330" y="28078"/>
                    <a:pt x="436790" y="22190"/>
                    <a:pt x="441421" y="17242"/>
                  </a:cubicBezTo>
                  <a:cubicBezTo>
                    <a:pt x="445817" y="12125"/>
                    <a:pt x="449138" y="6176"/>
                    <a:pt x="451149" y="-250"/>
                  </a:cubicBezTo>
                  <a:lnTo>
                    <a:pt x="451149" y="-250"/>
                  </a:lnTo>
                  <a:cubicBezTo>
                    <a:pt x="449325" y="6246"/>
                    <a:pt x="448904" y="13046"/>
                    <a:pt x="449839" y="19720"/>
                  </a:cubicBezTo>
                  <a:cubicBezTo>
                    <a:pt x="451056" y="26418"/>
                    <a:pt x="450775" y="33302"/>
                    <a:pt x="448997" y="39878"/>
                  </a:cubicBezTo>
                  <a:cubicBezTo>
                    <a:pt x="445443" y="52459"/>
                    <a:pt x="440439" y="68642"/>
                    <a:pt x="435995" y="81082"/>
                  </a:cubicBezTo>
                  <a:cubicBezTo>
                    <a:pt x="427343" y="106380"/>
                    <a:pt x="415838" y="130621"/>
                    <a:pt x="401713" y="153342"/>
                  </a:cubicBezTo>
                  <a:cubicBezTo>
                    <a:pt x="394417" y="164693"/>
                    <a:pt x="386279" y="175497"/>
                    <a:pt x="377393" y="185660"/>
                  </a:cubicBezTo>
                  <a:cubicBezTo>
                    <a:pt x="368273" y="195612"/>
                    <a:pt x="358498" y="204985"/>
                    <a:pt x="348209" y="213722"/>
                  </a:cubicBezTo>
                  <a:cubicBezTo>
                    <a:pt x="327162" y="230503"/>
                    <a:pt x="304011" y="244435"/>
                    <a:pt x="279363" y="255160"/>
                  </a:cubicBezTo>
                  <a:cubicBezTo>
                    <a:pt x="230302" y="276440"/>
                    <a:pt x="178714" y="286963"/>
                    <a:pt x="130775" y="304455"/>
                  </a:cubicBezTo>
                  <a:cubicBezTo>
                    <a:pt x="106970" y="312925"/>
                    <a:pt x="84193" y="324014"/>
                    <a:pt x="62819" y="337522"/>
                  </a:cubicBezTo>
                  <a:cubicBezTo>
                    <a:pt x="52529" y="344635"/>
                    <a:pt x="42661" y="352334"/>
                    <a:pt x="33260" y="360579"/>
                  </a:cubicBezTo>
                  <a:cubicBezTo>
                    <a:pt x="28116" y="364742"/>
                    <a:pt x="22410" y="368128"/>
                    <a:pt x="16283" y="370635"/>
                  </a:cubicBezTo>
                  <a:cubicBezTo>
                    <a:pt x="10250" y="373459"/>
                    <a:pt x="4543" y="376906"/>
                    <a:pt x="-788" y="380924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884DD33-AB55-4F1A-B121-71951981E1FC}"/>
                </a:ext>
              </a:extLst>
            </p:cNvPr>
            <p:cNvSpPr/>
            <p:nvPr/>
          </p:nvSpPr>
          <p:spPr>
            <a:xfrm>
              <a:off x="10649766" y="3473856"/>
              <a:ext cx="393614" cy="299233"/>
            </a:xfrm>
            <a:custGeom>
              <a:avLst/>
              <a:gdLst>
                <a:gd name="connsiteX0" fmla="*/ -1069 w 393614"/>
                <a:gd name="connsiteY0" fmla="*/ 298983 h 299233"/>
                <a:gd name="connsiteX1" fmla="*/ 11372 w 393614"/>
                <a:gd name="connsiteY1" fmla="*/ 287384 h 299233"/>
                <a:gd name="connsiteX2" fmla="*/ 22784 w 393614"/>
                <a:gd name="connsiteY2" fmla="*/ 273961 h 299233"/>
                <a:gd name="connsiteX3" fmla="*/ 37329 w 393614"/>
                <a:gd name="connsiteY3" fmla="*/ 265402 h 299233"/>
                <a:gd name="connsiteX4" fmla="*/ 52576 w 393614"/>
                <a:gd name="connsiteY4" fmla="*/ 258294 h 299233"/>
                <a:gd name="connsiteX5" fmla="*/ 115295 w 393614"/>
                <a:gd name="connsiteY5" fmla="*/ 236218 h 299233"/>
                <a:gd name="connsiteX6" fmla="*/ 237411 w 393614"/>
                <a:gd name="connsiteY6" fmla="*/ 194125 h 299233"/>
                <a:gd name="connsiteX7" fmla="*/ 332728 w 393614"/>
                <a:gd name="connsiteY7" fmla="*/ 113775 h 299233"/>
                <a:gd name="connsiteX8" fmla="*/ 362520 w 393614"/>
                <a:gd name="connsiteY8" fmla="*/ 57978 h 299233"/>
                <a:gd name="connsiteX9" fmla="*/ 368413 w 393614"/>
                <a:gd name="connsiteY9" fmla="*/ 43105 h 299233"/>
                <a:gd name="connsiteX10" fmla="*/ 374493 w 393614"/>
                <a:gd name="connsiteY10" fmla="*/ 28186 h 299233"/>
                <a:gd name="connsiteX11" fmla="*/ 384829 w 393614"/>
                <a:gd name="connsiteY11" fmla="*/ 14482 h 299233"/>
                <a:gd name="connsiteX12" fmla="*/ 392546 w 393614"/>
                <a:gd name="connsiteY12" fmla="*/ -250 h 299233"/>
                <a:gd name="connsiteX13" fmla="*/ 392546 w 393614"/>
                <a:gd name="connsiteY13" fmla="*/ -250 h 299233"/>
                <a:gd name="connsiteX14" fmla="*/ 390676 w 393614"/>
                <a:gd name="connsiteY14" fmla="*/ 16306 h 299233"/>
                <a:gd name="connsiteX15" fmla="*/ 390956 w 393614"/>
                <a:gd name="connsiteY15" fmla="*/ 33751 h 299233"/>
                <a:gd name="connsiteX16" fmla="*/ 386279 w 393614"/>
                <a:gd name="connsiteY16" fmla="*/ 49653 h 299233"/>
                <a:gd name="connsiteX17" fmla="*/ 380292 w 393614"/>
                <a:gd name="connsiteY17" fmla="*/ 65274 h 299233"/>
                <a:gd name="connsiteX18" fmla="*/ 348395 w 393614"/>
                <a:gd name="connsiteY18" fmla="*/ 124579 h 299233"/>
                <a:gd name="connsiteX19" fmla="*/ 245876 w 393614"/>
                <a:gd name="connsiteY19" fmla="*/ 211149 h 299233"/>
                <a:gd name="connsiteX20" fmla="*/ 120954 w 393614"/>
                <a:gd name="connsiteY20" fmla="*/ 254458 h 299233"/>
                <a:gd name="connsiteX21" fmla="*/ 60153 w 393614"/>
                <a:gd name="connsiteY21" fmla="*/ 275973 h 299233"/>
                <a:gd name="connsiteX22" fmla="*/ 45748 w 393614"/>
                <a:gd name="connsiteY22" fmla="*/ 282707 h 299233"/>
                <a:gd name="connsiteX23" fmla="*/ 31389 w 393614"/>
                <a:gd name="connsiteY23" fmla="*/ 289442 h 299233"/>
                <a:gd name="connsiteX24" fmla="*/ 14693 w 393614"/>
                <a:gd name="connsiteY24" fmla="*/ 292669 h 299233"/>
                <a:gd name="connsiteX25" fmla="*/ -929 w 393614"/>
                <a:gd name="connsiteY25" fmla="*/ 298749 h 29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93614" h="299233">
                  <a:moveTo>
                    <a:pt x="-1069" y="298983"/>
                  </a:moveTo>
                  <a:cubicBezTo>
                    <a:pt x="3655" y="295808"/>
                    <a:pt x="7864" y="291888"/>
                    <a:pt x="11372" y="287384"/>
                  </a:cubicBezTo>
                  <a:cubicBezTo>
                    <a:pt x="14271" y="282212"/>
                    <a:pt x="18154" y="277656"/>
                    <a:pt x="22784" y="273961"/>
                  </a:cubicBezTo>
                  <a:cubicBezTo>
                    <a:pt x="27274" y="270542"/>
                    <a:pt x="32138" y="267666"/>
                    <a:pt x="37329" y="265402"/>
                  </a:cubicBezTo>
                  <a:lnTo>
                    <a:pt x="52576" y="258294"/>
                  </a:lnTo>
                  <a:cubicBezTo>
                    <a:pt x="73249" y="249781"/>
                    <a:pt x="94248" y="242579"/>
                    <a:pt x="115295" y="236218"/>
                  </a:cubicBezTo>
                  <a:cubicBezTo>
                    <a:pt x="157388" y="223684"/>
                    <a:pt x="199480" y="212833"/>
                    <a:pt x="237411" y="194125"/>
                  </a:cubicBezTo>
                  <a:cubicBezTo>
                    <a:pt x="275621" y="176044"/>
                    <a:pt x="308454" y="148356"/>
                    <a:pt x="332728" y="113775"/>
                  </a:cubicBezTo>
                  <a:cubicBezTo>
                    <a:pt x="344700" y="96334"/>
                    <a:pt x="354662" y="77622"/>
                    <a:pt x="362520" y="57978"/>
                  </a:cubicBezTo>
                  <a:lnTo>
                    <a:pt x="368413" y="43105"/>
                  </a:lnTo>
                  <a:cubicBezTo>
                    <a:pt x="370143" y="38008"/>
                    <a:pt x="372154" y="33027"/>
                    <a:pt x="374493" y="28186"/>
                  </a:cubicBezTo>
                  <a:cubicBezTo>
                    <a:pt x="377346" y="23191"/>
                    <a:pt x="380807" y="18584"/>
                    <a:pt x="384829" y="14482"/>
                  </a:cubicBezTo>
                  <a:cubicBezTo>
                    <a:pt x="388197" y="10020"/>
                    <a:pt x="390769" y="5044"/>
                    <a:pt x="392546" y="-250"/>
                  </a:cubicBezTo>
                  <a:lnTo>
                    <a:pt x="392546" y="-250"/>
                  </a:lnTo>
                  <a:cubicBezTo>
                    <a:pt x="391049" y="5138"/>
                    <a:pt x="390441" y="10722"/>
                    <a:pt x="390676" y="16306"/>
                  </a:cubicBezTo>
                  <a:cubicBezTo>
                    <a:pt x="391611" y="22078"/>
                    <a:pt x="391704" y="27952"/>
                    <a:pt x="390956" y="33751"/>
                  </a:cubicBezTo>
                  <a:cubicBezTo>
                    <a:pt x="389833" y="39172"/>
                    <a:pt x="388290" y="44494"/>
                    <a:pt x="386279" y="49653"/>
                  </a:cubicBezTo>
                  <a:cubicBezTo>
                    <a:pt x="384455" y="54891"/>
                    <a:pt x="382444" y="60130"/>
                    <a:pt x="380292" y="65274"/>
                  </a:cubicBezTo>
                  <a:cubicBezTo>
                    <a:pt x="371780" y="86120"/>
                    <a:pt x="361117" y="106001"/>
                    <a:pt x="348395" y="124579"/>
                  </a:cubicBezTo>
                  <a:cubicBezTo>
                    <a:pt x="322298" y="161817"/>
                    <a:pt x="286940" y="191646"/>
                    <a:pt x="245876" y="211149"/>
                  </a:cubicBezTo>
                  <a:cubicBezTo>
                    <a:pt x="205420" y="230886"/>
                    <a:pt x="162345" y="241877"/>
                    <a:pt x="120954" y="254458"/>
                  </a:cubicBezTo>
                  <a:cubicBezTo>
                    <a:pt x="100328" y="260548"/>
                    <a:pt x="80030" y="267732"/>
                    <a:pt x="60153" y="275973"/>
                  </a:cubicBezTo>
                  <a:cubicBezTo>
                    <a:pt x="55476" y="278311"/>
                    <a:pt x="50799" y="280649"/>
                    <a:pt x="45748" y="282707"/>
                  </a:cubicBezTo>
                  <a:cubicBezTo>
                    <a:pt x="40696" y="284765"/>
                    <a:pt x="36394" y="287758"/>
                    <a:pt x="31389" y="289442"/>
                  </a:cubicBezTo>
                  <a:cubicBezTo>
                    <a:pt x="25918" y="290990"/>
                    <a:pt x="20352" y="292071"/>
                    <a:pt x="14693" y="292669"/>
                  </a:cubicBezTo>
                  <a:cubicBezTo>
                    <a:pt x="9080" y="293488"/>
                    <a:pt x="3748" y="295569"/>
                    <a:pt x="-929" y="298749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8F9AA5DB-A869-4DA4-8ABC-70ABDEA7B744}"/>
                </a:ext>
              </a:extLst>
            </p:cNvPr>
            <p:cNvSpPr/>
            <p:nvPr/>
          </p:nvSpPr>
          <p:spPr>
            <a:xfrm>
              <a:off x="10644948" y="3484472"/>
              <a:ext cx="337867" cy="222016"/>
            </a:xfrm>
            <a:custGeom>
              <a:avLst/>
              <a:gdLst>
                <a:gd name="connsiteX0" fmla="*/ -1069 w 337867"/>
                <a:gd name="connsiteY0" fmla="*/ 221579 h 222016"/>
                <a:gd name="connsiteX1" fmla="*/ 10624 w 337867"/>
                <a:gd name="connsiteY1" fmla="*/ 215265 h 222016"/>
                <a:gd name="connsiteX2" fmla="*/ 20773 w 337867"/>
                <a:gd name="connsiteY2" fmla="*/ 205069 h 222016"/>
                <a:gd name="connsiteX3" fmla="*/ 45093 w 337867"/>
                <a:gd name="connsiteY3" fmla="*/ 193330 h 222016"/>
                <a:gd name="connsiteX4" fmla="*/ 95979 w 337867"/>
                <a:gd name="connsiteY4" fmla="*/ 177382 h 222016"/>
                <a:gd name="connsiteX5" fmla="*/ 194195 w 337867"/>
                <a:gd name="connsiteY5" fmla="*/ 143286 h 222016"/>
                <a:gd name="connsiteX6" fmla="*/ 238346 w 337867"/>
                <a:gd name="connsiteY6" fmla="*/ 117750 h 222016"/>
                <a:gd name="connsiteX7" fmla="*/ 276136 w 337867"/>
                <a:gd name="connsiteY7" fmla="*/ 83889 h 222016"/>
                <a:gd name="connsiteX8" fmla="*/ 305929 w 337867"/>
                <a:gd name="connsiteY8" fmla="*/ 42731 h 222016"/>
                <a:gd name="connsiteX9" fmla="*/ 319960 w 337867"/>
                <a:gd name="connsiteY9" fmla="*/ 21030 h 222016"/>
                <a:gd name="connsiteX10" fmla="*/ 330062 w 337867"/>
                <a:gd name="connsiteY10" fmla="*/ 11255 h 222016"/>
                <a:gd name="connsiteX11" fmla="*/ 336797 w 337867"/>
                <a:gd name="connsiteY11" fmla="*/ -250 h 222016"/>
                <a:gd name="connsiteX12" fmla="*/ 336797 w 337867"/>
                <a:gd name="connsiteY12" fmla="*/ -250 h 222016"/>
                <a:gd name="connsiteX13" fmla="*/ 290308 w 337867"/>
                <a:gd name="connsiteY13" fmla="*/ 96517 h 222016"/>
                <a:gd name="connsiteX14" fmla="*/ 249524 w 337867"/>
                <a:gd name="connsiteY14" fmla="*/ 133091 h 222016"/>
                <a:gd name="connsiteX15" fmla="*/ 202333 w 337867"/>
                <a:gd name="connsiteY15" fmla="*/ 160404 h 222016"/>
                <a:gd name="connsiteX16" fmla="*/ 101264 w 337867"/>
                <a:gd name="connsiteY16" fmla="*/ 195669 h 222016"/>
                <a:gd name="connsiteX17" fmla="*/ 51313 w 337867"/>
                <a:gd name="connsiteY17" fmla="*/ 211383 h 222016"/>
                <a:gd name="connsiteX18" fmla="*/ 26245 w 337867"/>
                <a:gd name="connsiteY18" fmla="*/ 218492 h 222016"/>
                <a:gd name="connsiteX19" fmla="*/ 12214 w 337867"/>
                <a:gd name="connsiteY19" fmla="*/ 218820 h 222016"/>
                <a:gd name="connsiteX20" fmla="*/ -1022 w 337867"/>
                <a:gd name="connsiteY20" fmla="*/ 221766 h 222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37867" h="222016">
                  <a:moveTo>
                    <a:pt x="-1069" y="221579"/>
                  </a:moveTo>
                  <a:cubicBezTo>
                    <a:pt x="3047" y="219923"/>
                    <a:pt x="6976" y="217805"/>
                    <a:pt x="10624" y="215265"/>
                  </a:cubicBezTo>
                  <a:cubicBezTo>
                    <a:pt x="14038" y="212038"/>
                    <a:pt x="17172" y="208109"/>
                    <a:pt x="20773" y="205069"/>
                  </a:cubicBezTo>
                  <a:cubicBezTo>
                    <a:pt x="27928" y="198755"/>
                    <a:pt x="36721" y="196604"/>
                    <a:pt x="45093" y="193330"/>
                  </a:cubicBezTo>
                  <a:cubicBezTo>
                    <a:pt x="61977" y="187437"/>
                    <a:pt x="79048" y="182292"/>
                    <a:pt x="95979" y="177382"/>
                  </a:cubicBezTo>
                  <a:cubicBezTo>
                    <a:pt x="129840" y="167560"/>
                    <a:pt x="163374" y="157879"/>
                    <a:pt x="194195" y="143286"/>
                  </a:cubicBezTo>
                  <a:cubicBezTo>
                    <a:pt x="209630" y="136107"/>
                    <a:pt x="224409" y="127562"/>
                    <a:pt x="238346" y="117750"/>
                  </a:cubicBezTo>
                  <a:cubicBezTo>
                    <a:pt x="252003" y="107709"/>
                    <a:pt x="264677" y="96372"/>
                    <a:pt x="276136" y="83889"/>
                  </a:cubicBezTo>
                  <a:cubicBezTo>
                    <a:pt x="287454" y="71242"/>
                    <a:pt x="297463" y="57450"/>
                    <a:pt x="305929" y="42731"/>
                  </a:cubicBezTo>
                  <a:cubicBezTo>
                    <a:pt x="310606" y="35482"/>
                    <a:pt x="313505" y="27531"/>
                    <a:pt x="319960" y="21030"/>
                  </a:cubicBezTo>
                  <a:cubicBezTo>
                    <a:pt x="323140" y="17756"/>
                    <a:pt x="327069" y="14763"/>
                    <a:pt x="330062" y="11255"/>
                  </a:cubicBezTo>
                  <a:cubicBezTo>
                    <a:pt x="332774" y="7715"/>
                    <a:pt x="335019" y="3847"/>
                    <a:pt x="336797" y="-250"/>
                  </a:cubicBezTo>
                  <a:lnTo>
                    <a:pt x="336797" y="-250"/>
                  </a:lnTo>
                  <a:cubicBezTo>
                    <a:pt x="337077" y="37961"/>
                    <a:pt x="313786" y="69109"/>
                    <a:pt x="290308" y="96517"/>
                  </a:cubicBezTo>
                  <a:cubicBezTo>
                    <a:pt x="277960" y="110010"/>
                    <a:pt x="264303" y="122259"/>
                    <a:pt x="249524" y="133091"/>
                  </a:cubicBezTo>
                  <a:cubicBezTo>
                    <a:pt x="234651" y="143576"/>
                    <a:pt x="218843" y="152720"/>
                    <a:pt x="202333" y="160404"/>
                  </a:cubicBezTo>
                  <a:cubicBezTo>
                    <a:pt x="169594" y="175885"/>
                    <a:pt x="134891" y="185566"/>
                    <a:pt x="101264" y="195669"/>
                  </a:cubicBezTo>
                  <a:cubicBezTo>
                    <a:pt x="84333" y="200579"/>
                    <a:pt x="67730" y="205771"/>
                    <a:pt x="51313" y="211383"/>
                  </a:cubicBezTo>
                  <a:cubicBezTo>
                    <a:pt x="43269" y="214760"/>
                    <a:pt x="34851" y="217145"/>
                    <a:pt x="26245" y="218492"/>
                  </a:cubicBezTo>
                  <a:cubicBezTo>
                    <a:pt x="21568" y="218347"/>
                    <a:pt x="16891" y="218455"/>
                    <a:pt x="12214" y="218820"/>
                  </a:cubicBezTo>
                  <a:cubicBezTo>
                    <a:pt x="7724" y="219428"/>
                    <a:pt x="3281" y="220410"/>
                    <a:pt x="-1022" y="22176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F72FB699-5051-448D-8C3C-58F426159043}"/>
                </a:ext>
              </a:extLst>
            </p:cNvPr>
            <p:cNvSpPr/>
            <p:nvPr/>
          </p:nvSpPr>
          <p:spPr>
            <a:xfrm>
              <a:off x="10650421" y="3486203"/>
              <a:ext cx="269627" cy="159391"/>
            </a:xfrm>
            <a:custGeom>
              <a:avLst/>
              <a:gdLst>
                <a:gd name="connsiteX0" fmla="*/ -882 w 269627"/>
                <a:gd name="connsiteY0" fmla="*/ 158954 h 159391"/>
                <a:gd name="connsiteX1" fmla="*/ 16750 w 269627"/>
                <a:gd name="connsiteY1" fmla="*/ 147355 h 159391"/>
                <a:gd name="connsiteX2" fmla="*/ 34710 w 269627"/>
                <a:gd name="connsiteY2" fmla="*/ 136879 h 159391"/>
                <a:gd name="connsiteX3" fmla="*/ 73295 w 269627"/>
                <a:gd name="connsiteY3" fmla="*/ 125467 h 159391"/>
                <a:gd name="connsiteX4" fmla="*/ 147519 w 269627"/>
                <a:gd name="connsiteY4" fmla="*/ 98247 h 159391"/>
                <a:gd name="connsiteX5" fmla="*/ 212014 w 269627"/>
                <a:gd name="connsiteY5" fmla="*/ 55546 h 159391"/>
                <a:gd name="connsiteX6" fmla="*/ 238439 w 269627"/>
                <a:gd name="connsiteY6" fmla="*/ 27484 h 159391"/>
                <a:gd name="connsiteX7" fmla="*/ 268091 w 269627"/>
                <a:gd name="connsiteY7" fmla="*/ -250 h 159391"/>
                <a:gd name="connsiteX8" fmla="*/ 268559 w 269627"/>
                <a:gd name="connsiteY8" fmla="*/ -250 h 159391"/>
                <a:gd name="connsiteX9" fmla="*/ 253219 w 269627"/>
                <a:gd name="connsiteY9" fmla="*/ 39130 h 159391"/>
                <a:gd name="connsiteX10" fmla="*/ 224829 w 269627"/>
                <a:gd name="connsiteY10" fmla="*/ 69717 h 159391"/>
                <a:gd name="connsiteX11" fmla="*/ 155610 w 269627"/>
                <a:gd name="connsiteY11" fmla="*/ 115599 h 159391"/>
                <a:gd name="connsiteX12" fmla="*/ 78767 w 269627"/>
                <a:gd name="connsiteY12" fmla="*/ 143661 h 159391"/>
                <a:gd name="connsiteX13" fmla="*/ 40135 w 269627"/>
                <a:gd name="connsiteY13" fmla="*/ 155119 h 159391"/>
                <a:gd name="connsiteX14" fmla="*/ 19603 w 269627"/>
                <a:gd name="connsiteY14" fmla="*/ 156429 h 159391"/>
                <a:gd name="connsiteX15" fmla="*/ -1069 w 269627"/>
                <a:gd name="connsiteY15" fmla="*/ 159141 h 15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9627" h="159391">
                  <a:moveTo>
                    <a:pt x="-882" y="158954"/>
                  </a:moveTo>
                  <a:cubicBezTo>
                    <a:pt x="5525" y="155938"/>
                    <a:pt x="11465" y="152032"/>
                    <a:pt x="16750" y="147355"/>
                  </a:cubicBezTo>
                  <a:cubicBezTo>
                    <a:pt x="21801" y="142473"/>
                    <a:pt x="27975" y="138881"/>
                    <a:pt x="34710" y="136879"/>
                  </a:cubicBezTo>
                  <a:cubicBezTo>
                    <a:pt x="47571" y="132763"/>
                    <a:pt x="60527" y="129302"/>
                    <a:pt x="73295" y="125467"/>
                  </a:cubicBezTo>
                  <a:cubicBezTo>
                    <a:pt x="98691" y="118269"/>
                    <a:pt x="123479" y="109172"/>
                    <a:pt x="147519" y="98247"/>
                  </a:cubicBezTo>
                  <a:cubicBezTo>
                    <a:pt x="171091" y="87434"/>
                    <a:pt x="192839" y="73029"/>
                    <a:pt x="212014" y="55546"/>
                  </a:cubicBezTo>
                  <a:cubicBezTo>
                    <a:pt x="221556" y="46917"/>
                    <a:pt x="230395" y="37535"/>
                    <a:pt x="238439" y="27484"/>
                  </a:cubicBezTo>
                  <a:cubicBezTo>
                    <a:pt x="245455" y="16914"/>
                    <a:pt x="261824" y="11302"/>
                    <a:pt x="268091" y="-250"/>
                  </a:cubicBezTo>
                  <a:lnTo>
                    <a:pt x="268559" y="-250"/>
                  </a:lnTo>
                  <a:cubicBezTo>
                    <a:pt x="263368" y="13266"/>
                    <a:pt x="262853" y="28607"/>
                    <a:pt x="253219" y="39130"/>
                  </a:cubicBezTo>
                  <a:cubicBezTo>
                    <a:pt x="244800" y="50233"/>
                    <a:pt x="235259" y="60480"/>
                    <a:pt x="224829" y="69717"/>
                  </a:cubicBezTo>
                  <a:cubicBezTo>
                    <a:pt x="204250" y="88500"/>
                    <a:pt x="180912" y="103976"/>
                    <a:pt x="155610" y="115599"/>
                  </a:cubicBezTo>
                  <a:cubicBezTo>
                    <a:pt x="130728" y="126894"/>
                    <a:pt x="105052" y="136276"/>
                    <a:pt x="78767" y="143661"/>
                  </a:cubicBezTo>
                  <a:cubicBezTo>
                    <a:pt x="65859" y="147542"/>
                    <a:pt x="52997" y="151471"/>
                    <a:pt x="40135" y="155119"/>
                  </a:cubicBezTo>
                  <a:cubicBezTo>
                    <a:pt x="33447" y="157046"/>
                    <a:pt x="26478" y="157495"/>
                    <a:pt x="19603" y="156429"/>
                  </a:cubicBezTo>
                  <a:cubicBezTo>
                    <a:pt x="12588" y="155554"/>
                    <a:pt x="5479" y="156490"/>
                    <a:pt x="-1069" y="159141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E3B96DB4-E8FC-4A37-88E3-32BF5C6B0293}"/>
                </a:ext>
              </a:extLst>
            </p:cNvPr>
            <p:cNvSpPr/>
            <p:nvPr/>
          </p:nvSpPr>
          <p:spPr>
            <a:xfrm>
              <a:off x="10640833" y="3481199"/>
              <a:ext cx="210277" cy="110096"/>
            </a:xfrm>
            <a:custGeom>
              <a:avLst/>
              <a:gdLst>
                <a:gd name="connsiteX0" fmla="*/ -1069 w 210277"/>
                <a:gd name="connsiteY0" fmla="*/ 109706 h 110096"/>
                <a:gd name="connsiteX1" fmla="*/ 12635 w 210277"/>
                <a:gd name="connsiteY1" fmla="*/ 103018 h 110096"/>
                <a:gd name="connsiteX2" fmla="*/ 25497 w 210277"/>
                <a:gd name="connsiteY2" fmla="*/ 93336 h 110096"/>
                <a:gd name="connsiteX3" fmla="*/ 39528 w 210277"/>
                <a:gd name="connsiteY3" fmla="*/ 87958 h 110096"/>
                <a:gd name="connsiteX4" fmla="*/ 53559 w 210277"/>
                <a:gd name="connsiteY4" fmla="*/ 83281 h 110096"/>
                <a:gd name="connsiteX5" fmla="*/ 109074 w 210277"/>
                <a:gd name="connsiteY5" fmla="*/ 62749 h 110096"/>
                <a:gd name="connsiteX6" fmla="*/ 159820 w 210277"/>
                <a:gd name="connsiteY6" fmla="*/ 33424 h 110096"/>
                <a:gd name="connsiteX7" fmla="*/ 182924 w 210277"/>
                <a:gd name="connsiteY7" fmla="*/ 15698 h 110096"/>
                <a:gd name="connsiteX8" fmla="*/ 197189 w 210277"/>
                <a:gd name="connsiteY8" fmla="*/ 9104 h 110096"/>
                <a:gd name="connsiteX9" fmla="*/ 209208 w 210277"/>
                <a:gd name="connsiteY9" fmla="*/ -250 h 110096"/>
                <a:gd name="connsiteX10" fmla="*/ 209208 w 210277"/>
                <a:gd name="connsiteY10" fmla="*/ -250 h 110096"/>
                <a:gd name="connsiteX11" fmla="*/ 200977 w 210277"/>
                <a:gd name="connsiteY11" fmla="*/ 12658 h 110096"/>
                <a:gd name="connsiteX12" fmla="*/ 194242 w 210277"/>
                <a:gd name="connsiteY12" fmla="*/ 27718 h 110096"/>
                <a:gd name="connsiteX13" fmla="*/ 183391 w 210277"/>
                <a:gd name="connsiteY13" fmla="*/ 39036 h 110096"/>
                <a:gd name="connsiteX14" fmla="*/ 171184 w 210277"/>
                <a:gd name="connsiteY14" fmla="*/ 48858 h 110096"/>
                <a:gd name="connsiteX15" fmla="*/ 117306 w 210277"/>
                <a:gd name="connsiteY15" fmla="*/ 80147 h 110096"/>
                <a:gd name="connsiteX16" fmla="*/ 59685 w 210277"/>
                <a:gd name="connsiteY16" fmla="*/ 101661 h 110096"/>
                <a:gd name="connsiteX17" fmla="*/ 45093 w 210277"/>
                <a:gd name="connsiteY17" fmla="*/ 105964 h 110096"/>
                <a:gd name="connsiteX18" fmla="*/ 30220 w 210277"/>
                <a:gd name="connsiteY18" fmla="*/ 109191 h 110096"/>
                <a:gd name="connsiteX19" fmla="*/ 14131 w 210277"/>
                <a:gd name="connsiteY19" fmla="*/ 108022 h 110096"/>
                <a:gd name="connsiteX20" fmla="*/ -695 w 210277"/>
                <a:gd name="connsiteY20" fmla="*/ 109846 h 11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10277" h="110096">
                  <a:moveTo>
                    <a:pt x="-1069" y="109706"/>
                  </a:moveTo>
                  <a:cubicBezTo>
                    <a:pt x="3935" y="108532"/>
                    <a:pt x="8612" y="106245"/>
                    <a:pt x="12635" y="103018"/>
                  </a:cubicBezTo>
                  <a:cubicBezTo>
                    <a:pt x="16657" y="99458"/>
                    <a:pt x="20960" y="96222"/>
                    <a:pt x="25497" y="93336"/>
                  </a:cubicBezTo>
                  <a:cubicBezTo>
                    <a:pt x="29987" y="91040"/>
                    <a:pt x="34664" y="89235"/>
                    <a:pt x="39528" y="87958"/>
                  </a:cubicBezTo>
                  <a:lnTo>
                    <a:pt x="53559" y="83281"/>
                  </a:lnTo>
                  <a:cubicBezTo>
                    <a:pt x="72453" y="77607"/>
                    <a:pt x="91021" y="70751"/>
                    <a:pt x="109074" y="62749"/>
                  </a:cubicBezTo>
                  <a:cubicBezTo>
                    <a:pt x="127034" y="54873"/>
                    <a:pt x="144058" y="45037"/>
                    <a:pt x="159820" y="33424"/>
                  </a:cubicBezTo>
                  <a:cubicBezTo>
                    <a:pt x="167958" y="28092"/>
                    <a:pt x="174552" y="20983"/>
                    <a:pt x="182924" y="15698"/>
                  </a:cubicBezTo>
                  <a:cubicBezTo>
                    <a:pt x="187274" y="13219"/>
                    <a:pt x="192278" y="11536"/>
                    <a:pt x="197189" y="9104"/>
                  </a:cubicBezTo>
                  <a:cubicBezTo>
                    <a:pt x="201585" y="6541"/>
                    <a:pt x="205654" y="3393"/>
                    <a:pt x="209208" y="-250"/>
                  </a:cubicBezTo>
                  <a:lnTo>
                    <a:pt x="209208" y="-250"/>
                  </a:lnTo>
                  <a:cubicBezTo>
                    <a:pt x="205888" y="3660"/>
                    <a:pt x="203129" y="8005"/>
                    <a:pt x="200977" y="12658"/>
                  </a:cubicBezTo>
                  <a:cubicBezTo>
                    <a:pt x="199434" y="17962"/>
                    <a:pt x="197142" y="23027"/>
                    <a:pt x="194242" y="27718"/>
                  </a:cubicBezTo>
                  <a:cubicBezTo>
                    <a:pt x="191249" y="32030"/>
                    <a:pt x="187554" y="35847"/>
                    <a:pt x="183391" y="39036"/>
                  </a:cubicBezTo>
                  <a:cubicBezTo>
                    <a:pt x="179463" y="42497"/>
                    <a:pt x="175394" y="45771"/>
                    <a:pt x="171184" y="48858"/>
                  </a:cubicBezTo>
                  <a:cubicBezTo>
                    <a:pt x="154347" y="61088"/>
                    <a:pt x="136294" y="71570"/>
                    <a:pt x="117306" y="80147"/>
                  </a:cubicBezTo>
                  <a:cubicBezTo>
                    <a:pt x="98504" y="88374"/>
                    <a:pt x="79282" y="95558"/>
                    <a:pt x="59685" y="101661"/>
                  </a:cubicBezTo>
                  <a:lnTo>
                    <a:pt x="45093" y="105964"/>
                  </a:lnTo>
                  <a:cubicBezTo>
                    <a:pt x="40276" y="107624"/>
                    <a:pt x="35272" y="108705"/>
                    <a:pt x="30220" y="109191"/>
                  </a:cubicBezTo>
                  <a:cubicBezTo>
                    <a:pt x="24842" y="109238"/>
                    <a:pt x="19463" y="108845"/>
                    <a:pt x="14131" y="108022"/>
                  </a:cubicBezTo>
                  <a:cubicBezTo>
                    <a:pt x="9127" y="108017"/>
                    <a:pt x="4169" y="108630"/>
                    <a:pt x="-695" y="10984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BDCD4FEF-8517-4D5E-BB84-24F3191DF2BE}"/>
                </a:ext>
              </a:extLst>
            </p:cNvPr>
            <p:cNvSpPr/>
            <p:nvPr/>
          </p:nvSpPr>
          <p:spPr>
            <a:xfrm>
              <a:off x="10651730" y="3482555"/>
              <a:ext cx="109535" cy="50184"/>
            </a:xfrm>
            <a:custGeom>
              <a:avLst/>
              <a:gdLst>
                <a:gd name="connsiteX0" fmla="*/ -1069 w 109535"/>
                <a:gd name="connsiteY0" fmla="*/ 49840 h 50184"/>
                <a:gd name="connsiteX1" fmla="*/ 12588 w 109535"/>
                <a:gd name="connsiteY1" fmla="*/ 42731 h 50184"/>
                <a:gd name="connsiteX2" fmla="*/ 24889 w 109535"/>
                <a:gd name="connsiteY2" fmla="*/ 32535 h 50184"/>
                <a:gd name="connsiteX3" fmla="*/ 38359 w 109535"/>
                <a:gd name="connsiteY3" fmla="*/ 26268 h 50184"/>
                <a:gd name="connsiteX4" fmla="*/ 51875 w 109535"/>
                <a:gd name="connsiteY4" fmla="*/ 20422 h 50184"/>
                <a:gd name="connsiteX5" fmla="*/ 65298 w 109535"/>
                <a:gd name="connsiteY5" fmla="*/ 14435 h 50184"/>
                <a:gd name="connsiteX6" fmla="*/ 78815 w 109535"/>
                <a:gd name="connsiteY6" fmla="*/ 8683 h 50184"/>
                <a:gd name="connsiteX7" fmla="*/ 94436 w 109535"/>
                <a:gd name="connsiteY7" fmla="*/ 6017 h 50184"/>
                <a:gd name="connsiteX8" fmla="*/ 108466 w 109535"/>
                <a:gd name="connsiteY8" fmla="*/ -250 h 50184"/>
                <a:gd name="connsiteX9" fmla="*/ 108466 w 109535"/>
                <a:gd name="connsiteY9" fmla="*/ -250 h 50184"/>
                <a:gd name="connsiteX10" fmla="*/ 97288 w 109535"/>
                <a:gd name="connsiteY10" fmla="*/ 10367 h 50184"/>
                <a:gd name="connsiteX11" fmla="*/ 86906 w 109535"/>
                <a:gd name="connsiteY11" fmla="*/ 23041 h 50184"/>
                <a:gd name="connsiteX12" fmla="*/ 73670 w 109535"/>
                <a:gd name="connsiteY12" fmla="*/ 31273 h 50184"/>
                <a:gd name="connsiteX13" fmla="*/ 59639 w 109535"/>
                <a:gd name="connsiteY13" fmla="*/ 38054 h 50184"/>
                <a:gd name="connsiteX14" fmla="*/ 45280 w 109535"/>
                <a:gd name="connsiteY14" fmla="*/ 43760 h 50184"/>
                <a:gd name="connsiteX15" fmla="*/ 30454 w 109535"/>
                <a:gd name="connsiteY15" fmla="*/ 48063 h 50184"/>
                <a:gd name="connsiteX16" fmla="*/ 14225 w 109535"/>
                <a:gd name="connsiteY16" fmla="*/ 47642 h 50184"/>
                <a:gd name="connsiteX17" fmla="*/ -741 w 109535"/>
                <a:gd name="connsiteY17" fmla="*/ 49934 h 50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9535" h="50184">
                  <a:moveTo>
                    <a:pt x="-1069" y="49840"/>
                  </a:moveTo>
                  <a:cubicBezTo>
                    <a:pt x="3936" y="48451"/>
                    <a:pt x="8566" y="46033"/>
                    <a:pt x="12588" y="42731"/>
                  </a:cubicBezTo>
                  <a:cubicBezTo>
                    <a:pt x="16470" y="39079"/>
                    <a:pt x="20586" y="35674"/>
                    <a:pt x="24889" y="32535"/>
                  </a:cubicBezTo>
                  <a:cubicBezTo>
                    <a:pt x="29145" y="29996"/>
                    <a:pt x="33682" y="27896"/>
                    <a:pt x="38359" y="26268"/>
                  </a:cubicBezTo>
                  <a:cubicBezTo>
                    <a:pt x="43035" y="24397"/>
                    <a:pt x="47432" y="22433"/>
                    <a:pt x="51875" y="20422"/>
                  </a:cubicBezTo>
                  <a:cubicBezTo>
                    <a:pt x="56318" y="18411"/>
                    <a:pt x="60901" y="16540"/>
                    <a:pt x="65298" y="14435"/>
                  </a:cubicBezTo>
                  <a:cubicBezTo>
                    <a:pt x="69600" y="12111"/>
                    <a:pt x="74138" y="10184"/>
                    <a:pt x="78815" y="8683"/>
                  </a:cubicBezTo>
                  <a:cubicBezTo>
                    <a:pt x="83959" y="7504"/>
                    <a:pt x="89197" y="6616"/>
                    <a:pt x="94436" y="6017"/>
                  </a:cubicBezTo>
                  <a:cubicBezTo>
                    <a:pt x="99440" y="4693"/>
                    <a:pt x="104163" y="2575"/>
                    <a:pt x="108466" y="-250"/>
                  </a:cubicBezTo>
                  <a:lnTo>
                    <a:pt x="108466" y="-250"/>
                  </a:lnTo>
                  <a:cubicBezTo>
                    <a:pt x="104351" y="2855"/>
                    <a:pt x="100609" y="6414"/>
                    <a:pt x="97288" y="10367"/>
                  </a:cubicBezTo>
                  <a:cubicBezTo>
                    <a:pt x="94248" y="14931"/>
                    <a:pt x="90787" y="19178"/>
                    <a:pt x="86906" y="23041"/>
                  </a:cubicBezTo>
                  <a:cubicBezTo>
                    <a:pt x="82883" y="26357"/>
                    <a:pt x="78440" y="29126"/>
                    <a:pt x="73670" y="31273"/>
                  </a:cubicBezTo>
                  <a:cubicBezTo>
                    <a:pt x="68993" y="33611"/>
                    <a:pt x="64316" y="35950"/>
                    <a:pt x="59639" y="38054"/>
                  </a:cubicBezTo>
                  <a:lnTo>
                    <a:pt x="45280" y="43760"/>
                  </a:lnTo>
                  <a:cubicBezTo>
                    <a:pt x="40557" y="45804"/>
                    <a:pt x="35552" y="47249"/>
                    <a:pt x="30454" y="48063"/>
                  </a:cubicBezTo>
                  <a:cubicBezTo>
                    <a:pt x="25029" y="48409"/>
                    <a:pt x="19604" y="48269"/>
                    <a:pt x="14225" y="47642"/>
                  </a:cubicBezTo>
                  <a:cubicBezTo>
                    <a:pt x="9174" y="47932"/>
                    <a:pt x="4169" y="48699"/>
                    <a:pt x="-741" y="49934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7D88F79F-5B7B-4242-ABEE-245355AEBC77}"/>
                </a:ext>
              </a:extLst>
            </p:cNvPr>
            <p:cNvSpPr/>
            <p:nvPr/>
          </p:nvSpPr>
          <p:spPr>
            <a:xfrm>
              <a:off x="7776087" y="5678726"/>
              <a:ext cx="253071" cy="179487"/>
            </a:xfrm>
            <a:custGeom>
              <a:avLst/>
              <a:gdLst>
                <a:gd name="connsiteX0" fmla="*/ -788 w 253071"/>
                <a:gd name="connsiteY0" fmla="*/ 176821 h 179487"/>
                <a:gd name="connsiteX1" fmla="*/ 16704 w 253071"/>
                <a:gd name="connsiteY1" fmla="*/ 165175 h 179487"/>
                <a:gd name="connsiteX2" fmla="*/ 34149 w 253071"/>
                <a:gd name="connsiteY2" fmla="*/ 153295 h 179487"/>
                <a:gd name="connsiteX3" fmla="*/ 53184 w 253071"/>
                <a:gd name="connsiteY3" fmla="*/ 147262 h 179487"/>
                <a:gd name="connsiteX4" fmla="*/ 71892 w 253071"/>
                <a:gd name="connsiteY4" fmla="*/ 141275 h 179487"/>
                <a:gd name="connsiteX5" fmla="*/ 142561 w 253071"/>
                <a:gd name="connsiteY5" fmla="*/ 109425 h 179487"/>
                <a:gd name="connsiteX6" fmla="*/ 200322 w 253071"/>
                <a:gd name="connsiteY6" fmla="*/ 60036 h 179487"/>
                <a:gd name="connsiteX7" fmla="*/ 211921 w 253071"/>
                <a:gd name="connsiteY7" fmla="*/ 44883 h 179487"/>
                <a:gd name="connsiteX8" fmla="*/ 222585 w 253071"/>
                <a:gd name="connsiteY8" fmla="*/ 29028 h 179487"/>
                <a:gd name="connsiteX9" fmla="*/ 237692 w 253071"/>
                <a:gd name="connsiteY9" fmla="*/ 14997 h 179487"/>
                <a:gd name="connsiteX10" fmla="*/ 252003 w 253071"/>
                <a:gd name="connsiteY10" fmla="*/ -250 h 179487"/>
                <a:gd name="connsiteX11" fmla="*/ 252003 w 253071"/>
                <a:gd name="connsiteY11" fmla="*/ -250 h 179487"/>
                <a:gd name="connsiteX12" fmla="*/ 249103 w 253071"/>
                <a:gd name="connsiteY12" fmla="*/ 20890 h 179487"/>
                <a:gd name="connsiteX13" fmla="*/ 244426 w 253071"/>
                <a:gd name="connsiteY13" fmla="*/ 42217 h 179487"/>
                <a:gd name="connsiteX14" fmla="*/ 233061 w 253071"/>
                <a:gd name="connsiteY14" fmla="*/ 59989 h 179487"/>
                <a:gd name="connsiteX15" fmla="*/ 219966 w 253071"/>
                <a:gd name="connsiteY15" fmla="*/ 76686 h 179487"/>
                <a:gd name="connsiteX16" fmla="*/ 155891 w 253071"/>
                <a:gd name="connsiteY16" fmla="*/ 131501 h 179487"/>
                <a:gd name="connsiteX17" fmla="*/ 80030 w 253071"/>
                <a:gd name="connsiteY17" fmla="*/ 165830 h 179487"/>
                <a:gd name="connsiteX18" fmla="*/ 60574 w 253071"/>
                <a:gd name="connsiteY18" fmla="*/ 172237 h 179487"/>
                <a:gd name="connsiteX19" fmla="*/ 41071 w 253071"/>
                <a:gd name="connsiteY19" fmla="*/ 177896 h 179487"/>
                <a:gd name="connsiteX20" fmla="*/ 19884 w 253071"/>
                <a:gd name="connsiteY20" fmla="*/ 177382 h 179487"/>
                <a:gd name="connsiteX21" fmla="*/ -1069 w 253071"/>
                <a:gd name="connsiteY21" fmla="*/ 176680 h 179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53071" h="179487">
                  <a:moveTo>
                    <a:pt x="-788" y="176821"/>
                  </a:moveTo>
                  <a:cubicBezTo>
                    <a:pt x="6602" y="172892"/>
                    <a:pt x="11466" y="171208"/>
                    <a:pt x="16704" y="165175"/>
                  </a:cubicBezTo>
                  <a:cubicBezTo>
                    <a:pt x="21194" y="159563"/>
                    <a:pt x="27274" y="155428"/>
                    <a:pt x="34149" y="153295"/>
                  </a:cubicBezTo>
                  <a:lnTo>
                    <a:pt x="53184" y="147262"/>
                  </a:lnTo>
                  <a:cubicBezTo>
                    <a:pt x="59545" y="145438"/>
                    <a:pt x="65812" y="143380"/>
                    <a:pt x="71892" y="141275"/>
                  </a:cubicBezTo>
                  <a:cubicBezTo>
                    <a:pt x="96540" y="133301"/>
                    <a:pt x="120253" y="122619"/>
                    <a:pt x="142561" y="109425"/>
                  </a:cubicBezTo>
                  <a:cubicBezTo>
                    <a:pt x="164309" y="96138"/>
                    <a:pt x="183813" y="79469"/>
                    <a:pt x="200322" y="60036"/>
                  </a:cubicBezTo>
                  <a:cubicBezTo>
                    <a:pt x="204485" y="55200"/>
                    <a:pt x="208320" y="50144"/>
                    <a:pt x="211921" y="44883"/>
                  </a:cubicBezTo>
                  <a:cubicBezTo>
                    <a:pt x="215570" y="39691"/>
                    <a:pt x="219358" y="34547"/>
                    <a:pt x="222585" y="29028"/>
                  </a:cubicBezTo>
                  <a:cubicBezTo>
                    <a:pt x="226279" y="23093"/>
                    <a:pt x="231518" y="18252"/>
                    <a:pt x="237692" y="14997"/>
                  </a:cubicBezTo>
                  <a:cubicBezTo>
                    <a:pt x="243959" y="11550"/>
                    <a:pt x="248963" y="6213"/>
                    <a:pt x="252003" y="-250"/>
                  </a:cubicBezTo>
                  <a:lnTo>
                    <a:pt x="252003" y="-250"/>
                  </a:lnTo>
                  <a:cubicBezTo>
                    <a:pt x="249337" y="6461"/>
                    <a:pt x="248355" y="13711"/>
                    <a:pt x="249103" y="20890"/>
                  </a:cubicBezTo>
                  <a:cubicBezTo>
                    <a:pt x="249992" y="28321"/>
                    <a:pt x="248308" y="35833"/>
                    <a:pt x="244426" y="42217"/>
                  </a:cubicBezTo>
                  <a:cubicBezTo>
                    <a:pt x="240732" y="48157"/>
                    <a:pt x="237270" y="54330"/>
                    <a:pt x="233061" y="59989"/>
                  </a:cubicBezTo>
                  <a:cubicBezTo>
                    <a:pt x="228852" y="65649"/>
                    <a:pt x="224549" y="71261"/>
                    <a:pt x="219966" y="76686"/>
                  </a:cubicBezTo>
                  <a:cubicBezTo>
                    <a:pt x="201678" y="98270"/>
                    <a:pt x="180024" y="116777"/>
                    <a:pt x="155891" y="131501"/>
                  </a:cubicBezTo>
                  <a:cubicBezTo>
                    <a:pt x="131945" y="145677"/>
                    <a:pt x="106502" y="157191"/>
                    <a:pt x="80030" y="165830"/>
                  </a:cubicBezTo>
                  <a:lnTo>
                    <a:pt x="60574" y="172237"/>
                  </a:lnTo>
                  <a:cubicBezTo>
                    <a:pt x="54120" y="174388"/>
                    <a:pt x="47525" y="175885"/>
                    <a:pt x="41071" y="177896"/>
                  </a:cubicBezTo>
                  <a:cubicBezTo>
                    <a:pt x="34102" y="179846"/>
                    <a:pt x="26760" y="179664"/>
                    <a:pt x="19884" y="177382"/>
                  </a:cubicBezTo>
                  <a:cubicBezTo>
                    <a:pt x="13056" y="175436"/>
                    <a:pt x="5853" y="175193"/>
                    <a:pt x="-1069" y="17668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0BE5799-97FC-4B83-8805-87A2B765638C}"/>
                </a:ext>
              </a:extLst>
            </p:cNvPr>
            <p:cNvSpPr/>
            <p:nvPr/>
          </p:nvSpPr>
          <p:spPr>
            <a:xfrm>
              <a:off x="7795870" y="5701363"/>
              <a:ext cx="151254" cy="95083"/>
            </a:xfrm>
            <a:custGeom>
              <a:avLst/>
              <a:gdLst>
                <a:gd name="connsiteX0" fmla="*/ -1069 w 151254"/>
                <a:gd name="connsiteY0" fmla="*/ 94833 h 95083"/>
                <a:gd name="connsiteX1" fmla="*/ 17265 w 151254"/>
                <a:gd name="connsiteY1" fmla="*/ 78557 h 95083"/>
                <a:gd name="connsiteX2" fmla="*/ 35973 w 151254"/>
                <a:gd name="connsiteY2" fmla="*/ 66023 h 95083"/>
                <a:gd name="connsiteX3" fmla="*/ 74979 w 151254"/>
                <a:gd name="connsiteY3" fmla="*/ 46847 h 95083"/>
                <a:gd name="connsiteX4" fmla="*/ 110150 w 151254"/>
                <a:gd name="connsiteY4" fmla="*/ 22199 h 95083"/>
                <a:gd name="connsiteX5" fmla="*/ 129372 w 151254"/>
                <a:gd name="connsiteY5" fmla="*/ 11021 h 95083"/>
                <a:gd name="connsiteX6" fmla="*/ 141065 w 151254"/>
                <a:gd name="connsiteY6" fmla="*/ 6765 h 95083"/>
                <a:gd name="connsiteX7" fmla="*/ 150185 w 151254"/>
                <a:gd name="connsiteY7" fmla="*/ -250 h 95083"/>
                <a:gd name="connsiteX8" fmla="*/ 150185 w 151254"/>
                <a:gd name="connsiteY8" fmla="*/ -250 h 95083"/>
                <a:gd name="connsiteX9" fmla="*/ 144105 w 151254"/>
                <a:gd name="connsiteY9" fmla="*/ 9525 h 95083"/>
                <a:gd name="connsiteX10" fmla="*/ 140644 w 151254"/>
                <a:gd name="connsiteY10" fmla="*/ 22106 h 95083"/>
                <a:gd name="connsiteX11" fmla="*/ 126893 w 151254"/>
                <a:gd name="connsiteY11" fmla="*/ 41936 h 95083"/>
                <a:gd name="connsiteX12" fmla="*/ 88075 w 151254"/>
                <a:gd name="connsiteY12" fmla="*/ 69390 h 95083"/>
                <a:gd name="connsiteX13" fmla="*/ 45982 w 151254"/>
                <a:gd name="connsiteY13" fmla="*/ 89969 h 95083"/>
                <a:gd name="connsiteX14" fmla="*/ 22597 w 151254"/>
                <a:gd name="connsiteY14" fmla="*/ 93476 h 95083"/>
                <a:gd name="connsiteX15" fmla="*/ -788 w 151254"/>
                <a:gd name="connsiteY15" fmla="*/ 94786 h 95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1254" h="95083">
                  <a:moveTo>
                    <a:pt x="-1069" y="94833"/>
                  </a:moveTo>
                  <a:cubicBezTo>
                    <a:pt x="6181" y="90848"/>
                    <a:pt x="12448" y="85287"/>
                    <a:pt x="17265" y="78557"/>
                  </a:cubicBezTo>
                  <a:cubicBezTo>
                    <a:pt x="22176" y="72701"/>
                    <a:pt x="28677" y="68356"/>
                    <a:pt x="35973" y="66023"/>
                  </a:cubicBezTo>
                  <a:cubicBezTo>
                    <a:pt x="49349" y="60443"/>
                    <a:pt x="62398" y="54040"/>
                    <a:pt x="74979" y="46847"/>
                  </a:cubicBezTo>
                  <a:cubicBezTo>
                    <a:pt x="87373" y="39602"/>
                    <a:pt x="99112" y="31357"/>
                    <a:pt x="110150" y="22199"/>
                  </a:cubicBezTo>
                  <a:cubicBezTo>
                    <a:pt x="115482" y="16853"/>
                    <a:pt x="122077" y="13000"/>
                    <a:pt x="129372" y="11021"/>
                  </a:cubicBezTo>
                  <a:cubicBezTo>
                    <a:pt x="133441" y="10086"/>
                    <a:pt x="137370" y="8655"/>
                    <a:pt x="141065" y="6765"/>
                  </a:cubicBezTo>
                  <a:cubicBezTo>
                    <a:pt x="144386" y="4801"/>
                    <a:pt x="147426" y="2444"/>
                    <a:pt x="150185" y="-250"/>
                  </a:cubicBezTo>
                  <a:lnTo>
                    <a:pt x="150185" y="-250"/>
                  </a:lnTo>
                  <a:cubicBezTo>
                    <a:pt x="147800" y="2757"/>
                    <a:pt x="145742" y="6040"/>
                    <a:pt x="144105" y="9525"/>
                  </a:cubicBezTo>
                  <a:cubicBezTo>
                    <a:pt x="142562" y="13594"/>
                    <a:pt x="141393" y="17808"/>
                    <a:pt x="140644" y="22106"/>
                  </a:cubicBezTo>
                  <a:cubicBezTo>
                    <a:pt x="138446" y="30094"/>
                    <a:pt x="133629" y="37095"/>
                    <a:pt x="126893" y="41936"/>
                  </a:cubicBezTo>
                  <a:cubicBezTo>
                    <a:pt x="114874" y="52319"/>
                    <a:pt x="101872" y="61514"/>
                    <a:pt x="88075" y="69390"/>
                  </a:cubicBezTo>
                  <a:cubicBezTo>
                    <a:pt x="74605" y="77350"/>
                    <a:pt x="60527" y="84230"/>
                    <a:pt x="45982" y="89969"/>
                  </a:cubicBezTo>
                  <a:cubicBezTo>
                    <a:pt x="38779" y="93635"/>
                    <a:pt x="30548" y="94865"/>
                    <a:pt x="22597" y="93476"/>
                  </a:cubicBezTo>
                  <a:cubicBezTo>
                    <a:pt x="14880" y="91437"/>
                    <a:pt x="6695" y="91896"/>
                    <a:pt x="-788" y="9478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C56D2FC9-F687-4856-9226-7448DEDBF19E}"/>
                </a:ext>
              </a:extLst>
            </p:cNvPr>
            <p:cNvSpPr/>
            <p:nvPr/>
          </p:nvSpPr>
          <p:spPr>
            <a:xfrm>
              <a:off x="7760746" y="5716750"/>
              <a:ext cx="429020" cy="346751"/>
            </a:xfrm>
            <a:custGeom>
              <a:avLst/>
              <a:gdLst>
                <a:gd name="connsiteX0" fmla="*/ 427952 w 429020"/>
                <a:gd name="connsiteY0" fmla="*/ 28513 h 346751"/>
                <a:gd name="connsiteX1" fmla="*/ 425706 w 429020"/>
                <a:gd name="connsiteY1" fmla="*/ 18458 h 346751"/>
                <a:gd name="connsiteX2" fmla="*/ 425706 w 429020"/>
                <a:gd name="connsiteY2" fmla="*/ -250 h 346751"/>
                <a:gd name="connsiteX3" fmla="*/ 425706 w 429020"/>
                <a:gd name="connsiteY3" fmla="*/ -250 h 346751"/>
                <a:gd name="connsiteX4" fmla="*/ 415744 w 429020"/>
                <a:gd name="connsiteY4" fmla="*/ 15465 h 346751"/>
                <a:gd name="connsiteX5" fmla="*/ 408401 w 429020"/>
                <a:gd name="connsiteY5" fmla="*/ 22573 h 346751"/>
                <a:gd name="connsiteX6" fmla="*/ 403724 w 429020"/>
                <a:gd name="connsiteY6" fmla="*/ 30384 h 346751"/>
                <a:gd name="connsiteX7" fmla="*/ 392079 w 429020"/>
                <a:gd name="connsiteY7" fmla="*/ 63544 h 346751"/>
                <a:gd name="connsiteX8" fmla="*/ 361959 w 429020"/>
                <a:gd name="connsiteY8" fmla="*/ 125374 h 346751"/>
                <a:gd name="connsiteX9" fmla="*/ 259907 w 429020"/>
                <a:gd name="connsiteY9" fmla="*/ 213301 h 346751"/>
                <a:gd name="connsiteX10" fmla="*/ 125865 w 429020"/>
                <a:gd name="connsiteY10" fmla="*/ 258668 h 346751"/>
                <a:gd name="connsiteX11" fmla="*/ 115809 w 429020"/>
                <a:gd name="connsiteY11" fmla="*/ 262082 h 346751"/>
                <a:gd name="connsiteX12" fmla="*/ 109589 w 429020"/>
                <a:gd name="connsiteY12" fmla="*/ 263953 h 346751"/>
                <a:gd name="connsiteX13" fmla="*/ 65906 w 429020"/>
                <a:gd name="connsiteY13" fmla="*/ 281492 h 346751"/>
                <a:gd name="connsiteX14" fmla="*/ 44860 w 429020"/>
                <a:gd name="connsiteY14" fmla="*/ 292903 h 346751"/>
                <a:gd name="connsiteX15" fmla="*/ 42895 w 429020"/>
                <a:gd name="connsiteY15" fmla="*/ 294026 h 346751"/>
                <a:gd name="connsiteX16" fmla="*/ 42895 w 429020"/>
                <a:gd name="connsiteY16" fmla="*/ 294026 h 346751"/>
                <a:gd name="connsiteX17" fmla="*/ 25123 w 429020"/>
                <a:gd name="connsiteY17" fmla="*/ 306139 h 346751"/>
                <a:gd name="connsiteX18" fmla="*/ 10016 w 429020"/>
                <a:gd name="connsiteY18" fmla="*/ 324847 h 346751"/>
                <a:gd name="connsiteX19" fmla="*/ 5666 w 429020"/>
                <a:gd name="connsiteY19" fmla="*/ 337147 h 346751"/>
                <a:gd name="connsiteX20" fmla="*/ -1069 w 429020"/>
                <a:gd name="connsiteY20" fmla="*/ 346501 h 346751"/>
                <a:gd name="connsiteX21" fmla="*/ -1069 w 429020"/>
                <a:gd name="connsiteY21" fmla="*/ 346501 h 346751"/>
                <a:gd name="connsiteX22" fmla="*/ 8285 w 429020"/>
                <a:gd name="connsiteY22" fmla="*/ 340141 h 346751"/>
                <a:gd name="connsiteX23" fmla="*/ 20259 w 429020"/>
                <a:gd name="connsiteY23" fmla="*/ 336680 h 346751"/>
                <a:gd name="connsiteX24" fmla="*/ 40183 w 429020"/>
                <a:gd name="connsiteY24" fmla="*/ 326858 h 346751"/>
                <a:gd name="connsiteX25" fmla="*/ 58891 w 429020"/>
                <a:gd name="connsiteY25" fmla="*/ 314604 h 346751"/>
                <a:gd name="connsiteX26" fmla="*/ 58891 w 429020"/>
                <a:gd name="connsiteY26" fmla="*/ 314604 h 346751"/>
                <a:gd name="connsiteX27" fmla="*/ 68712 w 429020"/>
                <a:gd name="connsiteY27" fmla="*/ 309039 h 346751"/>
                <a:gd name="connsiteX28" fmla="*/ 133302 w 429020"/>
                <a:gd name="connsiteY28" fmla="*/ 283362 h 346751"/>
                <a:gd name="connsiteX29" fmla="*/ 270665 w 429020"/>
                <a:gd name="connsiteY29" fmla="*/ 236592 h 346751"/>
                <a:gd name="connsiteX30" fmla="*/ 382912 w 429020"/>
                <a:gd name="connsiteY30" fmla="*/ 139358 h 346751"/>
                <a:gd name="connsiteX31" fmla="*/ 415651 w 429020"/>
                <a:gd name="connsiteY31" fmla="*/ 72477 h 346751"/>
                <a:gd name="connsiteX32" fmla="*/ 426875 w 429020"/>
                <a:gd name="connsiteY32" fmla="*/ 37680 h 346751"/>
                <a:gd name="connsiteX33" fmla="*/ 427952 w 429020"/>
                <a:gd name="connsiteY33" fmla="*/ 28513 h 346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29020" h="346751">
                  <a:moveTo>
                    <a:pt x="427952" y="28513"/>
                  </a:moveTo>
                  <a:cubicBezTo>
                    <a:pt x="427390" y="25127"/>
                    <a:pt x="426642" y="21769"/>
                    <a:pt x="425706" y="18458"/>
                  </a:cubicBezTo>
                  <a:cubicBezTo>
                    <a:pt x="424210" y="12312"/>
                    <a:pt x="424210" y="5895"/>
                    <a:pt x="425706" y="-250"/>
                  </a:cubicBezTo>
                  <a:lnTo>
                    <a:pt x="425706" y="-250"/>
                  </a:lnTo>
                  <a:cubicBezTo>
                    <a:pt x="423742" y="5741"/>
                    <a:pt x="420328" y="11143"/>
                    <a:pt x="415744" y="15465"/>
                  </a:cubicBezTo>
                  <a:cubicBezTo>
                    <a:pt x="413359" y="17896"/>
                    <a:pt x="410459" y="20142"/>
                    <a:pt x="408401" y="22573"/>
                  </a:cubicBezTo>
                  <a:cubicBezTo>
                    <a:pt x="406531" y="24982"/>
                    <a:pt x="404987" y="27606"/>
                    <a:pt x="403724" y="30384"/>
                  </a:cubicBezTo>
                  <a:cubicBezTo>
                    <a:pt x="399562" y="41469"/>
                    <a:pt x="395914" y="52553"/>
                    <a:pt x="392079" y="63544"/>
                  </a:cubicBezTo>
                  <a:cubicBezTo>
                    <a:pt x="384315" y="85180"/>
                    <a:pt x="374212" y="105908"/>
                    <a:pt x="361959" y="125374"/>
                  </a:cubicBezTo>
                  <a:cubicBezTo>
                    <a:pt x="336937" y="163753"/>
                    <a:pt x="301579" y="194242"/>
                    <a:pt x="259907" y="213301"/>
                  </a:cubicBezTo>
                  <a:cubicBezTo>
                    <a:pt x="218422" y="233225"/>
                    <a:pt x="172073" y="243982"/>
                    <a:pt x="125865" y="258668"/>
                  </a:cubicBezTo>
                  <a:cubicBezTo>
                    <a:pt x="122497" y="259743"/>
                    <a:pt x="119177" y="260913"/>
                    <a:pt x="115809" y="262082"/>
                  </a:cubicBezTo>
                  <a:cubicBezTo>
                    <a:pt x="113705" y="262596"/>
                    <a:pt x="111647" y="263251"/>
                    <a:pt x="109589" y="263953"/>
                  </a:cubicBezTo>
                  <a:cubicBezTo>
                    <a:pt x="94576" y="268611"/>
                    <a:pt x="79984" y="274481"/>
                    <a:pt x="65906" y="281492"/>
                  </a:cubicBezTo>
                  <a:cubicBezTo>
                    <a:pt x="58844" y="285093"/>
                    <a:pt x="51875" y="288834"/>
                    <a:pt x="44860" y="292903"/>
                  </a:cubicBezTo>
                  <a:lnTo>
                    <a:pt x="42895" y="294026"/>
                  </a:lnTo>
                  <a:lnTo>
                    <a:pt x="42895" y="294026"/>
                  </a:lnTo>
                  <a:cubicBezTo>
                    <a:pt x="36722" y="297697"/>
                    <a:pt x="30782" y="301743"/>
                    <a:pt x="25123" y="306139"/>
                  </a:cubicBezTo>
                  <a:cubicBezTo>
                    <a:pt x="18061" y="310442"/>
                    <a:pt x="12729" y="317055"/>
                    <a:pt x="10016" y="324847"/>
                  </a:cubicBezTo>
                  <a:cubicBezTo>
                    <a:pt x="8940" y="329075"/>
                    <a:pt x="7491" y="333196"/>
                    <a:pt x="5666" y="337147"/>
                  </a:cubicBezTo>
                  <a:cubicBezTo>
                    <a:pt x="3796" y="340520"/>
                    <a:pt x="1551" y="343663"/>
                    <a:pt x="-1069" y="346501"/>
                  </a:cubicBezTo>
                  <a:lnTo>
                    <a:pt x="-1069" y="346501"/>
                  </a:lnTo>
                  <a:cubicBezTo>
                    <a:pt x="1785" y="343995"/>
                    <a:pt x="4918" y="341857"/>
                    <a:pt x="8285" y="340141"/>
                  </a:cubicBezTo>
                  <a:cubicBezTo>
                    <a:pt x="12121" y="338499"/>
                    <a:pt x="16143" y="337339"/>
                    <a:pt x="20259" y="336680"/>
                  </a:cubicBezTo>
                  <a:cubicBezTo>
                    <a:pt x="27648" y="335225"/>
                    <a:pt x="34524" y="331839"/>
                    <a:pt x="40183" y="326858"/>
                  </a:cubicBezTo>
                  <a:cubicBezTo>
                    <a:pt x="46356" y="322649"/>
                    <a:pt x="52577" y="318486"/>
                    <a:pt x="58891" y="314604"/>
                  </a:cubicBezTo>
                  <a:lnTo>
                    <a:pt x="58891" y="314604"/>
                  </a:lnTo>
                  <a:cubicBezTo>
                    <a:pt x="62164" y="312734"/>
                    <a:pt x="65392" y="310863"/>
                    <a:pt x="68712" y="309039"/>
                  </a:cubicBezTo>
                  <a:cubicBezTo>
                    <a:pt x="89571" y="298885"/>
                    <a:pt x="111179" y="290303"/>
                    <a:pt x="133302" y="283362"/>
                  </a:cubicBezTo>
                  <a:cubicBezTo>
                    <a:pt x="178107" y="269004"/>
                    <a:pt x="225672" y="258200"/>
                    <a:pt x="270665" y="236592"/>
                  </a:cubicBezTo>
                  <a:cubicBezTo>
                    <a:pt x="316499" y="215387"/>
                    <a:pt x="355365" y="181685"/>
                    <a:pt x="382912" y="139358"/>
                  </a:cubicBezTo>
                  <a:cubicBezTo>
                    <a:pt x="396195" y="118297"/>
                    <a:pt x="407139" y="95876"/>
                    <a:pt x="415651" y="72477"/>
                  </a:cubicBezTo>
                  <a:cubicBezTo>
                    <a:pt x="420094" y="61117"/>
                    <a:pt x="423836" y="49494"/>
                    <a:pt x="426875" y="37680"/>
                  </a:cubicBezTo>
                  <a:cubicBezTo>
                    <a:pt x="427577" y="34678"/>
                    <a:pt x="427952" y="31600"/>
                    <a:pt x="427952" y="2851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5CAE918E-4014-44C5-B9D0-74785C4C2A09}"/>
                </a:ext>
              </a:extLst>
            </p:cNvPr>
            <p:cNvSpPr/>
            <p:nvPr/>
          </p:nvSpPr>
          <p:spPr>
            <a:xfrm>
              <a:off x="7743067" y="5700194"/>
              <a:ext cx="395625" cy="300262"/>
            </a:xfrm>
            <a:custGeom>
              <a:avLst/>
              <a:gdLst>
                <a:gd name="connsiteX0" fmla="*/ 392031 w 395625"/>
                <a:gd name="connsiteY0" fmla="*/ 15558 h 300262"/>
                <a:gd name="connsiteX1" fmla="*/ 393107 w 395625"/>
                <a:gd name="connsiteY1" fmla="*/ -250 h 300262"/>
                <a:gd name="connsiteX2" fmla="*/ 393107 w 395625"/>
                <a:gd name="connsiteY2" fmla="*/ -250 h 300262"/>
                <a:gd name="connsiteX3" fmla="*/ 385016 w 395625"/>
                <a:gd name="connsiteY3" fmla="*/ 13360 h 300262"/>
                <a:gd name="connsiteX4" fmla="*/ 372856 w 395625"/>
                <a:gd name="connsiteY4" fmla="*/ 25426 h 300262"/>
                <a:gd name="connsiteX5" fmla="*/ 366402 w 395625"/>
                <a:gd name="connsiteY5" fmla="*/ 39083 h 300262"/>
                <a:gd name="connsiteX6" fmla="*/ 360743 w 395625"/>
                <a:gd name="connsiteY6" fmla="*/ 53114 h 300262"/>
                <a:gd name="connsiteX7" fmla="*/ 333148 w 395625"/>
                <a:gd name="connsiteY7" fmla="*/ 105122 h 300262"/>
                <a:gd name="connsiteX8" fmla="*/ 246297 w 395625"/>
                <a:gd name="connsiteY8" fmla="*/ 181778 h 300262"/>
                <a:gd name="connsiteX9" fmla="*/ 133114 w 395625"/>
                <a:gd name="connsiteY9" fmla="*/ 222982 h 300262"/>
                <a:gd name="connsiteX10" fmla="*/ 80685 w 395625"/>
                <a:gd name="connsiteY10" fmla="*/ 239679 h 300262"/>
                <a:gd name="connsiteX11" fmla="*/ 80685 w 395625"/>
                <a:gd name="connsiteY11" fmla="*/ 239679 h 300262"/>
                <a:gd name="connsiteX12" fmla="*/ 72360 w 395625"/>
                <a:gd name="connsiteY12" fmla="*/ 242485 h 300262"/>
                <a:gd name="connsiteX13" fmla="*/ 29332 w 395625"/>
                <a:gd name="connsiteY13" fmla="*/ 262643 h 300262"/>
                <a:gd name="connsiteX14" fmla="*/ 12261 w 395625"/>
                <a:gd name="connsiteY14" fmla="*/ 279714 h 300262"/>
                <a:gd name="connsiteX15" fmla="*/ 6602 w 395625"/>
                <a:gd name="connsiteY15" fmla="*/ 291500 h 300262"/>
                <a:gd name="connsiteX16" fmla="*/ -1069 w 395625"/>
                <a:gd name="connsiteY16" fmla="*/ 300012 h 300262"/>
                <a:gd name="connsiteX17" fmla="*/ -1069 w 395625"/>
                <a:gd name="connsiteY17" fmla="*/ 300012 h 300262"/>
                <a:gd name="connsiteX18" fmla="*/ 9127 w 395625"/>
                <a:gd name="connsiteY18" fmla="*/ 294727 h 300262"/>
                <a:gd name="connsiteX19" fmla="*/ 21380 w 395625"/>
                <a:gd name="connsiteY19" fmla="*/ 292576 h 300262"/>
                <a:gd name="connsiteX20" fmla="*/ 42286 w 395625"/>
                <a:gd name="connsiteY20" fmla="*/ 284952 h 300262"/>
                <a:gd name="connsiteX21" fmla="*/ 53418 w 395625"/>
                <a:gd name="connsiteY21" fmla="*/ 279153 h 300262"/>
                <a:gd name="connsiteX22" fmla="*/ 82556 w 395625"/>
                <a:gd name="connsiteY22" fmla="*/ 266759 h 300262"/>
                <a:gd name="connsiteX23" fmla="*/ 140363 w 395625"/>
                <a:gd name="connsiteY23" fmla="*/ 248051 h 300262"/>
                <a:gd name="connsiteX24" fmla="*/ 258410 w 395625"/>
                <a:gd name="connsiteY24" fmla="*/ 204835 h 300262"/>
                <a:gd name="connsiteX25" fmla="*/ 354569 w 395625"/>
                <a:gd name="connsiteY25" fmla="*/ 119855 h 300262"/>
                <a:gd name="connsiteX26" fmla="*/ 384922 w 395625"/>
                <a:gd name="connsiteY26" fmla="*/ 63263 h 300262"/>
                <a:gd name="connsiteX27" fmla="*/ 390582 w 395625"/>
                <a:gd name="connsiteY27" fmla="*/ 48437 h 300262"/>
                <a:gd name="connsiteX28" fmla="*/ 394557 w 395625"/>
                <a:gd name="connsiteY28" fmla="*/ 33097 h 300262"/>
                <a:gd name="connsiteX29" fmla="*/ 392031 w 395625"/>
                <a:gd name="connsiteY29" fmla="*/ 15558 h 300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95625" h="300262">
                  <a:moveTo>
                    <a:pt x="392031" y="15558"/>
                  </a:moveTo>
                  <a:cubicBezTo>
                    <a:pt x="391470" y="10268"/>
                    <a:pt x="391845" y="4913"/>
                    <a:pt x="393107" y="-250"/>
                  </a:cubicBezTo>
                  <a:lnTo>
                    <a:pt x="393107" y="-250"/>
                  </a:lnTo>
                  <a:cubicBezTo>
                    <a:pt x="391330" y="4768"/>
                    <a:pt x="388571" y="9389"/>
                    <a:pt x="385016" y="13360"/>
                  </a:cubicBezTo>
                  <a:cubicBezTo>
                    <a:pt x="380526" y="16924"/>
                    <a:pt x="376457" y="20969"/>
                    <a:pt x="372856" y="25426"/>
                  </a:cubicBezTo>
                  <a:cubicBezTo>
                    <a:pt x="370097" y="29678"/>
                    <a:pt x="367945" y="34266"/>
                    <a:pt x="366402" y="39083"/>
                  </a:cubicBezTo>
                  <a:lnTo>
                    <a:pt x="360743" y="53114"/>
                  </a:lnTo>
                  <a:cubicBezTo>
                    <a:pt x="353400" y="71378"/>
                    <a:pt x="344186" y="88814"/>
                    <a:pt x="333148" y="105122"/>
                  </a:cubicBezTo>
                  <a:cubicBezTo>
                    <a:pt x="310933" y="137398"/>
                    <a:pt x="281094" y="163720"/>
                    <a:pt x="246297" y="181778"/>
                  </a:cubicBezTo>
                  <a:cubicBezTo>
                    <a:pt x="211594" y="200486"/>
                    <a:pt x="172588" y="211383"/>
                    <a:pt x="133114" y="222982"/>
                  </a:cubicBezTo>
                  <a:cubicBezTo>
                    <a:pt x="115715" y="228174"/>
                    <a:pt x="98130" y="233505"/>
                    <a:pt x="80685" y="239679"/>
                  </a:cubicBezTo>
                  <a:lnTo>
                    <a:pt x="80685" y="239679"/>
                  </a:lnTo>
                  <a:cubicBezTo>
                    <a:pt x="77926" y="240568"/>
                    <a:pt x="75119" y="241503"/>
                    <a:pt x="72360" y="242485"/>
                  </a:cubicBezTo>
                  <a:cubicBezTo>
                    <a:pt x="57394" y="247775"/>
                    <a:pt x="42988" y="254528"/>
                    <a:pt x="29332" y="262643"/>
                  </a:cubicBezTo>
                  <a:cubicBezTo>
                    <a:pt x="21848" y="266197"/>
                    <a:pt x="15815" y="272226"/>
                    <a:pt x="12261" y="279714"/>
                  </a:cubicBezTo>
                  <a:cubicBezTo>
                    <a:pt x="10764" y="283811"/>
                    <a:pt x="8846" y="287754"/>
                    <a:pt x="6602" y="291500"/>
                  </a:cubicBezTo>
                  <a:cubicBezTo>
                    <a:pt x="4403" y="294643"/>
                    <a:pt x="1831" y="297505"/>
                    <a:pt x="-1069" y="300012"/>
                  </a:cubicBezTo>
                  <a:lnTo>
                    <a:pt x="-1069" y="300012"/>
                  </a:lnTo>
                  <a:cubicBezTo>
                    <a:pt x="2111" y="297837"/>
                    <a:pt x="5525" y="296065"/>
                    <a:pt x="9127" y="294727"/>
                  </a:cubicBezTo>
                  <a:cubicBezTo>
                    <a:pt x="13102" y="293516"/>
                    <a:pt x="17218" y="292795"/>
                    <a:pt x="21380" y="292576"/>
                  </a:cubicBezTo>
                  <a:cubicBezTo>
                    <a:pt x="28910" y="291926"/>
                    <a:pt x="36113" y="289297"/>
                    <a:pt x="42286" y="284952"/>
                  </a:cubicBezTo>
                  <a:cubicBezTo>
                    <a:pt x="45981" y="282988"/>
                    <a:pt x="49676" y="281024"/>
                    <a:pt x="53418" y="279153"/>
                  </a:cubicBezTo>
                  <a:cubicBezTo>
                    <a:pt x="62772" y="274476"/>
                    <a:pt x="72641" y="270500"/>
                    <a:pt x="82556" y="266759"/>
                  </a:cubicBezTo>
                  <a:cubicBezTo>
                    <a:pt x="101264" y="259837"/>
                    <a:pt x="120766" y="253944"/>
                    <a:pt x="140363" y="248051"/>
                  </a:cubicBezTo>
                  <a:cubicBezTo>
                    <a:pt x="179603" y="236452"/>
                    <a:pt x="220433" y="225087"/>
                    <a:pt x="258410" y="204835"/>
                  </a:cubicBezTo>
                  <a:cubicBezTo>
                    <a:pt x="296949" y="184813"/>
                    <a:pt x="329968" y="155629"/>
                    <a:pt x="354569" y="119855"/>
                  </a:cubicBezTo>
                  <a:cubicBezTo>
                    <a:pt x="366495" y="102021"/>
                    <a:pt x="376691" y="83070"/>
                    <a:pt x="384922" y="63263"/>
                  </a:cubicBezTo>
                  <a:cubicBezTo>
                    <a:pt x="386981" y="58586"/>
                    <a:pt x="388805" y="53395"/>
                    <a:pt x="390582" y="48437"/>
                  </a:cubicBezTo>
                  <a:cubicBezTo>
                    <a:pt x="392686" y="43555"/>
                    <a:pt x="394043" y="38382"/>
                    <a:pt x="394557" y="33097"/>
                  </a:cubicBezTo>
                  <a:cubicBezTo>
                    <a:pt x="394510" y="27162"/>
                    <a:pt x="393668" y="21264"/>
                    <a:pt x="392031" y="15558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A8576D03-27F1-4CBD-8A69-B21B9D54FB57}"/>
                </a:ext>
              </a:extLst>
            </p:cNvPr>
            <p:cNvSpPr/>
            <p:nvPr/>
          </p:nvSpPr>
          <p:spPr>
            <a:xfrm>
              <a:off x="7730159" y="5688782"/>
              <a:ext cx="354328" cy="250920"/>
            </a:xfrm>
            <a:custGeom>
              <a:avLst/>
              <a:gdLst>
                <a:gd name="connsiteX0" fmla="*/ 353260 w 354328"/>
                <a:gd name="connsiteY0" fmla="*/ -250 h 250920"/>
                <a:gd name="connsiteX1" fmla="*/ 353260 w 354328"/>
                <a:gd name="connsiteY1" fmla="*/ -250 h 250920"/>
                <a:gd name="connsiteX2" fmla="*/ 346478 w 354328"/>
                <a:gd name="connsiteY2" fmla="*/ 11021 h 250920"/>
                <a:gd name="connsiteX3" fmla="*/ 335300 w 354328"/>
                <a:gd name="connsiteY3" fmla="*/ 20375 h 250920"/>
                <a:gd name="connsiteX4" fmla="*/ 321924 w 354328"/>
                <a:gd name="connsiteY4" fmla="*/ 41749 h 250920"/>
                <a:gd name="connsiteX5" fmla="*/ 296247 w 354328"/>
                <a:gd name="connsiteY5" fmla="*/ 83514 h 250920"/>
                <a:gd name="connsiteX6" fmla="*/ 222725 w 354328"/>
                <a:gd name="connsiteY6" fmla="*/ 147075 h 250920"/>
                <a:gd name="connsiteX7" fmla="*/ 129653 w 354328"/>
                <a:gd name="connsiteY7" fmla="*/ 183836 h 250920"/>
                <a:gd name="connsiteX8" fmla="*/ 52717 w 354328"/>
                <a:gd name="connsiteY8" fmla="*/ 207735 h 250920"/>
                <a:gd name="connsiteX9" fmla="*/ 52717 w 354328"/>
                <a:gd name="connsiteY9" fmla="*/ 207735 h 250920"/>
                <a:gd name="connsiteX10" fmla="*/ 51220 w 354328"/>
                <a:gd name="connsiteY10" fmla="*/ 208343 h 250920"/>
                <a:gd name="connsiteX11" fmla="*/ 46216 w 354328"/>
                <a:gd name="connsiteY11" fmla="*/ 210027 h 250920"/>
                <a:gd name="connsiteX12" fmla="*/ 46216 w 354328"/>
                <a:gd name="connsiteY12" fmla="*/ 210027 h 250920"/>
                <a:gd name="connsiteX13" fmla="*/ 32699 w 354328"/>
                <a:gd name="connsiteY13" fmla="*/ 216013 h 250920"/>
                <a:gd name="connsiteX14" fmla="*/ 13991 w 354328"/>
                <a:gd name="connsiteY14" fmla="*/ 231588 h 250920"/>
                <a:gd name="connsiteX15" fmla="*/ 7350 w 354328"/>
                <a:gd name="connsiteY15" fmla="*/ 242813 h 250920"/>
                <a:gd name="connsiteX16" fmla="*/ -1069 w 354328"/>
                <a:gd name="connsiteY16" fmla="*/ 250670 h 250920"/>
                <a:gd name="connsiteX17" fmla="*/ -1069 w 354328"/>
                <a:gd name="connsiteY17" fmla="*/ 250670 h 250920"/>
                <a:gd name="connsiteX18" fmla="*/ 9594 w 354328"/>
                <a:gd name="connsiteY18" fmla="*/ 245993 h 250920"/>
                <a:gd name="connsiteX19" fmla="*/ 21989 w 354328"/>
                <a:gd name="connsiteY19" fmla="*/ 244964 h 250920"/>
                <a:gd name="connsiteX20" fmla="*/ 43456 w 354328"/>
                <a:gd name="connsiteY20" fmla="*/ 239165 h 250920"/>
                <a:gd name="connsiteX21" fmla="*/ 57955 w 354328"/>
                <a:gd name="connsiteY21" fmla="*/ 232897 h 250920"/>
                <a:gd name="connsiteX22" fmla="*/ 136809 w 354328"/>
                <a:gd name="connsiteY22" fmla="*/ 208390 h 250920"/>
                <a:gd name="connsiteX23" fmla="*/ 235025 w 354328"/>
                <a:gd name="connsiteY23" fmla="*/ 169384 h 250920"/>
                <a:gd name="connsiteX24" fmla="*/ 316545 w 354328"/>
                <a:gd name="connsiteY24" fmla="*/ 98855 h 250920"/>
                <a:gd name="connsiteX25" fmla="*/ 344607 w 354328"/>
                <a:gd name="connsiteY25" fmla="*/ 52927 h 250920"/>
                <a:gd name="connsiteX26" fmla="*/ 352418 w 354328"/>
                <a:gd name="connsiteY26" fmla="*/ 27250 h 250920"/>
                <a:gd name="connsiteX27" fmla="*/ 350593 w 354328"/>
                <a:gd name="connsiteY27" fmla="*/ 12471 h 250920"/>
                <a:gd name="connsiteX28" fmla="*/ 353260 w 354328"/>
                <a:gd name="connsiteY28" fmla="*/ -250 h 250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54328" h="250920">
                  <a:moveTo>
                    <a:pt x="353260" y="-250"/>
                  </a:moveTo>
                  <a:lnTo>
                    <a:pt x="353260" y="-250"/>
                  </a:lnTo>
                  <a:cubicBezTo>
                    <a:pt x="351576" y="3819"/>
                    <a:pt x="349284" y="7616"/>
                    <a:pt x="346478" y="11021"/>
                  </a:cubicBezTo>
                  <a:cubicBezTo>
                    <a:pt x="343344" y="14389"/>
                    <a:pt x="338807" y="17195"/>
                    <a:pt x="335300" y="20375"/>
                  </a:cubicBezTo>
                  <a:cubicBezTo>
                    <a:pt x="328284" y="26549"/>
                    <a:pt x="325946" y="34406"/>
                    <a:pt x="321924" y="41749"/>
                  </a:cubicBezTo>
                  <a:cubicBezTo>
                    <a:pt x="314675" y="56449"/>
                    <a:pt x="306115" y="70428"/>
                    <a:pt x="296247" y="83514"/>
                  </a:cubicBezTo>
                  <a:cubicBezTo>
                    <a:pt x="276370" y="109547"/>
                    <a:pt x="251348" y="131187"/>
                    <a:pt x="222725" y="147075"/>
                  </a:cubicBezTo>
                  <a:cubicBezTo>
                    <a:pt x="194055" y="163164"/>
                    <a:pt x="162298" y="174061"/>
                    <a:pt x="129653" y="183836"/>
                  </a:cubicBezTo>
                  <a:cubicBezTo>
                    <a:pt x="104303" y="191412"/>
                    <a:pt x="78206" y="198662"/>
                    <a:pt x="52717" y="207735"/>
                  </a:cubicBezTo>
                  <a:lnTo>
                    <a:pt x="52717" y="207735"/>
                  </a:lnTo>
                  <a:lnTo>
                    <a:pt x="51220" y="208343"/>
                  </a:lnTo>
                  <a:cubicBezTo>
                    <a:pt x="49536" y="208905"/>
                    <a:pt x="47852" y="209419"/>
                    <a:pt x="46216" y="210027"/>
                  </a:cubicBezTo>
                  <a:cubicBezTo>
                    <a:pt x="46216" y="210027"/>
                    <a:pt x="46216" y="210027"/>
                    <a:pt x="46216" y="210027"/>
                  </a:cubicBezTo>
                  <a:cubicBezTo>
                    <a:pt x="41539" y="211851"/>
                    <a:pt x="36862" y="213769"/>
                    <a:pt x="32699" y="216013"/>
                  </a:cubicBezTo>
                  <a:cubicBezTo>
                    <a:pt x="24841" y="218885"/>
                    <a:pt x="18247" y="224385"/>
                    <a:pt x="13991" y="231588"/>
                  </a:cubicBezTo>
                  <a:cubicBezTo>
                    <a:pt x="12120" y="235535"/>
                    <a:pt x="9922" y="239296"/>
                    <a:pt x="7350" y="242813"/>
                  </a:cubicBezTo>
                  <a:cubicBezTo>
                    <a:pt x="4871" y="245740"/>
                    <a:pt x="2018" y="248378"/>
                    <a:pt x="-1069" y="250670"/>
                  </a:cubicBezTo>
                  <a:lnTo>
                    <a:pt x="-1069" y="250670"/>
                  </a:lnTo>
                  <a:cubicBezTo>
                    <a:pt x="2299" y="248673"/>
                    <a:pt x="5853" y="247102"/>
                    <a:pt x="9594" y="245993"/>
                  </a:cubicBezTo>
                  <a:cubicBezTo>
                    <a:pt x="13664" y="245146"/>
                    <a:pt x="17826" y="244800"/>
                    <a:pt x="21989" y="244964"/>
                  </a:cubicBezTo>
                  <a:cubicBezTo>
                    <a:pt x="29518" y="244950"/>
                    <a:pt x="36955" y="242953"/>
                    <a:pt x="43456" y="239165"/>
                  </a:cubicBezTo>
                  <a:cubicBezTo>
                    <a:pt x="48133" y="237060"/>
                    <a:pt x="58002" y="232991"/>
                    <a:pt x="57955" y="232897"/>
                  </a:cubicBezTo>
                  <a:cubicBezTo>
                    <a:pt x="83444" y="223543"/>
                    <a:pt x="109963" y="216341"/>
                    <a:pt x="136809" y="208390"/>
                  </a:cubicBezTo>
                  <a:cubicBezTo>
                    <a:pt x="169968" y="198428"/>
                    <a:pt x="203736" y="187016"/>
                    <a:pt x="235025" y="169384"/>
                  </a:cubicBezTo>
                  <a:cubicBezTo>
                    <a:pt x="266782" y="151747"/>
                    <a:pt x="294516" y="127735"/>
                    <a:pt x="316545" y="98855"/>
                  </a:cubicBezTo>
                  <a:cubicBezTo>
                    <a:pt x="327349" y="84483"/>
                    <a:pt x="336750" y="69100"/>
                    <a:pt x="344607" y="52927"/>
                  </a:cubicBezTo>
                  <a:cubicBezTo>
                    <a:pt x="348255" y="44789"/>
                    <a:pt x="352979" y="37025"/>
                    <a:pt x="352418" y="27250"/>
                  </a:cubicBezTo>
                  <a:cubicBezTo>
                    <a:pt x="352090" y="22573"/>
                    <a:pt x="350781" y="17148"/>
                    <a:pt x="350593" y="12471"/>
                  </a:cubicBezTo>
                  <a:cubicBezTo>
                    <a:pt x="350968" y="8140"/>
                    <a:pt x="351903" y="3875"/>
                    <a:pt x="353260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6AC3575-1C44-43FD-87A3-CDA6C2CFE3A2}"/>
                </a:ext>
              </a:extLst>
            </p:cNvPr>
            <p:cNvSpPr/>
            <p:nvPr/>
          </p:nvSpPr>
          <p:spPr>
            <a:xfrm>
              <a:off x="7795356" y="5727694"/>
              <a:ext cx="446832" cy="385289"/>
            </a:xfrm>
            <a:custGeom>
              <a:avLst/>
              <a:gdLst>
                <a:gd name="connsiteX0" fmla="*/ 443666 w 446832"/>
                <a:gd name="connsiteY0" fmla="*/ 20141 h 385289"/>
                <a:gd name="connsiteX1" fmla="*/ 443666 w 446832"/>
                <a:gd name="connsiteY1" fmla="*/ -250 h 385289"/>
                <a:gd name="connsiteX2" fmla="*/ 443666 w 446832"/>
                <a:gd name="connsiteY2" fmla="*/ -250 h 385289"/>
                <a:gd name="connsiteX3" fmla="*/ 432207 w 446832"/>
                <a:gd name="connsiteY3" fmla="*/ 16680 h 385289"/>
                <a:gd name="connsiteX4" fmla="*/ 420188 w 446832"/>
                <a:gd name="connsiteY4" fmla="*/ 33517 h 385289"/>
                <a:gd name="connsiteX5" fmla="*/ 408775 w 446832"/>
                <a:gd name="connsiteY5" fmla="*/ 70466 h 385289"/>
                <a:gd name="connsiteX6" fmla="*/ 380152 w 446832"/>
                <a:gd name="connsiteY6" fmla="*/ 140293 h 385289"/>
                <a:gd name="connsiteX7" fmla="*/ 275294 w 446832"/>
                <a:gd name="connsiteY7" fmla="*/ 241643 h 385289"/>
                <a:gd name="connsiteX8" fmla="*/ 129980 w 446832"/>
                <a:gd name="connsiteY8" fmla="*/ 291874 h 385289"/>
                <a:gd name="connsiteX9" fmla="*/ 55897 w 446832"/>
                <a:gd name="connsiteY9" fmla="*/ 323210 h 385289"/>
                <a:gd name="connsiteX10" fmla="*/ 53933 w 446832"/>
                <a:gd name="connsiteY10" fmla="*/ 324613 h 385289"/>
                <a:gd name="connsiteX11" fmla="*/ 24374 w 446832"/>
                <a:gd name="connsiteY11" fmla="*/ 344256 h 385289"/>
                <a:gd name="connsiteX12" fmla="*/ 9595 w 446832"/>
                <a:gd name="connsiteY12" fmla="*/ 363338 h 385289"/>
                <a:gd name="connsiteX13" fmla="*/ 5479 w 446832"/>
                <a:gd name="connsiteY13" fmla="*/ 375686 h 385289"/>
                <a:gd name="connsiteX14" fmla="*/ -1069 w 446832"/>
                <a:gd name="connsiteY14" fmla="*/ 385040 h 385289"/>
                <a:gd name="connsiteX15" fmla="*/ -1069 w 446832"/>
                <a:gd name="connsiteY15" fmla="*/ 385040 h 385289"/>
                <a:gd name="connsiteX16" fmla="*/ 8285 w 446832"/>
                <a:gd name="connsiteY16" fmla="*/ 378492 h 385289"/>
                <a:gd name="connsiteX17" fmla="*/ 20212 w 446832"/>
                <a:gd name="connsiteY17" fmla="*/ 374844 h 385289"/>
                <a:gd name="connsiteX18" fmla="*/ 39949 w 446832"/>
                <a:gd name="connsiteY18" fmla="*/ 364648 h 385289"/>
                <a:gd name="connsiteX19" fmla="*/ 76336 w 446832"/>
                <a:gd name="connsiteY19" fmla="*/ 341824 h 385289"/>
                <a:gd name="connsiteX20" fmla="*/ 86625 w 446832"/>
                <a:gd name="connsiteY20" fmla="*/ 336680 h 385289"/>
                <a:gd name="connsiteX21" fmla="*/ 138072 w 446832"/>
                <a:gd name="connsiteY21" fmla="*/ 316522 h 385289"/>
                <a:gd name="connsiteX22" fmla="*/ 287127 w 446832"/>
                <a:gd name="connsiteY22" fmla="*/ 264701 h 385289"/>
                <a:gd name="connsiteX23" fmla="*/ 353774 w 446832"/>
                <a:gd name="connsiteY23" fmla="*/ 217931 h 385289"/>
                <a:gd name="connsiteX24" fmla="*/ 403023 w 446832"/>
                <a:gd name="connsiteY24" fmla="*/ 152734 h 385289"/>
                <a:gd name="connsiteX25" fmla="*/ 433564 w 446832"/>
                <a:gd name="connsiteY25" fmla="*/ 78463 h 385289"/>
                <a:gd name="connsiteX26" fmla="*/ 444835 w 446832"/>
                <a:gd name="connsiteY26" fmla="*/ 40767 h 385289"/>
                <a:gd name="connsiteX27" fmla="*/ 443666 w 446832"/>
                <a:gd name="connsiteY27" fmla="*/ 20141 h 385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46832" h="385289">
                  <a:moveTo>
                    <a:pt x="443666" y="20141"/>
                  </a:moveTo>
                  <a:cubicBezTo>
                    <a:pt x="441795" y="13472"/>
                    <a:pt x="441795" y="6419"/>
                    <a:pt x="443666" y="-250"/>
                  </a:cubicBezTo>
                  <a:lnTo>
                    <a:pt x="443666" y="-250"/>
                  </a:lnTo>
                  <a:cubicBezTo>
                    <a:pt x="441421" y="6302"/>
                    <a:pt x="437445" y="12139"/>
                    <a:pt x="432207" y="16680"/>
                  </a:cubicBezTo>
                  <a:cubicBezTo>
                    <a:pt x="426689" y="21025"/>
                    <a:pt x="422479" y="26872"/>
                    <a:pt x="420188" y="33517"/>
                  </a:cubicBezTo>
                  <a:lnTo>
                    <a:pt x="408775" y="70466"/>
                  </a:lnTo>
                  <a:cubicBezTo>
                    <a:pt x="401386" y="94566"/>
                    <a:pt x="391798" y="117937"/>
                    <a:pt x="380152" y="140293"/>
                  </a:cubicBezTo>
                  <a:cubicBezTo>
                    <a:pt x="356534" y="184116"/>
                    <a:pt x="319913" y="219531"/>
                    <a:pt x="275294" y="241643"/>
                  </a:cubicBezTo>
                  <a:cubicBezTo>
                    <a:pt x="230910" y="264561"/>
                    <a:pt x="180164" y="275458"/>
                    <a:pt x="129980" y="291874"/>
                  </a:cubicBezTo>
                  <a:cubicBezTo>
                    <a:pt x="104351" y="299989"/>
                    <a:pt x="79562" y="310479"/>
                    <a:pt x="55897" y="323210"/>
                  </a:cubicBezTo>
                  <a:lnTo>
                    <a:pt x="53933" y="324613"/>
                  </a:lnTo>
                  <a:cubicBezTo>
                    <a:pt x="43550" y="330291"/>
                    <a:pt x="33635" y="336862"/>
                    <a:pt x="24374" y="344256"/>
                  </a:cubicBezTo>
                  <a:cubicBezTo>
                    <a:pt x="17406" y="348723"/>
                    <a:pt x="12168" y="355467"/>
                    <a:pt x="9595" y="363338"/>
                  </a:cubicBezTo>
                  <a:cubicBezTo>
                    <a:pt x="8613" y="367580"/>
                    <a:pt x="7256" y="371715"/>
                    <a:pt x="5479" y="375686"/>
                  </a:cubicBezTo>
                  <a:cubicBezTo>
                    <a:pt x="3655" y="379048"/>
                    <a:pt x="1457" y="382187"/>
                    <a:pt x="-1069" y="385040"/>
                  </a:cubicBezTo>
                  <a:lnTo>
                    <a:pt x="-1069" y="385040"/>
                  </a:lnTo>
                  <a:cubicBezTo>
                    <a:pt x="1784" y="382491"/>
                    <a:pt x="4918" y="380293"/>
                    <a:pt x="8285" y="378492"/>
                  </a:cubicBezTo>
                  <a:cubicBezTo>
                    <a:pt x="12121" y="376818"/>
                    <a:pt x="16096" y="375592"/>
                    <a:pt x="20212" y="374844"/>
                  </a:cubicBezTo>
                  <a:cubicBezTo>
                    <a:pt x="27554" y="373235"/>
                    <a:pt x="34383" y="369718"/>
                    <a:pt x="39949" y="364648"/>
                  </a:cubicBezTo>
                  <a:cubicBezTo>
                    <a:pt x="51454" y="356108"/>
                    <a:pt x="63614" y="348475"/>
                    <a:pt x="76336" y="341824"/>
                  </a:cubicBezTo>
                  <a:cubicBezTo>
                    <a:pt x="79562" y="340141"/>
                    <a:pt x="83070" y="338410"/>
                    <a:pt x="86625" y="336680"/>
                  </a:cubicBezTo>
                  <a:cubicBezTo>
                    <a:pt x="102947" y="329150"/>
                    <a:pt x="120018" y="322929"/>
                    <a:pt x="138072" y="316522"/>
                  </a:cubicBezTo>
                  <a:cubicBezTo>
                    <a:pt x="186104" y="299311"/>
                    <a:pt x="238674" y="289582"/>
                    <a:pt x="287127" y="264701"/>
                  </a:cubicBezTo>
                  <a:cubicBezTo>
                    <a:pt x="311541" y="252503"/>
                    <a:pt x="333990" y="236742"/>
                    <a:pt x="353774" y="217931"/>
                  </a:cubicBezTo>
                  <a:cubicBezTo>
                    <a:pt x="373511" y="198900"/>
                    <a:pt x="390114" y="176900"/>
                    <a:pt x="403023" y="152734"/>
                  </a:cubicBezTo>
                  <a:cubicBezTo>
                    <a:pt x="415464" y="128970"/>
                    <a:pt x="425706" y="104107"/>
                    <a:pt x="433564" y="78463"/>
                  </a:cubicBezTo>
                  <a:cubicBezTo>
                    <a:pt x="437773" y="65882"/>
                    <a:pt x="441467" y="53348"/>
                    <a:pt x="444835" y="40767"/>
                  </a:cubicBezTo>
                  <a:cubicBezTo>
                    <a:pt x="446379" y="33920"/>
                    <a:pt x="446004" y="26769"/>
                    <a:pt x="443666" y="20141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33BD0713-A175-464D-B764-F99E96025171}"/>
                </a:ext>
              </a:extLst>
            </p:cNvPr>
            <p:cNvSpPr/>
            <p:nvPr/>
          </p:nvSpPr>
          <p:spPr>
            <a:xfrm>
              <a:off x="7831649" y="5757767"/>
              <a:ext cx="456721" cy="404512"/>
            </a:xfrm>
            <a:custGeom>
              <a:avLst/>
              <a:gdLst>
                <a:gd name="connsiteX0" fmla="*/ 455078 w 456721"/>
                <a:gd name="connsiteY0" fmla="*/ -250 h 404512"/>
                <a:gd name="connsiteX1" fmla="*/ 454750 w 456721"/>
                <a:gd name="connsiteY1" fmla="*/ -250 h 404512"/>
                <a:gd name="connsiteX2" fmla="*/ 428746 w 456721"/>
                <a:gd name="connsiteY2" fmla="*/ 38195 h 404512"/>
                <a:gd name="connsiteX3" fmla="*/ 417147 w 456721"/>
                <a:gd name="connsiteY3" fmla="*/ 76546 h 404512"/>
                <a:gd name="connsiteX4" fmla="*/ 388477 w 456721"/>
                <a:gd name="connsiteY4" fmla="*/ 149179 h 404512"/>
                <a:gd name="connsiteX5" fmla="*/ 343344 w 456721"/>
                <a:gd name="connsiteY5" fmla="*/ 210401 h 404512"/>
                <a:gd name="connsiteX6" fmla="*/ 281140 w 456721"/>
                <a:gd name="connsiteY6" fmla="*/ 254458 h 404512"/>
                <a:gd name="connsiteX7" fmla="*/ 130916 w 456721"/>
                <a:gd name="connsiteY7" fmla="*/ 306279 h 404512"/>
                <a:gd name="connsiteX8" fmla="*/ 98738 w 456721"/>
                <a:gd name="connsiteY8" fmla="*/ 318206 h 404512"/>
                <a:gd name="connsiteX9" fmla="*/ 62211 w 456721"/>
                <a:gd name="connsiteY9" fmla="*/ 335698 h 404512"/>
                <a:gd name="connsiteX10" fmla="*/ 48180 w 456721"/>
                <a:gd name="connsiteY10" fmla="*/ 344163 h 404512"/>
                <a:gd name="connsiteX11" fmla="*/ 44906 w 456721"/>
                <a:gd name="connsiteY11" fmla="*/ 346174 h 404512"/>
                <a:gd name="connsiteX12" fmla="*/ 44906 w 456721"/>
                <a:gd name="connsiteY12" fmla="*/ 346174 h 404512"/>
                <a:gd name="connsiteX13" fmla="*/ 22877 w 456721"/>
                <a:gd name="connsiteY13" fmla="*/ 362497 h 404512"/>
                <a:gd name="connsiteX14" fmla="*/ 8846 w 456721"/>
                <a:gd name="connsiteY14" fmla="*/ 382093 h 404512"/>
                <a:gd name="connsiteX15" fmla="*/ 5151 w 456721"/>
                <a:gd name="connsiteY15" fmla="*/ 394581 h 404512"/>
                <a:gd name="connsiteX16" fmla="*/ -1069 w 456721"/>
                <a:gd name="connsiteY16" fmla="*/ 404262 h 404512"/>
                <a:gd name="connsiteX17" fmla="*/ -1069 w 456721"/>
                <a:gd name="connsiteY17" fmla="*/ 404262 h 404512"/>
                <a:gd name="connsiteX18" fmla="*/ 8285 w 456721"/>
                <a:gd name="connsiteY18" fmla="*/ 397387 h 404512"/>
                <a:gd name="connsiteX19" fmla="*/ 20071 w 456721"/>
                <a:gd name="connsiteY19" fmla="*/ 393318 h 404512"/>
                <a:gd name="connsiteX20" fmla="*/ 39434 w 456721"/>
                <a:gd name="connsiteY20" fmla="*/ 382421 h 404512"/>
                <a:gd name="connsiteX21" fmla="*/ 64129 w 456721"/>
                <a:gd name="connsiteY21" fmla="*/ 364882 h 404512"/>
                <a:gd name="connsiteX22" fmla="*/ 64129 w 456721"/>
                <a:gd name="connsiteY22" fmla="*/ 364882 h 404512"/>
                <a:gd name="connsiteX23" fmla="*/ 68338 w 456721"/>
                <a:gd name="connsiteY23" fmla="*/ 362403 h 404512"/>
                <a:gd name="connsiteX24" fmla="*/ 99954 w 456721"/>
                <a:gd name="connsiteY24" fmla="*/ 346080 h 404512"/>
                <a:gd name="connsiteX25" fmla="*/ 106034 w 456721"/>
                <a:gd name="connsiteY25" fmla="*/ 343414 h 404512"/>
                <a:gd name="connsiteX26" fmla="*/ 139241 w 456721"/>
                <a:gd name="connsiteY26" fmla="*/ 330927 h 404512"/>
                <a:gd name="connsiteX27" fmla="*/ 215990 w 456721"/>
                <a:gd name="connsiteY27" fmla="*/ 307542 h 404512"/>
                <a:gd name="connsiteX28" fmla="*/ 293020 w 456721"/>
                <a:gd name="connsiteY28" fmla="*/ 277609 h 404512"/>
                <a:gd name="connsiteX29" fmla="*/ 361678 w 456721"/>
                <a:gd name="connsiteY29" fmla="*/ 228922 h 404512"/>
                <a:gd name="connsiteX30" fmla="*/ 411535 w 456721"/>
                <a:gd name="connsiteY30" fmla="*/ 161012 h 404512"/>
                <a:gd name="connsiteX31" fmla="*/ 441982 w 456721"/>
                <a:gd name="connsiteY31" fmla="*/ 84076 h 404512"/>
                <a:gd name="connsiteX32" fmla="*/ 448015 w 456721"/>
                <a:gd name="connsiteY32" fmla="*/ 64666 h 404512"/>
                <a:gd name="connsiteX33" fmla="*/ 453441 w 456721"/>
                <a:gd name="connsiteY33" fmla="*/ 45257 h 404512"/>
                <a:gd name="connsiteX34" fmla="*/ 455078 w 456721"/>
                <a:gd name="connsiteY34" fmla="*/ -250 h 404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56721" h="404512">
                  <a:moveTo>
                    <a:pt x="455078" y="-250"/>
                  </a:moveTo>
                  <a:lnTo>
                    <a:pt x="454750" y="-250"/>
                  </a:lnTo>
                  <a:cubicBezTo>
                    <a:pt x="449185" y="9946"/>
                    <a:pt x="431085" y="24818"/>
                    <a:pt x="428746" y="38195"/>
                  </a:cubicBezTo>
                  <a:lnTo>
                    <a:pt x="417147" y="76546"/>
                  </a:lnTo>
                  <a:cubicBezTo>
                    <a:pt x="409757" y="101554"/>
                    <a:pt x="400170" y="125860"/>
                    <a:pt x="388477" y="149179"/>
                  </a:cubicBezTo>
                  <a:cubicBezTo>
                    <a:pt x="376691" y="171797"/>
                    <a:pt x="361444" y="192451"/>
                    <a:pt x="343344" y="210401"/>
                  </a:cubicBezTo>
                  <a:cubicBezTo>
                    <a:pt x="324917" y="228108"/>
                    <a:pt x="303964" y="242957"/>
                    <a:pt x="281140" y="254458"/>
                  </a:cubicBezTo>
                  <a:cubicBezTo>
                    <a:pt x="235306" y="278124"/>
                    <a:pt x="182643" y="288834"/>
                    <a:pt x="130916" y="306279"/>
                  </a:cubicBezTo>
                  <a:cubicBezTo>
                    <a:pt x="120112" y="309787"/>
                    <a:pt x="109355" y="313763"/>
                    <a:pt x="98738" y="318206"/>
                  </a:cubicBezTo>
                  <a:cubicBezTo>
                    <a:pt x="86204" y="323257"/>
                    <a:pt x="73997" y="329098"/>
                    <a:pt x="62211" y="335698"/>
                  </a:cubicBezTo>
                  <a:cubicBezTo>
                    <a:pt x="57534" y="338410"/>
                    <a:pt x="52857" y="341263"/>
                    <a:pt x="48180" y="344163"/>
                  </a:cubicBezTo>
                  <a:lnTo>
                    <a:pt x="44906" y="346174"/>
                  </a:lnTo>
                  <a:lnTo>
                    <a:pt x="44906" y="346174"/>
                  </a:lnTo>
                  <a:cubicBezTo>
                    <a:pt x="37189" y="351071"/>
                    <a:pt x="29799" y="356524"/>
                    <a:pt x="22877" y="362497"/>
                  </a:cubicBezTo>
                  <a:cubicBezTo>
                    <a:pt x="16096" y="367230"/>
                    <a:pt x="11138" y="374147"/>
                    <a:pt x="8846" y="382093"/>
                  </a:cubicBezTo>
                  <a:cubicBezTo>
                    <a:pt x="8005" y="386363"/>
                    <a:pt x="6789" y="390545"/>
                    <a:pt x="5151" y="394581"/>
                  </a:cubicBezTo>
                  <a:cubicBezTo>
                    <a:pt x="3468" y="398046"/>
                    <a:pt x="1410" y="401297"/>
                    <a:pt x="-1069" y="404262"/>
                  </a:cubicBezTo>
                  <a:lnTo>
                    <a:pt x="-1069" y="404262"/>
                  </a:lnTo>
                  <a:cubicBezTo>
                    <a:pt x="1737" y="401587"/>
                    <a:pt x="4871" y="399277"/>
                    <a:pt x="8285" y="397387"/>
                  </a:cubicBezTo>
                  <a:cubicBezTo>
                    <a:pt x="12027" y="395568"/>
                    <a:pt x="16002" y="394197"/>
                    <a:pt x="20071" y="393318"/>
                  </a:cubicBezTo>
                  <a:cubicBezTo>
                    <a:pt x="27367" y="391466"/>
                    <a:pt x="34055" y="387706"/>
                    <a:pt x="39434" y="382421"/>
                  </a:cubicBezTo>
                  <a:cubicBezTo>
                    <a:pt x="47432" y="376294"/>
                    <a:pt x="55569" y="370307"/>
                    <a:pt x="64129" y="364882"/>
                  </a:cubicBezTo>
                  <a:lnTo>
                    <a:pt x="64129" y="364882"/>
                  </a:lnTo>
                  <a:lnTo>
                    <a:pt x="68338" y="362403"/>
                  </a:lnTo>
                  <a:cubicBezTo>
                    <a:pt x="78534" y="356332"/>
                    <a:pt x="89104" y="350884"/>
                    <a:pt x="99954" y="346080"/>
                  </a:cubicBezTo>
                  <a:lnTo>
                    <a:pt x="106034" y="343414"/>
                  </a:lnTo>
                  <a:cubicBezTo>
                    <a:pt x="116838" y="338770"/>
                    <a:pt x="127876" y="334608"/>
                    <a:pt x="139241" y="330927"/>
                  </a:cubicBezTo>
                  <a:cubicBezTo>
                    <a:pt x="164216" y="322602"/>
                    <a:pt x="190033" y="315540"/>
                    <a:pt x="215990" y="307542"/>
                  </a:cubicBezTo>
                  <a:cubicBezTo>
                    <a:pt x="242508" y="299886"/>
                    <a:pt x="268279" y="289868"/>
                    <a:pt x="293020" y="277609"/>
                  </a:cubicBezTo>
                  <a:cubicBezTo>
                    <a:pt x="318229" y="264911"/>
                    <a:pt x="341380" y="248500"/>
                    <a:pt x="361678" y="228922"/>
                  </a:cubicBezTo>
                  <a:cubicBezTo>
                    <a:pt x="381695" y="209007"/>
                    <a:pt x="398533" y="186095"/>
                    <a:pt x="411535" y="161012"/>
                  </a:cubicBezTo>
                  <a:cubicBezTo>
                    <a:pt x="423929" y="136313"/>
                    <a:pt x="434125" y="110566"/>
                    <a:pt x="441982" y="84076"/>
                  </a:cubicBezTo>
                  <a:lnTo>
                    <a:pt x="448015" y="64666"/>
                  </a:lnTo>
                  <a:cubicBezTo>
                    <a:pt x="449980" y="58212"/>
                    <a:pt x="451476" y="51664"/>
                    <a:pt x="453441" y="45257"/>
                  </a:cubicBezTo>
                  <a:cubicBezTo>
                    <a:pt x="458632" y="32910"/>
                    <a:pt x="452739" y="8964"/>
                    <a:pt x="455078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4F9F70C4-C576-4D36-B181-0563E857D39D}"/>
                </a:ext>
              </a:extLst>
            </p:cNvPr>
            <p:cNvSpPr/>
            <p:nvPr/>
          </p:nvSpPr>
          <p:spPr>
            <a:xfrm>
              <a:off x="7875192" y="5764502"/>
              <a:ext cx="467791" cy="439963"/>
            </a:xfrm>
            <a:custGeom>
              <a:avLst/>
              <a:gdLst>
                <a:gd name="connsiteX0" fmla="*/ 466723 w 467791"/>
                <a:gd name="connsiteY0" fmla="*/ -250 h 439963"/>
                <a:gd name="connsiteX1" fmla="*/ 466723 w 467791"/>
                <a:gd name="connsiteY1" fmla="*/ -250 h 439963"/>
                <a:gd name="connsiteX2" fmla="*/ 452224 w 467791"/>
                <a:gd name="connsiteY2" fmla="*/ 17195 h 439963"/>
                <a:gd name="connsiteX3" fmla="*/ 439643 w 467791"/>
                <a:gd name="connsiteY3" fmla="*/ 35903 h 439963"/>
                <a:gd name="connsiteX4" fmla="*/ 426922 w 467791"/>
                <a:gd name="connsiteY4" fmla="*/ 77154 h 439963"/>
                <a:gd name="connsiteX5" fmla="*/ 400544 w 467791"/>
                <a:gd name="connsiteY5" fmla="*/ 157130 h 439963"/>
                <a:gd name="connsiteX6" fmla="*/ 359714 w 467791"/>
                <a:gd name="connsiteY6" fmla="*/ 227566 h 439963"/>
                <a:gd name="connsiteX7" fmla="*/ 298913 w 467791"/>
                <a:gd name="connsiteY7" fmla="*/ 280275 h 439963"/>
                <a:gd name="connsiteX8" fmla="*/ 141860 w 467791"/>
                <a:gd name="connsiteY8" fmla="*/ 338597 h 439963"/>
                <a:gd name="connsiteX9" fmla="*/ 96353 w 467791"/>
                <a:gd name="connsiteY9" fmla="*/ 354499 h 439963"/>
                <a:gd name="connsiteX10" fmla="*/ 91114 w 467791"/>
                <a:gd name="connsiteY10" fmla="*/ 356744 h 439963"/>
                <a:gd name="connsiteX11" fmla="*/ 88870 w 467791"/>
                <a:gd name="connsiteY11" fmla="*/ 357726 h 439963"/>
                <a:gd name="connsiteX12" fmla="*/ 62538 w 467791"/>
                <a:gd name="connsiteY12" fmla="*/ 370962 h 439963"/>
                <a:gd name="connsiteX13" fmla="*/ 23298 w 467791"/>
                <a:gd name="connsiteY13" fmla="*/ 397761 h 439963"/>
                <a:gd name="connsiteX14" fmla="*/ 9267 w 467791"/>
                <a:gd name="connsiteY14" fmla="*/ 417358 h 439963"/>
                <a:gd name="connsiteX15" fmla="*/ 5151 w 467791"/>
                <a:gd name="connsiteY15" fmla="*/ 430032 h 439963"/>
                <a:gd name="connsiteX16" fmla="*/ -1069 w 467791"/>
                <a:gd name="connsiteY16" fmla="*/ 439714 h 439963"/>
                <a:gd name="connsiteX17" fmla="*/ -1069 w 467791"/>
                <a:gd name="connsiteY17" fmla="*/ 439714 h 439963"/>
                <a:gd name="connsiteX18" fmla="*/ 8285 w 467791"/>
                <a:gd name="connsiteY18" fmla="*/ 432838 h 439963"/>
                <a:gd name="connsiteX19" fmla="*/ 20025 w 467791"/>
                <a:gd name="connsiteY19" fmla="*/ 428769 h 439963"/>
                <a:gd name="connsiteX20" fmla="*/ 39434 w 467791"/>
                <a:gd name="connsiteY20" fmla="*/ 417919 h 439963"/>
                <a:gd name="connsiteX21" fmla="*/ 73202 w 467791"/>
                <a:gd name="connsiteY21" fmla="*/ 395236 h 439963"/>
                <a:gd name="connsiteX22" fmla="*/ 149530 w 467791"/>
                <a:gd name="connsiteY22" fmla="*/ 363572 h 439963"/>
                <a:gd name="connsiteX23" fmla="*/ 231471 w 467791"/>
                <a:gd name="connsiteY23" fmla="*/ 338597 h 439963"/>
                <a:gd name="connsiteX24" fmla="*/ 312149 w 467791"/>
                <a:gd name="connsiteY24" fmla="*/ 302678 h 439963"/>
                <a:gd name="connsiteX25" fmla="*/ 379871 w 467791"/>
                <a:gd name="connsiteY25" fmla="*/ 244169 h 439963"/>
                <a:gd name="connsiteX26" fmla="*/ 424630 w 467791"/>
                <a:gd name="connsiteY26" fmla="*/ 167139 h 439963"/>
                <a:gd name="connsiteX27" fmla="*/ 451850 w 467791"/>
                <a:gd name="connsiteY27" fmla="*/ 84637 h 439963"/>
                <a:gd name="connsiteX28" fmla="*/ 464198 w 467791"/>
                <a:gd name="connsiteY28" fmla="*/ 44134 h 439963"/>
                <a:gd name="connsiteX29" fmla="*/ 465647 w 467791"/>
                <a:gd name="connsiteY29" fmla="*/ 22340 h 439963"/>
                <a:gd name="connsiteX30" fmla="*/ 466723 w 467791"/>
                <a:gd name="connsiteY30" fmla="*/ -250 h 439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67791" h="439963">
                  <a:moveTo>
                    <a:pt x="466723" y="-250"/>
                  </a:moveTo>
                  <a:lnTo>
                    <a:pt x="466723" y="-250"/>
                  </a:lnTo>
                  <a:cubicBezTo>
                    <a:pt x="463543" y="6751"/>
                    <a:pt x="458538" y="12775"/>
                    <a:pt x="452224" y="17195"/>
                  </a:cubicBezTo>
                  <a:cubicBezTo>
                    <a:pt x="446098" y="21895"/>
                    <a:pt x="441701" y="28462"/>
                    <a:pt x="439643" y="35903"/>
                  </a:cubicBezTo>
                  <a:cubicBezTo>
                    <a:pt x="434639" y="49560"/>
                    <a:pt x="431084" y="63497"/>
                    <a:pt x="426922" y="77154"/>
                  </a:cubicBezTo>
                  <a:cubicBezTo>
                    <a:pt x="419485" y="104238"/>
                    <a:pt x="410693" y="130930"/>
                    <a:pt x="400544" y="157130"/>
                  </a:cubicBezTo>
                  <a:cubicBezTo>
                    <a:pt x="390535" y="182508"/>
                    <a:pt x="376738" y="206248"/>
                    <a:pt x="359714" y="227566"/>
                  </a:cubicBezTo>
                  <a:cubicBezTo>
                    <a:pt x="342596" y="248458"/>
                    <a:pt x="322017" y="266282"/>
                    <a:pt x="298913" y="280275"/>
                  </a:cubicBezTo>
                  <a:cubicBezTo>
                    <a:pt x="252470" y="309039"/>
                    <a:pt x="197095" y="321713"/>
                    <a:pt x="141860" y="338597"/>
                  </a:cubicBezTo>
                  <a:cubicBezTo>
                    <a:pt x="126426" y="343129"/>
                    <a:pt x="111226" y="348438"/>
                    <a:pt x="96353" y="354499"/>
                  </a:cubicBezTo>
                  <a:cubicBezTo>
                    <a:pt x="94622" y="355201"/>
                    <a:pt x="92845" y="355949"/>
                    <a:pt x="91114" y="356744"/>
                  </a:cubicBezTo>
                  <a:lnTo>
                    <a:pt x="88870" y="357726"/>
                  </a:lnTo>
                  <a:cubicBezTo>
                    <a:pt x="79983" y="361748"/>
                    <a:pt x="71190" y="366238"/>
                    <a:pt x="62538" y="370962"/>
                  </a:cubicBezTo>
                  <a:cubicBezTo>
                    <a:pt x="48601" y="378590"/>
                    <a:pt x="35458" y="387565"/>
                    <a:pt x="23298" y="397761"/>
                  </a:cubicBezTo>
                  <a:cubicBezTo>
                    <a:pt x="16517" y="402490"/>
                    <a:pt x="11559" y="409407"/>
                    <a:pt x="9267" y="417358"/>
                  </a:cubicBezTo>
                  <a:cubicBezTo>
                    <a:pt x="8332" y="421707"/>
                    <a:pt x="6929" y="425954"/>
                    <a:pt x="5151" y="430032"/>
                  </a:cubicBezTo>
                  <a:cubicBezTo>
                    <a:pt x="3468" y="433489"/>
                    <a:pt x="1363" y="436739"/>
                    <a:pt x="-1069" y="439714"/>
                  </a:cubicBezTo>
                  <a:lnTo>
                    <a:pt x="-1069" y="439714"/>
                  </a:lnTo>
                  <a:cubicBezTo>
                    <a:pt x="1784" y="437057"/>
                    <a:pt x="4917" y="434747"/>
                    <a:pt x="8285" y="432838"/>
                  </a:cubicBezTo>
                  <a:cubicBezTo>
                    <a:pt x="12027" y="431019"/>
                    <a:pt x="15956" y="429653"/>
                    <a:pt x="20025" y="428769"/>
                  </a:cubicBezTo>
                  <a:cubicBezTo>
                    <a:pt x="27320" y="426927"/>
                    <a:pt x="34055" y="423185"/>
                    <a:pt x="39434" y="417919"/>
                  </a:cubicBezTo>
                  <a:cubicBezTo>
                    <a:pt x="50144" y="409641"/>
                    <a:pt x="73155" y="395142"/>
                    <a:pt x="73202" y="395236"/>
                  </a:cubicBezTo>
                  <a:cubicBezTo>
                    <a:pt x="97522" y="382121"/>
                    <a:pt x="123058" y="371514"/>
                    <a:pt x="149530" y="363572"/>
                  </a:cubicBezTo>
                  <a:cubicBezTo>
                    <a:pt x="176235" y="354967"/>
                    <a:pt x="203876" y="347671"/>
                    <a:pt x="231471" y="338597"/>
                  </a:cubicBezTo>
                  <a:cubicBezTo>
                    <a:pt x="259673" y="329786"/>
                    <a:pt x="286752" y="317733"/>
                    <a:pt x="312149" y="302678"/>
                  </a:cubicBezTo>
                  <a:cubicBezTo>
                    <a:pt x="337872" y="287169"/>
                    <a:pt x="360790" y="267385"/>
                    <a:pt x="379871" y="244169"/>
                  </a:cubicBezTo>
                  <a:cubicBezTo>
                    <a:pt x="398533" y="220859"/>
                    <a:pt x="413639" y="194897"/>
                    <a:pt x="424630" y="167139"/>
                  </a:cubicBezTo>
                  <a:cubicBezTo>
                    <a:pt x="435107" y="140120"/>
                    <a:pt x="444180" y="112582"/>
                    <a:pt x="451850" y="84637"/>
                  </a:cubicBezTo>
                  <a:lnTo>
                    <a:pt x="464198" y="44134"/>
                  </a:lnTo>
                  <a:cubicBezTo>
                    <a:pt x="466816" y="37166"/>
                    <a:pt x="467285" y="29589"/>
                    <a:pt x="465647" y="22340"/>
                  </a:cubicBezTo>
                  <a:cubicBezTo>
                    <a:pt x="463683" y="14880"/>
                    <a:pt x="464057" y="6990"/>
                    <a:pt x="466723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6FE73BB8-49AB-489A-BE12-F8AD67692441}"/>
                </a:ext>
              </a:extLst>
            </p:cNvPr>
            <p:cNvSpPr/>
            <p:nvPr/>
          </p:nvSpPr>
          <p:spPr>
            <a:xfrm>
              <a:off x="7948480" y="5767449"/>
              <a:ext cx="457502" cy="452545"/>
            </a:xfrm>
            <a:custGeom>
              <a:avLst/>
              <a:gdLst>
                <a:gd name="connsiteX0" fmla="*/ 456434 w 457502"/>
                <a:gd name="connsiteY0" fmla="*/ -250 h 452545"/>
                <a:gd name="connsiteX1" fmla="*/ 456434 w 457502"/>
                <a:gd name="connsiteY1" fmla="*/ -250 h 452545"/>
                <a:gd name="connsiteX2" fmla="*/ 439690 w 457502"/>
                <a:gd name="connsiteY2" fmla="*/ 15231 h 452545"/>
                <a:gd name="connsiteX3" fmla="*/ 425145 w 457502"/>
                <a:gd name="connsiteY3" fmla="*/ 32722 h 452545"/>
                <a:gd name="connsiteX4" fmla="*/ 409618 w 457502"/>
                <a:gd name="connsiteY4" fmla="*/ 73786 h 452545"/>
                <a:gd name="connsiteX5" fmla="*/ 384596 w 457502"/>
                <a:gd name="connsiteY5" fmla="*/ 155774 h 452545"/>
                <a:gd name="connsiteX6" fmla="*/ 352933 w 457502"/>
                <a:gd name="connsiteY6" fmla="*/ 232243 h 452545"/>
                <a:gd name="connsiteX7" fmla="*/ 302280 w 457502"/>
                <a:gd name="connsiteY7" fmla="*/ 295055 h 452545"/>
                <a:gd name="connsiteX8" fmla="*/ 233389 w 457502"/>
                <a:gd name="connsiteY8" fmla="*/ 338036 h 452545"/>
                <a:gd name="connsiteX9" fmla="*/ 153880 w 457502"/>
                <a:gd name="connsiteY9" fmla="*/ 365350 h 452545"/>
                <a:gd name="connsiteX10" fmla="*/ 71285 w 457502"/>
                <a:gd name="connsiteY10" fmla="*/ 391728 h 452545"/>
                <a:gd name="connsiteX11" fmla="*/ 50612 w 457502"/>
                <a:gd name="connsiteY11" fmla="*/ 401316 h 452545"/>
                <a:gd name="connsiteX12" fmla="*/ 50612 w 457502"/>
                <a:gd name="connsiteY12" fmla="*/ 401316 h 452545"/>
                <a:gd name="connsiteX13" fmla="*/ 28069 w 457502"/>
                <a:gd name="connsiteY13" fmla="*/ 413943 h 452545"/>
                <a:gd name="connsiteX14" fmla="*/ 11559 w 457502"/>
                <a:gd name="connsiteY14" fmla="*/ 431576 h 452545"/>
                <a:gd name="connsiteX15" fmla="*/ 6321 w 457502"/>
                <a:gd name="connsiteY15" fmla="*/ 443502 h 452545"/>
                <a:gd name="connsiteX16" fmla="*/ -1069 w 457502"/>
                <a:gd name="connsiteY16" fmla="*/ 452295 h 452545"/>
                <a:gd name="connsiteX17" fmla="*/ -1069 w 457502"/>
                <a:gd name="connsiteY17" fmla="*/ 452295 h 452545"/>
                <a:gd name="connsiteX18" fmla="*/ 8987 w 457502"/>
                <a:gd name="connsiteY18" fmla="*/ 446636 h 452545"/>
                <a:gd name="connsiteX19" fmla="*/ 21194 w 457502"/>
                <a:gd name="connsiteY19" fmla="*/ 444110 h 452545"/>
                <a:gd name="connsiteX20" fmla="*/ 41819 w 457502"/>
                <a:gd name="connsiteY20" fmla="*/ 435832 h 452545"/>
                <a:gd name="connsiteX21" fmla="*/ 61650 w 457502"/>
                <a:gd name="connsiteY21" fmla="*/ 424981 h 452545"/>
                <a:gd name="connsiteX22" fmla="*/ 81059 w 457502"/>
                <a:gd name="connsiteY22" fmla="*/ 416376 h 452545"/>
                <a:gd name="connsiteX23" fmla="*/ 161223 w 457502"/>
                <a:gd name="connsiteY23" fmla="*/ 390278 h 452545"/>
                <a:gd name="connsiteX24" fmla="*/ 243585 w 457502"/>
                <a:gd name="connsiteY24" fmla="*/ 361795 h 452545"/>
                <a:gd name="connsiteX25" fmla="*/ 319211 w 457502"/>
                <a:gd name="connsiteY25" fmla="*/ 314558 h 452545"/>
                <a:gd name="connsiteX26" fmla="*/ 375335 w 457502"/>
                <a:gd name="connsiteY26" fmla="*/ 244917 h 452545"/>
                <a:gd name="connsiteX27" fmla="*/ 409103 w 457502"/>
                <a:gd name="connsiteY27" fmla="*/ 163584 h 452545"/>
                <a:gd name="connsiteX28" fmla="*/ 433984 w 457502"/>
                <a:gd name="connsiteY28" fmla="*/ 81878 h 452545"/>
                <a:gd name="connsiteX29" fmla="*/ 448530 w 457502"/>
                <a:gd name="connsiteY29" fmla="*/ 42871 h 452545"/>
                <a:gd name="connsiteX30" fmla="*/ 456434 w 457502"/>
                <a:gd name="connsiteY30" fmla="*/ -250 h 45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57502" h="452545">
                  <a:moveTo>
                    <a:pt x="456434" y="-250"/>
                  </a:moveTo>
                  <a:lnTo>
                    <a:pt x="456434" y="-250"/>
                  </a:lnTo>
                  <a:cubicBezTo>
                    <a:pt x="452318" y="6307"/>
                    <a:pt x="446566" y="11648"/>
                    <a:pt x="439690" y="15231"/>
                  </a:cubicBezTo>
                  <a:cubicBezTo>
                    <a:pt x="433096" y="19351"/>
                    <a:pt x="427998" y="25483"/>
                    <a:pt x="425145" y="32722"/>
                  </a:cubicBezTo>
                  <a:cubicBezTo>
                    <a:pt x="419252" y="46127"/>
                    <a:pt x="414060" y="59830"/>
                    <a:pt x="409618" y="73786"/>
                  </a:cubicBezTo>
                  <a:cubicBezTo>
                    <a:pt x="400264" y="101381"/>
                    <a:pt x="393154" y="129022"/>
                    <a:pt x="384596" y="155774"/>
                  </a:cubicBezTo>
                  <a:cubicBezTo>
                    <a:pt x="376691" y="182283"/>
                    <a:pt x="366075" y="207908"/>
                    <a:pt x="352933" y="232243"/>
                  </a:cubicBezTo>
                  <a:cubicBezTo>
                    <a:pt x="339790" y="255950"/>
                    <a:pt x="322673" y="277198"/>
                    <a:pt x="302280" y="295055"/>
                  </a:cubicBezTo>
                  <a:cubicBezTo>
                    <a:pt x="281702" y="312860"/>
                    <a:pt x="258457" y="327363"/>
                    <a:pt x="233389" y="338036"/>
                  </a:cubicBezTo>
                  <a:cubicBezTo>
                    <a:pt x="207478" y="348817"/>
                    <a:pt x="180913" y="357941"/>
                    <a:pt x="153880" y="365350"/>
                  </a:cubicBezTo>
                  <a:cubicBezTo>
                    <a:pt x="126613" y="373441"/>
                    <a:pt x="98598" y="380784"/>
                    <a:pt x="71285" y="391728"/>
                  </a:cubicBezTo>
                  <a:cubicBezTo>
                    <a:pt x="63801" y="394721"/>
                    <a:pt x="57487" y="398088"/>
                    <a:pt x="50612" y="401316"/>
                  </a:cubicBezTo>
                  <a:lnTo>
                    <a:pt x="50612" y="401316"/>
                  </a:lnTo>
                  <a:cubicBezTo>
                    <a:pt x="42801" y="404982"/>
                    <a:pt x="35272" y="409201"/>
                    <a:pt x="28069" y="413943"/>
                  </a:cubicBezTo>
                  <a:cubicBezTo>
                    <a:pt x="20679" y="417741"/>
                    <a:pt x="14880" y="423971"/>
                    <a:pt x="11559" y="431576"/>
                  </a:cubicBezTo>
                  <a:cubicBezTo>
                    <a:pt x="10203" y="435710"/>
                    <a:pt x="8426" y="439704"/>
                    <a:pt x="6321" y="443502"/>
                  </a:cubicBezTo>
                  <a:cubicBezTo>
                    <a:pt x="4216" y="446706"/>
                    <a:pt x="1737" y="449657"/>
                    <a:pt x="-1069" y="452295"/>
                  </a:cubicBezTo>
                  <a:lnTo>
                    <a:pt x="-1069" y="452295"/>
                  </a:lnTo>
                  <a:cubicBezTo>
                    <a:pt x="2065" y="450012"/>
                    <a:pt x="5432" y="448109"/>
                    <a:pt x="8987" y="446636"/>
                  </a:cubicBezTo>
                  <a:cubicBezTo>
                    <a:pt x="12962" y="445321"/>
                    <a:pt x="17031" y="444470"/>
                    <a:pt x="21194" y="444110"/>
                  </a:cubicBezTo>
                  <a:cubicBezTo>
                    <a:pt x="28677" y="443226"/>
                    <a:pt x="35786" y="440373"/>
                    <a:pt x="41819" y="435832"/>
                  </a:cubicBezTo>
                  <a:cubicBezTo>
                    <a:pt x="48321" y="432043"/>
                    <a:pt x="54915" y="428395"/>
                    <a:pt x="61650" y="424981"/>
                  </a:cubicBezTo>
                  <a:cubicBezTo>
                    <a:pt x="68384" y="421567"/>
                    <a:pt x="74418" y="418995"/>
                    <a:pt x="81059" y="416376"/>
                  </a:cubicBezTo>
                  <a:cubicBezTo>
                    <a:pt x="106736" y="406133"/>
                    <a:pt x="133816" y="398369"/>
                    <a:pt x="161223" y="390278"/>
                  </a:cubicBezTo>
                  <a:cubicBezTo>
                    <a:pt x="189238" y="382537"/>
                    <a:pt x="216739" y="373024"/>
                    <a:pt x="243585" y="361795"/>
                  </a:cubicBezTo>
                  <a:cubicBezTo>
                    <a:pt x="271085" y="350065"/>
                    <a:pt x="296621" y="334126"/>
                    <a:pt x="319211" y="314558"/>
                  </a:cubicBezTo>
                  <a:cubicBezTo>
                    <a:pt x="341754" y="294732"/>
                    <a:pt x="360743" y="271178"/>
                    <a:pt x="375335" y="244917"/>
                  </a:cubicBezTo>
                  <a:cubicBezTo>
                    <a:pt x="389320" y="219030"/>
                    <a:pt x="400638" y="191777"/>
                    <a:pt x="409103" y="163584"/>
                  </a:cubicBezTo>
                  <a:cubicBezTo>
                    <a:pt x="417896" y="135990"/>
                    <a:pt x="425192" y="108443"/>
                    <a:pt x="433984" y="81878"/>
                  </a:cubicBezTo>
                  <a:cubicBezTo>
                    <a:pt x="438287" y="68548"/>
                    <a:pt x="443338" y="55733"/>
                    <a:pt x="448530" y="42871"/>
                  </a:cubicBezTo>
                  <a:cubicBezTo>
                    <a:pt x="456621" y="31694"/>
                    <a:pt x="448109" y="11816"/>
                    <a:pt x="456434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979C433-2154-4D2A-A354-E8E1F5EBF2C6}"/>
                </a:ext>
              </a:extLst>
            </p:cNvPr>
            <p:cNvSpPr/>
            <p:nvPr/>
          </p:nvSpPr>
          <p:spPr>
            <a:xfrm>
              <a:off x="8014660" y="5788542"/>
              <a:ext cx="448382" cy="456613"/>
            </a:xfrm>
            <a:custGeom>
              <a:avLst/>
              <a:gdLst>
                <a:gd name="connsiteX0" fmla="*/ 447314 w 448382"/>
                <a:gd name="connsiteY0" fmla="*/ 77 h 456613"/>
                <a:gd name="connsiteX1" fmla="*/ 429167 w 448382"/>
                <a:gd name="connsiteY1" fmla="*/ 14108 h 456613"/>
                <a:gd name="connsiteX2" fmla="*/ 413125 w 448382"/>
                <a:gd name="connsiteY2" fmla="*/ 30384 h 456613"/>
                <a:gd name="connsiteX3" fmla="*/ 403256 w 448382"/>
                <a:gd name="connsiteY3" fmla="*/ 50355 h 456613"/>
                <a:gd name="connsiteX4" fmla="*/ 394885 w 448382"/>
                <a:gd name="connsiteY4" fmla="*/ 70793 h 456613"/>
                <a:gd name="connsiteX5" fmla="*/ 368553 w 448382"/>
                <a:gd name="connsiteY5" fmla="*/ 153248 h 456613"/>
                <a:gd name="connsiteX6" fmla="*/ 340492 w 448382"/>
                <a:gd name="connsiteY6" fmla="*/ 232055 h 456613"/>
                <a:gd name="connsiteX7" fmla="*/ 296013 w 448382"/>
                <a:gd name="connsiteY7" fmla="*/ 299872 h 456613"/>
                <a:gd name="connsiteX8" fmla="*/ 231939 w 448382"/>
                <a:gd name="connsiteY8" fmla="*/ 349074 h 456613"/>
                <a:gd name="connsiteX9" fmla="*/ 154909 w 448382"/>
                <a:gd name="connsiteY9" fmla="*/ 379755 h 456613"/>
                <a:gd name="connsiteX10" fmla="*/ 72734 w 448382"/>
                <a:gd name="connsiteY10" fmla="*/ 404917 h 456613"/>
                <a:gd name="connsiteX11" fmla="*/ 65344 w 448382"/>
                <a:gd name="connsiteY11" fmla="*/ 407583 h 456613"/>
                <a:gd name="connsiteX12" fmla="*/ 31857 w 448382"/>
                <a:gd name="connsiteY12" fmla="*/ 421193 h 456613"/>
                <a:gd name="connsiteX13" fmla="*/ 13664 w 448382"/>
                <a:gd name="connsiteY13" fmla="*/ 437048 h 456613"/>
                <a:gd name="connsiteX14" fmla="*/ 7210 w 448382"/>
                <a:gd name="connsiteY14" fmla="*/ 448366 h 456613"/>
                <a:gd name="connsiteX15" fmla="*/ -1069 w 448382"/>
                <a:gd name="connsiteY15" fmla="*/ 456364 h 456613"/>
                <a:gd name="connsiteX16" fmla="*/ -1069 w 448382"/>
                <a:gd name="connsiteY16" fmla="*/ 456364 h 456613"/>
                <a:gd name="connsiteX17" fmla="*/ 9501 w 448382"/>
                <a:gd name="connsiteY17" fmla="*/ 451687 h 456613"/>
                <a:gd name="connsiteX18" fmla="*/ 21895 w 448382"/>
                <a:gd name="connsiteY18" fmla="*/ 450424 h 456613"/>
                <a:gd name="connsiteX19" fmla="*/ 43222 w 448382"/>
                <a:gd name="connsiteY19" fmla="*/ 444297 h 456613"/>
                <a:gd name="connsiteX20" fmla="*/ 53652 w 448382"/>
                <a:gd name="connsiteY20" fmla="*/ 439620 h 456613"/>
                <a:gd name="connsiteX21" fmla="*/ 53652 w 448382"/>
                <a:gd name="connsiteY21" fmla="*/ 439620 h 456613"/>
                <a:gd name="connsiteX22" fmla="*/ 72360 w 448382"/>
                <a:gd name="connsiteY22" fmla="*/ 432277 h 456613"/>
                <a:gd name="connsiteX23" fmla="*/ 77318 w 448382"/>
                <a:gd name="connsiteY23" fmla="*/ 430640 h 456613"/>
                <a:gd name="connsiteX24" fmla="*/ 77318 w 448382"/>
                <a:gd name="connsiteY24" fmla="*/ 430640 h 456613"/>
                <a:gd name="connsiteX25" fmla="*/ 79703 w 448382"/>
                <a:gd name="connsiteY25" fmla="*/ 429799 h 456613"/>
                <a:gd name="connsiteX26" fmla="*/ 162626 w 448382"/>
                <a:gd name="connsiteY26" fmla="*/ 404309 h 456613"/>
                <a:gd name="connsiteX27" fmla="*/ 244239 w 448382"/>
                <a:gd name="connsiteY27" fmla="*/ 371570 h 456613"/>
                <a:gd name="connsiteX28" fmla="*/ 315142 w 448382"/>
                <a:gd name="connsiteY28" fmla="*/ 317083 h 456613"/>
                <a:gd name="connsiteX29" fmla="*/ 364110 w 448382"/>
                <a:gd name="connsiteY29" fmla="*/ 242485 h 456613"/>
                <a:gd name="connsiteX30" fmla="*/ 393388 w 448382"/>
                <a:gd name="connsiteY30" fmla="*/ 160170 h 456613"/>
                <a:gd name="connsiteX31" fmla="*/ 419065 w 448382"/>
                <a:gd name="connsiteY31" fmla="*/ 79679 h 456613"/>
                <a:gd name="connsiteX32" fmla="*/ 427063 w 448382"/>
                <a:gd name="connsiteY32" fmla="*/ 60551 h 456613"/>
                <a:gd name="connsiteX33" fmla="*/ 435855 w 448382"/>
                <a:gd name="connsiteY33" fmla="*/ 41843 h 456613"/>
                <a:gd name="connsiteX34" fmla="*/ 447220 w 448382"/>
                <a:gd name="connsiteY34" fmla="*/ -250 h 456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48382" h="456613">
                  <a:moveTo>
                    <a:pt x="447314" y="77"/>
                  </a:moveTo>
                  <a:cubicBezTo>
                    <a:pt x="442684" y="6344"/>
                    <a:pt x="436417" y="11204"/>
                    <a:pt x="429167" y="14108"/>
                  </a:cubicBezTo>
                  <a:cubicBezTo>
                    <a:pt x="422198" y="17681"/>
                    <a:pt x="416586" y="23387"/>
                    <a:pt x="413125" y="30384"/>
                  </a:cubicBezTo>
                  <a:cubicBezTo>
                    <a:pt x="409664" y="36978"/>
                    <a:pt x="406343" y="43573"/>
                    <a:pt x="403256" y="50355"/>
                  </a:cubicBezTo>
                  <a:lnTo>
                    <a:pt x="394885" y="70793"/>
                  </a:lnTo>
                  <a:cubicBezTo>
                    <a:pt x="384362" y="98200"/>
                    <a:pt x="376598" y="126028"/>
                    <a:pt x="368553" y="153248"/>
                  </a:cubicBezTo>
                  <a:cubicBezTo>
                    <a:pt x="361070" y="180150"/>
                    <a:pt x="351716" y="206487"/>
                    <a:pt x="340492" y="232055"/>
                  </a:cubicBezTo>
                  <a:cubicBezTo>
                    <a:pt x="329407" y="256904"/>
                    <a:pt x="314394" y="279803"/>
                    <a:pt x="296013" y="299872"/>
                  </a:cubicBezTo>
                  <a:cubicBezTo>
                    <a:pt x="277586" y="319763"/>
                    <a:pt x="255931" y="336399"/>
                    <a:pt x="231939" y="349074"/>
                  </a:cubicBezTo>
                  <a:cubicBezTo>
                    <a:pt x="207291" y="361739"/>
                    <a:pt x="181521" y="372010"/>
                    <a:pt x="154909" y="379755"/>
                  </a:cubicBezTo>
                  <a:cubicBezTo>
                    <a:pt x="128016" y="388126"/>
                    <a:pt x="100329" y="395516"/>
                    <a:pt x="72734" y="404917"/>
                  </a:cubicBezTo>
                  <a:lnTo>
                    <a:pt x="65344" y="407583"/>
                  </a:lnTo>
                  <a:cubicBezTo>
                    <a:pt x="53792" y="411119"/>
                    <a:pt x="42614" y="415674"/>
                    <a:pt x="31857" y="421193"/>
                  </a:cubicBezTo>
                  <a:cubicBezTo>
                    <a:pt x="24140" y="424223"/>
                    <a:pt x="17733" y="429822"/>
                    <a:pt x="13664" y="437048"/>
                  </a:cubicBezTo>
                  <a:cubicBezTo>
                    <a:pt x="11887" y="441023"/>
                    <a:pt x="9735" y="444811"/>
                    <a:pt x="7210" y="448366"/>
                  </a:cubicBezTo>
                  <a:cubicBezTo>
                    <a:pt x="4778" y="451331"/>
                    <a:pt x="1971" y="454016"/>
                    <a:pt x="-1069" y="456364"/>
                  </a:cubicBezTo>
                  <a:lnTo>
                    <a:pt x="-1069" y="456364"/>
                  </a:lnTo>
                  <a:cubicBezTo>
                    <a:pt x="2252" y="454381"/>
                    <a:pt x="5806" y="452809"/>
                    <a:pt x="9501" y="451687"/>
                  </a:cubicBezTo>
                  <a:cubicBezTo>
                    <a:pt x="13570" y="450737"/>
                    <a:pt x="17733" y="450312"/>
                    <a:pt x="21895" y="450424"/>
                  </a:cubicBezTo>
                  <a:cubicBezTo>
                    <a:pt x="29425" y="450293"/>
                    <a:pt x="36768" y="448179"/>
                    <a:pt x="43222" y="444297"/>
                  </a:cubicBezTo>
                  <a:cubicBezTo>
                    <a:pt x="46683" y="442707"/>
                    <a:pt x="50144" y="441210"/>
                    <a:pt x="53652" y="439620"/>
                  </a:cubicBezTo>
                  <a:lnTo>
                    <a:pt x="53652" y="439620"/>
                  </a:lnTo>
                  <a:cubicBezTo>
                    <a:pt x="60246" y="436954"/>
                    <a:pt x="66093" y="434569"/>
                    <a:pt x="72360" y="432277"/>
                  </a:cubicBezTo>
                  <a:lnTo>
                    <a:pt x="77318" y="430640"/>
                  </a:lnTo>
                  <a:lnTo>
                    <a:pt x="77318" y="430640"/>
                  </a:lnTo>
                  <a:lnTo>
                    <a:pt x="79703" y="429799"/>
                  </a:lnTo>
                  <a:cubicBezTo>
                    <a:pt x="106128" y="420772"/>
                    <a:pt x="135031" y="412914"/>
                    <a:pt x="162626" y="404309"/>
                  </a:cubicBezTo>
                  <a:cubicBezTo>
                    <a:pt x="190828" y="396021"/>
                    <a:pt x="218142" y="385058"/>
                    <a:pt x="244239" y="371570"/>
                  </a:cubicBezTo>
                  <a:cubicBezTo>
                    <a:pt x="270758" y="357516"/>
                    <a:pt x="294751" y="339098"/>
                    <a:pt x="315142" y="317083"/>
                  </a:cubicBezTo>
                  <a:cubicBezTo>
                    <a:pt x="335347" y="295008"/>
                    <a:pt x="351903" y="269817"/>
                    <a:pt x="364110" y="242485"/>
                  </a:cubicBezTo>
                  <a:cubicBezTo>
                    <a:pt x="375849" y="215784"/>
                    <a:pt x="385625" y="188274"/>
                    <a:pt x="393388" y="160170"/>
                  </a:cubicBezTo>
                  <a:cubicBezTo>
                    <a:pt x="401526" y="132716"/>
                    <a:pt x="409149" y="105543"/>
                    <a:pt x="419065" y="79679"/>
                  </a:cubicBezTo>
                  <a:cubicBezTo>
                    <a:pt x="421731" y="73319"/>
                    <a:pt x="424116" y="66771"/>
                    <a:pt x="427063" y="60551"/>
                  </a:cubicBezTo>
                  <a:cubicBezTo>
                    <a:pt x="430009" y="54330"/>
                    <a:pt x="432722" y="48063"/>
                    <a:pt x="435855" y="41843"/>
                  </a:cubicBezTo>
                  <a:cubicBezTo>
                    <a:pt x="444461" y="31413"/>
                    <a:pt x="437772" y="10928"/>
                    <a:pt x="447220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2DC6CCE9-8205-451D-8EFC-740216CE7E58}"/>
                </a:ext>
              </a:extLst>
            </p:cNvPr>
            <p:cNvSpPr/>
            <p:nvPr/>
          </p:nvSpPr>
          <p:spPr>
            <a:xfrm>
              <a:off x="8400464" y="5828370"/>
              <a:ext cx="486640" cy="502561"/>
            </a:xfrm>
            <a:custGeom>
              <a:avLst/>
              <a:gdLst>
                <a:gd name="connsiteX0" fmla="*/ 485431 w 486640"/>
                <a:gd name="connsiteY0" fmla="*/ 938 h 502561"/>
                <a:gd name="connsiteX1" fmla="*/ 473739 w 486640"/>
                <a:gd name="connsiteY1" fmla="*/ 2669 h 502561"/>
                <a:gd name="connsiteX2" fmla="*/ 460877 w 486640"/>
                <a:gd name="connsiteY2" fmla="*/ 471 h 502561"/>
                <a:gd name="connsiteX3" fmla="*/ 437492 w 486640"/>
                <a:gd name="connsiteY3" fmla="*/ 2762 h 502561"/>
                <a:gd name="connsiteX4" fmla="*/ 392687 w 486640"/>
                <a:gd name="connsiteY4" fmla="*/ 15998 h 502561"/>
                <a:gd name="connsiteX5" fmla="*/ 303824 w 486640"/>
                <a:gd name="connsiteY5" fmla="*/ 52104 h 502561"/>
                <a:gd name="connsiteX6" fmla="*/ 228992 w 486640"/>
                <a:gd name="connsiteY6" fmla="*/ 114402 h 502561"/>
                <a:gd name="connsiteX7" fmla="*/ 181100 w 486640"/>
                <a:gd name="connsiteY7" fmla="*/ 198588 h 502561"/>
                <a:gd name="connsiteX8" fmla="*/ 120299 w 486640"/>
                <a:gd name="connsiteY8" fmla="*/ 373226 h 502561"/>
                <a:gd name="connsiteX9" fmla="*/ 68010 w 486640"/>
                <a:gd name="connsiteY9" fmla="*/ 443942 h 502561"/>
                <a:gd name="connsiteX10" fmla="*/ 61743 w 486640"/>
                <a:gd name="connsiteY10" fmla="*/ 449602 h 502561"/>
                <a:gd name="connsiteX11" fmla="*/ 50706 w 486640"/>
                <a:gd name="connsiteY11" fmla="*/ 458394 h 502561"/>
                <a:gd name="connsiteX12" fmla="*/ 40276 w 486640"/>
                <a:gd name="connsiteY12" fmla="*/ 465877 h 502561"/>
                <a:gd name="connsiteX13" fmla="*/ 40276 w 486640"/>
                <a:gd name="connsiteY13" fmla="*/ 465877 h 502561"/>
                <a:gd name="connsiteX14" fmla="*/ 32512 w 486640"/>
                <a:gd name="connsiteY14" fmla="*/ 471116 h 502561"/>
                <a:gd name="connsiteX15" fmla="*/ 15956 w 486640"/>
                <a:gd name="connsiteY15" fmla="*/ 485988 h 502561"/>
                <a:gd name="connsiteX16" fmla="*/ 8285 w 486640"/>
                <a:gd name="connsiteY16" fmla="*/ 495763 h 502561"/>
                <a:gd name="connsiteX17" fmla="*/ -1069 w 486640"/>
                <a:gd name="connsiteY17" fmla="*/ 502311 h 502561"/>
                <a:gd name="connsiteX18" fmla="*/ -1069 w 486640"/>
                <a:gd name="connsiteY18" fmla="*/ 502311 h 502561"/>
                <a:gd name="connsiteX19" fmla="*/ 10109 w 486640"/>
                <a:gd name="connsiteY19" fmla="*/ 499552 h 502561"/>
                <a:gd name="connsiteX20" fmla="*/ 23158 w 486640"/>
                <a:gd name="connsiteY20" fmla="*/ 500113 h 502561"/>
                <a:gd name="connsiteX21" fmla="*/ 46262 w 486640"/>
                <a:gd name="connsiteY21" fmla="*/ 493097 h 502561"/>
                <a:gd name="connsiteX22" fmla="*/ 78300 w 486640"/>
                <a:gd name="connsiteY22" fmla="*/ 469713 h 502561"/>
                <a:gd name="connsiteX23" fmla="*/ 78300 w 486640"/>
                <a:gd name="connsiteY23" fmla="*/ 469713 h 502561"/>
                <a:gd name="connsiteX24" fmla="*/ 85876 w 486640"/>
                <a:gd name="connsiteY24" fmla="*/ 463024 h 502561"/>
                <a:gd name="connsiteX25" fmla="*/ 144011 w 486640"/>
                <a:gd name="connsiteY25" fmla="*/ 384872 h 502561"/>
                <a:gd name="connsiteX26" fmla="*/ 205561 w 486640"/>
                <a:gd name="connsiteY26" fmla="*/ 208082 h 502561"/>
                <a:gd name="connsiteX27" fmla="*/ 249337 w 486640"/>
                <a:gd name="connsiteY27" fmla="*/ 131005 h 502561"/>
                <a:gd name="connsiteX28" fmla="*/ 316826 w 486640"/>
                <a:gd name="connsiteY28" fmla="*/ 74881 h 502561"/>
                <a:gd name="connsiteX29" fmla="*/ 400357 w 486640"/>
                <a:gd name="connsiteY29" fmla="*/ 41020 h 502561"/>
                <a:gd name="connsiteX30" fmla="*/ 444835 w 486640"/>
                <a:gd name="connsiteY30" fmla="*/ 27738 h 502561"/>
                <a:gd name="connsiteX31" fmla="*/ 465881 w 486640"/>
                <a:gd name="connsiteY31" fmla="*/ 16326 h 502561"/>
                <a:gd name="connsiteX32" fmla="*/ 475235 w 486640"/>
                <a:gd name="connsiteY32" fmla="*/ 6972 h 502561"/>
                <a:gd name="connsiteX33" fmla="*/ 485572 w 486640"/>
                <a:gd name="connsiteY33" fmla="*/ 1126 h 502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86640" h="502561">
                  <a:moveTo>
                    <a:pt x="485431" y="938"/>
                  </a:moveTo>
                  <a:cubicBezTo>
                    <a:pt x="481643" y="1995"/>
                    <a:pt x="477714" y="2575"/>
                    <a:pt x="473739" y="2669"/>
                  </a:cubicBezTo>
                  <a:cubicBezTo>
                    <a:pt x="469389" y="2416"/>
                    <a:pt x="465086" y="1677"/>
                    <a:pt x="460877" y="471"/>
                  </a:cubicBezTo>
                  <a:cubicBezTo>
                    <a:pt x="453019" y="-1003"/>
                    <a:pt x="444928" y="-208"/>
                    <a:pt x="437492" y="2762"/>
                  </a:cubicBezTo>
                  <a:cubicBezTo>
                    <a:pt x="422573" y="6738"/>
                    <a:pt x="407793" y="11602"/>
                    <a:pt x="392687" y="15998"/>
                  </a:cubicBezTo>
                  <a:cubicBezTo>
                    <a:pt x="361865" y="24828"/>
                    <a:pt x="332073" y="36933"/>
                    <a:pt x="303824" y="52104"/>
                  </a:cubicBezTo>
                  <a:cubicBezTo>
                    <a:pt x="275201" y="68034"/>
                    <a:pt x="249852" y="89165"/>
                    <a:pt x="228992" y="114402"/>
                  </a:cubicBezTo>
                  <a:cubicBezTo>
                    <a:pt x="208694" y="139770"/>
                    <a:pt x="192512" y="168183"/>
                    <a:pt x="181100" y="198588"/>
                  </a:cubicBezTo>
                  <a:cubicBezTo>
                    <a:pt x="157715" y="258126"/>
                    <a:pt x="147566" y="320189"/>
                    <a:pt x="120299" y="373226"/>
                  </a:cubicBezTo>
                  <a:cubicBezTo>
                    <a:pt x="107063" y="399633"/>
                    <a:pt x="89384" y="423555"/>
                    <a:pt x="68010" y="443942"/>
                  </a:cubicBezTo>
                  <a:cubicBezTo>
                    <a:pt x="65953" y="445907"/>
                    <a:pt x="63895" y="447777"/>
                    <a:pt x="61743" y="449602"/>
                  </a:cubicBezTo>
                  <a:cubicBezTo>
                    <a:pt x="58142" y="452688"/>
                    <a:pt x="54447" y="455541"/>
                    <a:pt x="50706" y="458394"/>
                  </a:cubicBezTo>
                  <a:cubicBezTo>
                    <a:pt x="46964" y="461247"/>
                    <a:pt x="43830" y="463445"/>
                    <a:pt x="40276" y="465877"/>
                  </a:cubicBezTo>
                  <a:lnTo>
                    <a:pt x="40276" y="465877"/>
                  </a:lnTo>
                  <a:lnTo>
                    <a:pt x="32512" y="471116"/>
                  </a:lnTo>
                  <a:cubicBezTo>
                    <a:pt x="25777" y="474530"/>
                    <a:pt x="20071" y="479661"/>
                    <a:pt x="15956" y="485988"/>
                  </a:cubicBezTo>
                  <a:cubicBezTo>
                    <a:pt x="13804" y="489543"/>
                    <a:pt x="11232" y="492826"/>
                    <a:pt x="8285" y="495763"/>
                  </a:cubicBezTo>
                  <a:cubicBezTo>
                    <a:pt x="5432" y="498322"/>
                    <a:pt x="2299" y="500520"/>
                    <a:pt x="-1069" y="502311"/>
                  </a:cubicBezTo>
                  <a:lnTo>
                    <a:pt x="-1069" y="502311"/>
                  </a:lnTo>
                  <a:cubicBezTo>
                    <a:pt x="2533" y="500950"/>
                    <a:pt x="6274" y="500024"/>
                    <a:pt x="10109" y="499552"/>
                  </a:cubicBezTo>
                  <a:cubicBezTo>
                    <a:pt x="14459" y="499309"/>
                    <a:pt x="18855" y="499495"/>
                    <a:pt x="23158" y="500113"/>
                  </a:cubicBezTo>
                  <a:cubicBezTo>
                    <a:pt x="31437" y="500487"/>
                    <a:pt x="39575" y="498013"/>
                    <a:pt x="46262" y="493097"/>
                  </a:cubicBezTo>
                  <a:cubicBezTo>
                    <a:pt x="57628" y="486292"/>
                    <a:pt x="68338" y="478463"/>
                    <a:pt x="78300" y="469713"/>
                  </a:cubicBezTo>
                  <a:lnTo>
                    <a:pt x="78300" y="469713"/>
                  </a:lnTo>
                  <a:cubicBezTo>
                    <a:pt x="80825" y="467514"/>
                    <a:pt x="83351" y="465316"/>
                    <a:pt x="85876" y="463024"/>
                  </a:cubicBezTo>
                  <a:cubicBezTo>
                    <a:pt x="109636" y="440533"/>
                    <a:pt x="129279" y="414089"/>
                    <a:pt x="144011" y="384872"/>
                  </a:cubicBezTo>
                  <a:cubicBezTo>
                    <a:pt x="173243" y="326831"/>
                    <a:pt x="183439" y="264065"/>
                    <a:pt x="205561" y="208082"/>
                  </a:cubicBezTo>
                  <a:cubicBezTo>
                    <a:pt x="215990" y="180240"/>
                    <a:pt x="230770" y="154227"/>
                    <a:pt x="249337" y="131005"/>
                  </a:cubicBezTo>
                  <a:cubicBezTo>
                    <a:pt x="268139" y="108271"/>
                    <a:pt x="291056" y="89240"/>
                    <a:pt x="316826" y="74881"/>
                  </a:cubicBezTo>
                  <a:cubicBezTo>
                    <a:pt x="343391" y="60654"/>
                    <a:pt x="371406" y="49303"/>
                    <a:pt x="400357" y="41020"/>
                  </a:cubicBezTo>
                  <a:cubicBezTo>
                    <a:pt x="414949" y="36343"/>
                    <a:pt x="430009" y="32555"/>
                    <a:pt x="444835" y="27738"/>
                  </a:cubicBezTo>
                  <a:cubicBezTo>
                    <a:pt x="452833" y="26115"/>
                    <a:pt x="460175" y="22139"/>
                    <a:pt x="465881" y="16326"/>
                  </a:cubicBezTo>
                  <a:cubicBezTo>
                    <a:pt x="468735" y="12968"/>
                    <a:pt x="471868" y="9839"/>
                    <a:pt x="475235" y="6972"/>
                  </a:cubicBezTo>
                  <a:cubicBezTo>
                    <a:pt x="478416" y="4614"/>
                    <a:pt x="481924" y="2655"/>
                    <a:pt x="485572" y="112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149CECA-3DF1-4AB9-B770-785F86BBDB6F}"/>
                </a:ext>
              </a:extLst>
            </p:cNvPr>
            <p:cNvSpPr/>
            <p:nvPr/>
          </p:nvSpPr>
          <p:spPr>
            <a:xfrm>
              <a:off x="8099032" y="5795698"/>
              <a:ext cx="439916" cy="466482"/>
            </a:xfrm>
            <a:custGeom>
              <a:avLst/>
              <a:gdLst>
                <a:gd name="connsiteX0" fmla="*/ 438708 w 439916"/>
                <a:gd name="connsiteY0" fmla="*/ -250 h 466482"/>
                <a:gd name="connsiteX1" fmla="*/ 418363 w 439916"/>
                <a:gd name="connsiteY1" fmla="*/ 9946 h 466482"/>
                <a:gd name="connsiteX2" fmla="*/ 399328 w 439916"/>
                <a:gd name="connsiteY2" fmla="*/ 22901 h 466482"/>
                <a:gd name="connsiteX3" fmla="*/ 385952 w 439916"/>
                <a:gd name="connsiteY3" fmla="*/ 40954 h 466482"/>
                <a:gd name="connsiteX4" fmla="*/ 374446 w 439916"/>
                <a:gd name="connsiteY4" fmla="*/ 60223 h 466482"/>
                <a:gd name="connsiteX5" fmla="*/ 341006 w 439916"/>
                <a:gd name="connsiteY5" fmla="*/ 141603 h 466482"/>
                <a:gd name="connsiteX6" fmla="*/ 282356 w 439916"/>
                <a:gd name="connsiteY6" fmla="*/ 298375 h 466482"/>
                <a:gd name="connsiteX7" fmla="*/ 229132 w 439916"/>
                <a:gd name="connsiteY7" fmla="*/ 359176 h 466482"/>
                <a:gd name="connsiteX8" fmla="*/ 158416 w 439916"/>
                <a:gd name="connsiteY8" fmla="*/ 399585 h 466482"/>
                <a:gd name="connsiteX9" fmla="*/ 78346 w 439916"/>
                <a:gd name="connsiteY9" fmla="*/ 425776 h 466482"/>
                <a:gd name="connsiteX10" fmla="*/ 69647 w 439916"/>
                <a:gd name="connsiteY10" fmla="*/ 428395 h 466482"/>
                <a:gd name="connsiteX11" fmla="*/ 69647 w 439916"/>
                <a:gd name="connsiteY11" fmla="*/ 428395 h 466482"/>
                <a:gd name="connsiteX12" fmla="*/ 35084 w 439916"/>
                <a:gd name="connsiteY12" fmla="*/ 439152 h 466482"/>
                <a:gd name="connsiteX13" fmla="*/ 16376 w 439916"/>
                <a:gd name="connsiteY13" fmla="*/ 451734 h 466482"/>
                <a:gd name="connsiteX14" fmla="*/ -1069 w 439916"/>
                <a:gd name="connsiteY14" fmla="*/ 466232 h 466482"/>
                <a:gd name="connsiteX15" fmla="*/ -1069 w 439916"/>
                <a:gd name="connsiteY15" fmla="*/ 466232 h 466482"/>
                <a:gd name="connsiteX16" fmla="*/ 21287 w 439916"/>
                <a:gd name="connsiteY16" fmla="*/ 465156 h 466482"/>
                <a:gd name="connsiteX17" fmla="*/ 43082 w 439916"/>
                <a:gd name="connsiteY17" fmla="*/ 463660 h 466482"/>
                <a:gd name="connsiteX18" fmla="*/ 83585 w 439916"/>
                <a:gd name="connsiteY18" fmla="*/ 451359 h 466482"/>
                <a:gd name="connsiteX19" fmla="*/ 95277 w 439916"/>
                <a:gd name="connsiteY19" fmla="*/ 447898 h 466482"/>
                <a:gd name="connsiteX20" fmla="*/ 95277 w 439916"/>
                <a:gd name="connsiteY20" fmla="*/ 447898 h 466482"/>
                <a:gd name="connsiteX21" fmla="*/ 168097 w 439916"/>
                <a:gd name="connsiteY21" fmla="*/ 423672 h 466482"/>
                <a:gd name="connsiteX22" fmla="*/ 245361 w 439916"/>
                <a:gd name="connsiteY22" fmla="*/ 379474 h 466482"/>
                <a:gd name="connsiteX23" fmla="*/ 304432 w 439916"/>
                <a:gd name="connsiteY23" fmla="*/ 312219 h 466482"/>
                <a:gd name="connsiteX24" fmla="*/ 365747 w 439916"/>
                <a:gd name="connsiteY24" fmla="*/ 149647 h 466482"/>
                <a:gd name="connsiteX25" fmla="*/ 397130 w 439916"/>
                <a:gd name="connsiteY25" fmla="*/ 72991 h 466482"/>
                <a:gd name="connsiteX26" fmla="*/ 407700 w 439916"/>
                <a:gd name="connsiteY26" fmla="*/ 55593 h 466482"/>
                <a:gd name="connsiteX27" fmla="*/ 419532 w 439916"/>
                <a:gd name="connsiteY27" fmla="*/ 39083 h 466482"/>
                <a:gd name="connsiteX28" fmla="*/ 428886 w 439916"/>
                <a:gd name="connsiteY28" fmla="*/ 19908 h 466482"/>
                <a:gd name="connsiteX29" fmla="*/ 438848 w 439916"/>
                <a:gd name="connsiteY29" fmla="*/ -63 h 46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39916" h="466482">
                  <a:moveTo>
                    <a:pt x="438708" y="-250"/>
                  </a:moveTo>
                  <a:cubicBezTo>
                    <a:pt x="432768" y="4633"/>
                    <a:pt x="425847" y="8117"/>
                    <a:pt x="418363" y="9946"/>
                  </a:cubicBezTo>
                  <a:cubicBezTo>
                    <a:pt x="410739" y="12036"/>
                    <a:pt x="404052" y="16592"/>
                    <a:pt x="399328" y="22901"/>
                  </a:cubicBezTo>
                  <a:cubicBezTo>
                    <a:pt x="394651" y="28934"/>
                    <a:pt x="389974" y="34780"/>
                    <a:pt x="385952" y="40954"/>
                  </a:cubicBezTo>
                  <a:lnTo>
                    <a:pt x="374446" y="60223"/>
                  </a:lnTo>
                  <a:cubicBezTo>
                    <a:pt x="360649" y="86185"/>
                    <a:pt x="349471" y="113443"/>
                    <a:pt x="341006" y="141603"/>
                  </a:cubicBezTo>
                  <a:cubicBezTo>
                    <a:pt x="323607" y="196604"/>
                    <a:pt x="311494" y="252167"/>
                    <a:pt x="282356" y="298375"/>
                  </a:cubicBezTo>
                  <a:cubicBezTo>
                    <a:pt x="268185" y="321517"/>
                    <a:pt x="250179" y="342077"/>
                    <a:pt x="229132" y="359176"/>
                  </a:cubicBezTo>
                  <a:cubicBezTo>
                    <a:pt x="207712" y="376088"/>
                    <a:pt x="183859" y="389707"/>
                    <a:pt x="158416" y="399585"/>
                  </a:cubicBezTo>
                  <a:cubicBezTo>
                    <a:pt x="132787" y="409875"/>
                    <a:pt x="105800" y="417779"/>
                    <a:pt x="78346" y="425776"/>
                  </a:cubicBezTo>
                  <a:lnTo>
                    <a:pt x="69647" y="428395"/>
                  </a:lnTo>
                  <a:lnTo>
                    <a:pt x="69647" y="428395"/>
                  </a:lnTo>
                  <a:cubicBezTo>
                    <a:pt x="58141" y="431763"/>
                    <a:pt x="46543" y="434990"/>
                    <a:pt x="35084" y="439152"/>
                  </a:cubicBezTo>
                  <a:cubicBezTo>
                    <a:pt x="27648" y="441178"/>
                    <a:pt x="21053" y="445602"/>
                    <a:pt x="16376" y="451734"/>
                  </a:cubicBezTo>
                  <a:cubicBezTo>
                    <a:pt x="11933" y="458033"/>
                    <a:pt x="5947" y="463038"/>
                    <a:pt x="-1069" y="466232"/>
                  </a:cubicBezTo>
                  <a:lnTo>
                    <a:pt x="-1069" y="466232"/>
                  </a:lnTo>
                  <a:cubicBezTo>
                    <a:pt x="6087" y="463599"/>
                    <a:pt x="13897" y="463225"/>
                    <a:pt x="21287" y="465156"/>
                  </a:cubicBezTo>
                  <a:cubicBezTo>
                    <a:pt x="28536" y="466822"/>
                    <a:pt x="36113" y="466302"/>
                    <a:pt x="43082" y="463660"/>
                  </a:cubicBezTo>
                  <a:lnTo>
                    <a:pt x="83585" y="451359"/>
                  </a:lnTo>
                  <a:lnTo>
                    <a:pt x="95277" y="447898"/>
                  </a:lnTo>
                  <a:lnTo>
                    <a:pt x="95277" y="447898"/>
                  </a:lnTo>
                  <a:cubicBezTo>
                    <a:pt x="119457" y="440789"/>
                    <a:pt x="144011" y="433353"/>
                    <a:pt x="168097" y="423672"/>
                  </a:cubicBezTo>
                  <a:cubicBezTo>
                    <a:pt x="195879" y="412854"/>
                    <a:pt x="221930" y="397958"/>
                    <a:pt x="245361" y="379474"/>
                  </a:cubicBezTo>
                  <a:cubicBezTo>
                    <a:pt x="268699" y="360556"/>
                    <a:pt x="288670" y="337816"/>
                    <a:pt x="304432" y="312219"/>
                  </a:cubicBezTo>
                  <a:cubicBezTo>
                    <a:pt x="336422" y="260772"/>
                    <a:pt x="348723" y="202871"/>
                    <a:pt x="365747" y="149647"/>
                  </a:cubicBezTo>
                  <a:cubicBezTo>
                    <a:pt x="373698" y="123133"/>
                    <a:pt x="384174" y="97457"/>
                    <a:pt x="397130" y="72991"/>
                  </a:cubicBezTo>
                  <a:cubicBezTo>
                    <a:pt x="400684" y="67192"/>
                    <a:pt x="404005" y="61252"/>
                    <a:pt x="407700" y="55593"/>
                  </a:cubicBezTo>
                  <a:cubicBezTo>
                    <a:pt x="411394" y="49934"/>
                    <a:pt x="415557" y="44602"/>
                    <a:pt x="419532" y="39083"/>
                  </a:cubicBezTo>
                  <a:cubicBezTo>
                    <a:pt x="424443" y="33747"/>
                    <a:pt x="427717" y="27077"/>
                    <a:pt x="428886" y="19908"/>
                  </a:cubicBezTo>
                  <a:cubicBezTo>
                    <a:pt x="429822" y="12307"/>
                    <a:pt x="433330" y="5255"/>
                    <a:pt x="438848" y="-6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9CC5E19F-7529-480F-A5D6-A5DF9573F4C3}"/>
                </a:ext>
              </a:extLst>
            </p:cNvPr>
            <p:cNvSpPr/>
            <p:nvPr/>
          </p:nvSpPr>
          <p:spPr>
            <a:xfrm>
              <a:off x="8172181" y="5816463"/>
              <a:ext cx="438045" cy="478837"/>
            </a:xfrm>
            <a:custGeom>
              <a:avLst/>
              <a:gdLst>
                <a:gd name="connsiteX0" fmla="*/ 436884 w 438045"/>
                <a:gd name="connsiteY0" fmla="*/ -250 h 478837"/>
                <a:gd name="connsiteX1" fmla="*/ 415089 w 438045"/>
                <a:gd name="connsiteY1" fmla="*/ 6672 h 478837"/>
                <a:gd name="connsiteX2" fmla="*/ 394510 w 438045"/>
                <a:gd name="connsiteY2" fmla="*/ 16868 h 478837"/>
                <a:gd name="connsiteX3" fmla="*/ 378889 w 438045"/>
                <a:gd name="connsiteY3" fmla="*/ 33050 h 478837"/>
                <a:gd name="connsiteX4" fmla="*/ 371406 w 438045"/>
                <a:gd name="connsiteY4" fmla="*/ 41515 h 478837"/>
                <a:gd name="connsiteX5" fmla="*/ 364671 w 438045"/>
                <a:gd name="connsiteY5" fmla="*/ 50495 h 478837"/>
                <a:gd name="connsiteX6" fmla="*/ 322578 w 438045"/>
                <a:gd name="connsiteY6" fmla="*/ 128741 h 478837"/>
                <a:gd name="connsiteX7" fmla="*/ 268279 w 438045"/>
                <a:gd name="connsiteY7" fmla="*/ 289957 h 478837"/>
                <a:gd name="connsiteX8" fmla="*/ 223613 w 438045"/>
                <a:gd name="connsiteY8" fmla="*/ 357633 h 478837"/>
                <a:gd name="connsiteX9" fmla="*/ 159492 w 438045"/>
                <a:gd name="connsiteY9" fmla="*/ 406741 h 478837"/>
                <a:gd name="connsiteX10" fmla="*/ 82369 w 438045"/>
                <a:gd name="connsiteY10" fmla="*/ 437282 h 478837"/>
                <a:gd name="connsiteX11" fmla="*/ 75727 w 438045"/>
                <a:gd name="connsiteY11" fmla="*/ 439339 h 478837"/>
                <a:gd name="connsiteX12" fmla="*/ 35131 w 438045"/>
                <a:gd name="connsiteY12" fmla="*/ 451687 h 478837"/>
                <a:gd name="connsiteX13" fmla="*/ 16423 w 438045"/>
                <a:gd name="connsiteY13" fmla="*/ 464128 h 478837"/>
                <a:gd name="connsiteX14" fmla="*/ -1069 w 438045"/>
                <a:gd name="connsiteY14" fmla="*/ 478579 h 478837"/>
                <a:gd name="connsiteX15" fmla="*/ -1069 w 438045"/>
                <a:gd name="connsiteY15" fmla="*/ 478579 h 478837"/>
                <a:gd name="connsiteX16" fmla="*/ 21287 w 438045"/>
                <a:gd name="connsiteY16" fmla="*/ 477597 h 478837"/>
                <a:gd name="connsiteX17" fmla="*/ 43082 w 438045"/>
                <a:gd name="connsiteY17" fmla="*/ 476241 h 478837"/>
                <a:gd name="connsiteX18" fmla="*/ 68057 w 438045"/>
                <a:gd name="connsiteY18" fmla="*/ 468758 h 478837"/>
                <a:gd name="connsiteX19" fmla="*/ 68057 w 438045"/>
                <a:gd name="connsiteY19" fmla="*/ 468758 h 478837"/>
                <a:gd name="connsiteX20" fmla="*/ 80825 w 438045"/>
                <a:gd name="connsiteY20" fmla="*/ 464876 h 478837"/>
                <a:gd name="connsiteX21" fmla="*/ 83678 w 438045"/>
                <a:gd name="connsiteY21" fmla="*/ 464034 h 478837"/>
                <a:gd name="connsiteX22" fmla="*/ 95324 w 438045"/>
                <a:gd name="connsiteY22" fmla="*/ 460620 h 478837"/>
                <a:gd name="connsiteX23" fmla="*/ 171792 w 438045"/>
                <a:gd name="connsiteY23" fmla="*/ 429845 h 478837"/>
                <a:gd name="connsiteX24" fmla="*/ 242789 w 438045"/>
                <a:gd name="connsiteY24" fmla="*/ 375452 h 478837"/>
                <a:gd name="connsiteX25" fmla="*/ 291991 w 438045"/>
                <a:gd name="connsiteY25" fmla="*/ 300948 h 478837"/>
                <a:gd name="connsiteX26" fmla="*/ 346992 w 438045"/>
                <a:gd name="connsiteY26" fmla="*/ 138142 h 478837"/>
                <a:gd name="connsiteX27" fmla="*/ 385577 w 438045"/>
                <a:gd name="connsiteY27" fmla="*/ 66210 h 478837"/>
                <a:gd name="connsiteX28" fmla="*/ 391657 w 438045"/>
                <a:gd name="connsiteY28" fmla="*/ 58119 h 478837"/>
                <a:gd name="connsiteX29" fmla="*/ 398533 w 438045"/>
                <a:gd name="connsiteY29" fmla="*/ 50635 h 478837"/>
                <a:gd name="connsiteX30" fmla="*/ 412283 w 438045"/>
                <a:gd name="connsiteY30" fmla="*/ 35763 h 478837"/>
                <a:gd name="connsiteX31" fmla="*/ 424069 w 438045"/>
                <a:gd name="connsiteY31" fmla="*/ 18037 h 478837"/>
                <a:gd name="connsiteX32" fmla="*/ 436977 w 438045"/>
                <a:gd name="connsiteY32" fmla="*/ -110 h 478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38045" h="478837">
                  <a:moveTo>
                    <a:pt x="436884" y="-250"/>
                  </a:moveTo>
                  <a:cubicBezTo>
                    <a:pt x="430289" y="3744"/>
                    <a:pt x="422806" y="6115"/>
                    <a:pt x="415089" y="6672"/>
                  </a:cubicBezTo>
                  <a:cubicBezTo>
                    <a:pt x="407232" y="7565"/>
                    <a:pt x="399983" y="11171"/>
                    <a:pt x="394510" y="16868"/>
                  </a:cubicBezTo>
                  <a:cubicBezTo>
                    <a:pt x="388945" y="21923"/>
                    <a:pt x="383753" y="27330"/>
                    <a:pt x="378889" y="33050"/>
                  </a:cubicBezTo>
                  <a:lnTo>
                    <a:pt x="371406" y="41515"/>
                  </a:lnTo>
                  <a:cubicBezTo>
                    <a:pt x="368974" y="44322"/>
                    <a:pt x="366729" y="47502"/>
                    <a:pt x="364671" y="50495"/>
                  </a:cubicBezTo>
                  <a:cubicBezTo>
                    <a:pt x="346945" y="74418"/>
                    <a:pt x="332774" y="100773"/>
                    <a:pt x="322578" y="128741"/>
                  </a:cubicBezTo>
                  <a:cubicBezTo>
                    <a:pt x="301859" y="183602"/>
                    <a:pt x="291290" y="239960"/>
                    <a:pt x="268279" y="289957"/>
                  </a:cubicBezTo>
                  <a:cubicBezTo>
                    <a:pt x="257288" y="314852"/>
                    <a:pt x="242181" y="337728"/>
                    <a:pt x="223613" y="357633"/>
                  </a:cubicBezTo>
                  <a:cubicBezTo>
                    <a:pt x="205327" y="377659"/>
                    <a:pt x="183579" y="394286"/>
                    <a:pt x="159492" y="406741"/>
                  </a:cubicBezTo>
                  <a:cubicBezTo>
                    <a:pt x="134797" y="419359"/>
                    <a:pt x="108980" y="429588"/>
                    <a:pt x="82369" y="437282"/>
                  </a:cubicBezTo>
                  <a:lnTo>
                    <a:pt x="75727" y="439339"/>
                  </a:lnTo>
                  <a:cubicBezTo>
                    <a:pt x="62257" y="443315"/>
                    <a:pt x="48554" y="446823"/>
                    <a:pt x="35131" y="451687"/>
                  </a:cubicBezTo>
                  <a:cubicBezTo>
                    <a:pt x="27694" y="453684"/>
                    <a:pt x="21147" y="458052"/>
                    <a:pt x="16423" y="464128"/>
                  </a:cubicBezTo>
                  <a:cubicBezTo>
                    <a:pt x="11980" y="470418"/>
                    <a:pt x="5947" y="475404"/>
                    <a:pt x="-1069" y="478579"/>
                  </a:cubicBezTo>
                  <a:lnTo>
                    <a:pt x="-1069" y="478579"/>
                  </a:lnTo>
                  <a:cubicBezTo>
                    <a:pt x="6087" y="475979"/>
                    <a:pt x="13897" y="475638"/>
                    <a:pt x="21287" y="477597"/>
                  </a:cubicBezTo>
                  <a:cubicBezTo>
                    <a:pt x="28536" y="479281"/>
                    <a:pt x="36113" y="478809"/>
                    <a:pt x="43082" y="476241"/>
                  </a:cubicBezTo>
                  <a:lnTo>
                    <a:pt x="68057" y="468758"/>
                  </a:lnTo>
                  <a:lnTo>
                    <a:pt x="68057" y="468758"/>
                  </a:lnTo>
                  <a:lnTo>
                    <a:pt x="80825" y="464876"/>
                  </a:lnTo>
                  <a:lnTo>
                    <a:pt x="83678" y="464034"/>
                  </a:lnTo>
                  <a:lnTo>
                    <a:pt x="95324" y="460620"/>
                  </a:lnTo>
                  <a:cubicBezTo>
                    <a:pt x="121702" y="452748"/>
                    <a:pt x="147332" y="442445"/>
                    <a:pt x="171792" y="429845"/>
                  </a:cubicBezTo>
                  <a:cubicBezTo>
                    <a:pt x="198451" y="416011"/>
                    <a:pt x="222491" y="397602"/>
                    <a:pt x="242789" y="375452"/>
                  </a:cubicBezTo>
                  <a:cubicBezTo>
                    <a:pt x="263228" y="353536"/>
                    <a:pt x="279877" y="328355"/>
                    <a:pt x="291991" y="300948"/>
                  </a:cubicBezTo>
                  <a:cubicBezTo>
                    <a:pt x="316685" y="246975"/>
                    <a:pt x="327209" y="189916"/>
                    <a:pt x="346992" y="138142"/>
                  </a:cubicBezTo>
                  <a:cubicBezTo>
                    <a:pt x="356346" y="112432"/>
                    <a:pt x="369301" y="88206"/>
                    <a:pt x="385577" y="66210"/>
                  </a:cubicBezTo>
                  <a:cubicBezTo>
                    <a:pt x="387635" y="63497"/>
                    <a:pt x="389459" y="60644"/>
                    <a:pt x="391657" y="58119"/>
                  </a:cubicBezTo>
                  <a:lnTo>
                    <a:pt x="398533" y="50635"/>
                  </a:lnTo>
                  <a:cubicBezTo>
                    <a:pt x="403210" y="45958"/>
                    <a:pt x="407278" y="40346"/>
                    <a:pt x="412283" y="35763"/>
                  </a:cubicBezTo>
                  <a:cubicBezTo>
                    <a:pt x="417802" y="31067"/>
                    <a:pt x="421871" y="24926"/>
                    <a:pt x="424069" y="18037"/>
                  </a:cubicBezTo>
                  <a:cubicBezTo>
                    <a:pt x="426267" y="10731"/>
                    <a:pt x="430804" y="4352"/>
                    <a:pt x="436977" y="-11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EEBD65FF-77A1-4F0D-913B-18F57EE95297}"/>
                </a:ext>
              </a:extLst>
            </p:cNvPr>
            <p:cNvSpPr/>
            <p:nvPr/>
          </p:nvSpPr>
          <p:spPr>
            <a:xfrm>
              <a:off x="8288684" y="5825958"/>
              <a:ext cx="431873" cy="490339"/>
            </a:xfrm>
            <a:custGeom>
              <a:avLst/>
              <a:gdLst>
                <a:gd name="connsiteX0" fmla="*/ 430804 w 431873"/>
                <a:gd name="connsiteY0" fmla="*/ -250 h 490339"/>
                <a:gd name="connsiteX1" fmla="*/ 408121 w 431873"/>
                <a:gd name="connsiteY1" fmla="*/ 1059 h 490339"/>
                <a:gd name="connsiteX2" fmla="*/ 385718 w 431873"/>
                <a:gd name="connsiteY2" fmla="*/ 5128 h 490339"/>
                <a:gd name="connsiteX3" fmla="*/ 347320 w 431873"/>
                <a:gd name="connsiteY3" fmla="*/ 28092 h 490339"/>
                <a:gd name="connsiteX4" fmla="*/ 284695 w 431873"/>
                <a:gd name="connsiteY4" fmla="*/ 92167 h 490339"/>
                <a:gd name="connsiteX5" fmla="*/ 245268 w 431873"/>
                <a:gd name="connsiteY5" fmla="*/ 171676 h 490339"/>
                <a:gd name="connsiteX6" fmla="*/ 219638 w 431873"/>
                <a:gd name="connsiteY6" fmla="*/ 253991 h 490339"/>
                <a:gd name="connsiteX7" fmla="*/ 190220 w 431873"/>
                <a:gd name="connsiteY7" fmla="*/ 331862 h 490339"/>
                <a:gd name="connsiteX8" fmla="*/ 143450 w 431873"/>
                <a:gd name="connsiteY8" fmla="*/ 397948 h 490339"/>
                <a:gd name="connsiteX9" fmla="*/ 83585 w 431873"/>
                <a:gd name="connsiteY9" fmla="*/ 441210 h 490339"/>
                <a:gd name="connsiteX10" fmla="*/ 73108 w 431873"/>
                <a:gd name="connsiteY10" fmla="*/ 445887 h 490339"/>
                <a:gd name="connsiteX11" fmla="*/ 34243 w 431873"/>
                <a:gd name="connsiteY11" fmla="*/ 462678 h 490339"/>
                <a:gd name="connsiteX12" fmla="*/ 16704 w 431873"/>
                <a:gd name="connsiteY12" fmla="*/ 475680 h 490339"/>
                <a:gd name="connsiteX13" fmla="*/ -1069 w 431873"/>
                <a:gd name="connsiteY13" fmla="*/ 489290 h 490339"/>
                <a:gd name="connsiteX14" fmla="*/ -1069 w 431873"/>
                <a:gd name="connsiteY14" fmla="*/ 489290 h 490339"/>
                <a:gd name="connsiteX15" fmla="*/ 21615 w 431873"/>
                <a:gd name="connsiteY15" fmla="*/ 489290 h 490339"/>
                <a:gd name="connsiteX16" fmla="*/ 43971 w 431873"/>
                <a:gd name="connsiteY16" fmla="*/ 486811 h 490339"/>
                <a:gd name="connsiteX17" fmla="*/ 52810 w 431873"/>
                <a:gd name="connsiteY17" fmla="*/ 483350 h 490339"/>
                <a:gd name="connsiteX18" fmla="*/ 88683 w 431873"/>
                <a:gd name="connsiteY18" fmla="*/ 468056 h 490339"/>
                <a:gd name="connsiteX19" fmla="*/ 94716 w 431873"/>
                <a:gd name="connsiteY19" fmla="*/ 464969 h 490339"/>
                <a:gd name="connsiteX20" fmla="*/ 97242 w 431873"/>
                <a:gd name="connsiteY20" fmla="*/ 463847 h 490339"/>
                <a:gd name="connsiteX21" fmla="*/ 97242 w 431873"/>
                <a:gd name="connsiteY21" fmla="*/ 463847 h 490339"/>
                <a:gd name="connsiteX22" fmla="*/ 161831 w 431873"/>
                <a:gd name="connsiteY22" fmla="*/ 416796 h 490339"/>
                <a:gd name="connsiteX23" fmla="*/ 213699 w 431873"/>
                <a:gd name="connsiteY23" fmla="*/ 343414 h 490339"/>
                <a:gd name="connsiteX24" fmla="*/ 244801 w 431873"/>
                <a:gd name="connsiteY24" fmla="*/ 261427 h 490339"/>
                <a:gd name="connsiteX25" fmla="*/ 306303 w 431873"/>
                <a:gd name="connsiteY25" fmla="*/ 107087 h 490339"/>
                <a:gd name="connsiteX26" fmla="*/ 362427 w 431873"/>
                <a:gd name="connsiteY26" fmla="*/ 49419 h 490339"/>
                <a:gd name="connsiteX27" fmla="*/ 397270 w 431873"/>
                <a:gd name="connsiteY27" fmla="*/ 28326 h 490339"/>
                <a:gd name="connsiteX28" fmla="*/ 413686 w 431873"/>
                <a:gd name="connsiteY28" fmla="*/ 14295 h 490339"/>
                <a:gd name="connsiteX29" fmla="*/ 430758 w 431873"/>
                <a:gd name="connsiteY29" fmla="*/ -157 h 490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31873" h="490339">
                  <a:moveTo>
                    <a:pt x="430804" y="-250"/>
                  </a:moveTo>
                  <a:cubicBezTo>
                    <a:pt x="423461" y="2098"/>
                    <a:pt x="415651" y="2551"/>
                    <a:pt x="408121" y="1059"/>
                  </a:cubicBezTo>
                  <a:cubicBezTo>
                    <a:pt x="400404" y="-175"/>
                    <a:pt x="392500" y="1260"/>
                    <a:pt x="385718" y="5128"/>
                  </a:cubicBezTo>
                  <a:cubicBezTo>
                    <a:pt x="372248" y="11611"/>
                    <a:pt x="359387" y="19295"/>
                    <a:pt x="347320" y="28092"/>
                  </a:cubicBezTo>
                  <a:cubicBezTo>
                    <a:pt x="322859" y="45622"/>
                    <a:pt x="301673" y="67309"/>
                    <a:pt x="284695" y="92167"/>
                  </a:cubicBezTo>
                  <a:cubicBezTo>
                    <a:pt x="268186" y="116866"/>
                    <a:pt x="254949" y="143590"/>
                    <a:pt x="245268" y="171676"/>
                  </a:cubicBezTo>
                  <a:cubicBezTo>
                    <a:pt x="235353" y="199176"/>
                    <a:pt x="227776" y="226957"/>
                    <a:pt x="219638" y="253991"/>
                  </a:cubicBezTo>
                  <a:cubicBezTo>
                    <a:pt x="212062" y="280743"/>
                    <a:pt x="202240" y="306794"/>
                    <a:pt x="190220" y="331862"/>
                  </a:cubicBezTo>
                  <a:cubicBezTo>
                    <a:pt x="178200" y="356211"/>
                    <a:pt x="162439" y="378515"/>
                    <a:pt x="143450" y="397948"/>
                  </a:cubicBezTo>
                  <a:cubicBezTo>
                    <a:pt x="125771" y="415309"/>
                    <a:pt x="105614" y="429897"/>
                    <a:pt x="83585" y="441210"/>
                  </a:cubicBezTo>
                  <a:lnTo>
                    <a:pt x="73108" y="445887"/>
                  </a:lnTo>
                  <a:lnTo>
                    <a:pt x="34243" y="462678"/>
                  </a:lnTo>
                  <a:cubicBezTo>
                    <a:pt x="27227" y="465184"/>
                    <a:pt x="21147" y="469712"/>
                    <a:pt x="16704" y="475680"/>
                  </a:cubicBezTo>
                  <a:cubicBezTo>
                    <a:pt x="12307" y="481923"/>
                    <a:pt x="6087" y="486675"/>
                    <a:pt x="-1069" y="489290"/>
                  </a:cubicBezTo>
                  <a:lnTo>
                    <a:pt x="-1069" y="489290"/>
                  </a:lnTo>
                  <a:cubicBezTo>
                    <a:pt x="6368" y="487288"/>
                    <a:pt x="14178" y="487288"/>
                    <a:pt x="21615" y="489290"/>
                  </a:cubicBezTo>
                  <a:cubicBezTo>
                    <a:pt x="29145" y="490917"/>
                    <a:pt x="37002" y="490047"/>
                    <a:pt x="43971" y="486811"/>
                  </a:cubicBezTo>
                  <a:cubicBezTo>
                    <a:pt x="46964" y="485688"/>
                    <a:pt x="49864" y="484519"/>
                    <a:pt x="52810" y="483350"/>
                  </a:cubicBezTo>
                  <a:cubicBezTo>
                    <a:pt x="65017" y="478879"/>
                    <a:pt x="76990" y="473771"/>
                    <a:pt x="88683" y="468056"/>
                  </a:cubicBezTo>
                  <a:lnTo>
                    <a:pt x="94716" y="464969"/>
                  </a:lnTo>
                  <a:lnTo>
                    <a:pt x="97242" y="463847"/>
                  </a:lnTo>
                  <a:lnTo>
                    <a:pt x="97242" y="463847"/>
                  </a:lnTo>
                  <a:cubicBezTo>
                    <a:pt x="121001" y="451472"/>
                    <a:pt x="142749" y="435612"/>
                    <a:pt x="161831" y="416796"/>
                  </a:cubicBezTo>
                  <a:cubicBezTo>
                    <a:pt x="182924" y="395259"/>
                    <a:pt x="200416" y="370485"/>
                    <a:pt x="213699" y="343414"/>
                  </a:cubicBezTo>
                  <a:cubicBezTo>
                    <a:pt x="226420" y="317027"/>
                    <a:pt x="236803" y="289596"/>
                    <a:pt x="244801" y="261427"/>
                  </a:cubicBezTo>
                  <a:cubicBezTo>
                    <a:pt x="261076" y="206473"/>
                    <a:pt x="275248" y="151752"/>
                    <a:pt x="306303" y="107087"/>
                  </a:cubicBezTo>
                  <a:cubicBezTo>
                    <a:pt x="321503" y="84749"/>
                    <a:pt x="340492" y="65232"/>
                    <a:pt x="362427" y="49419"/>
                  </a:cubicBezTo>
                  <a:cubicBezTo>
                    <a:pt x="373558" y="41637"/>
                    <a:pt x="385204" y="34593"/>
                    <a:pt x="397270" y="28326"/>
                  </a:cubicBezTo>
                  <a:cubicBezTo>
                    <a:pt x="403959" y="25328"/>
                    <a:pt x="409664" y="20455"/>
                    <a:pt x="413686" y="14295"/>
                  </a:cubicBezTo>
                  <a:cubicBezTo>
                    <a:pt x="417709" y="7803"/>
                    <a:pt x="423695" y="2748"/>
                    <a:pt x="430758" y="-15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5A3B89B1-4E0B-4670-8505-EFFECC3CCC8D}"/>
                </a:ext>
              </a:extLst>
            </p:cNvPr>
            <p:cNvSpPr/>
            <p:nvPr/>
          </p:nvSpPr>
          <p:spPr>
            <a:xfrm>
              <a:off x="8934248" y="5411624"/>
              <a:ext cx="1007911" cy="965282"/>
            </a:xfrm>
            <a:custGeom>
              <a:avLst/>
              <a:gdLst>
                <a:gd name="connsiteX0" fmla="*/ 1006026 w 1007911"/>
                <a:gd name="connsiteY0" fmla="*/ 23883 h 965282"/>
                <a:gd name="connsiteX1" fmla="*/ 1003968 w 1007911"/>
                <a:gd name="connsiteY1" fmla="*/ 11208 h 965282"/>
                <a:gd name="connsiteX2" fmla="*/ 1005372 w 1007911"/>
                <a:gd name="connsiteY2" fmla="*/ -250 h 965282"/>
                <a:gd name="connsiteX3" fmla="*/ 1005372 w 1007911"/>
                <a:gd name="connsiteY3" fmla="*/ -250 h 965282"/>
                <a:gd name="connsiteX4" fmla="*/ 1000320 w 1007911"/>
                <a:gd name="connsiteY4" fmla="*/ 10180 h 965282"/>
                <a:gd name="connsiteX5" fmla="*/ 991902 w 1007911"/>
                <a:gd name="connsiteY5" fmla="*/ 19534 h 965282"/>
                <a:gd name="connsiteX6" fmla="*/ 981004 w 1007911"/>
                <a:gd name="connsiteY6" fmla="*/ 39878 h 965282"/>
                <a:gd name="connsiteX7" fmla="*/ 965991 w 1007911"/>
                <a:gd name="connsiteY7" fmla="*/ 81971 h 965282"/>
                <a:gd name="connsiteX8" fmla="*/ 921840 w 1007911"/>
                <a:gd name="connsiteY8" fmla="*/ 156803 h 965282"/>
                <a:gd name="connsiteX9" fmla="*/ 907061 w 1007911"/>
                <a:gd name="connsiteY9" fmla="*/ 172658 h 965282"/>
                <a:gd name="connsiteX10" fmla="*/ 890926 w 1007911"/>
                <a:gd name="connsiteY10" fmla="*/ 187157 h 965282"/>
                <a:gd name="connsiteX11" fmla="*/ 873387 w 1007911"/>
                <a:gd name="connsiteY11" fmla="*/ 199878 h 965282"/>
                <a:gd name="connsiteX12" fmla="*/ 854679 w 1007911"/>
                <a:gd name="connsiteY12" fmla="*/ 211196 h 965282"/>
                <a:gd name="connsiteX13" fmla="*/ 772645 w 1007911"/>
                <a:gd name="connsiteY13" fmla="*/ 244356 h 965282"/>
                <a:gd name="connsiteX14" fmla="*/ 685045 w 1007911"/>
                <a:gd name="connsiteY14" fmla="*/ 271436 h 965282"/>
                <a:gd name="connsiteX15" fmla="*/ 600579 w 1007911"/>
                <a:gd name="connsiteY15" fmla="*/ 313529 h 965282"/>
                <a:gd name="connsiteX16" fmla="*/ 533885 w 1007911"/>
                <a:gd name="connsiteY16" fmla="*/ 381579 h 965282"/>
                <a:gd name="connsiteX17" fmla="*/ 493569 w 1007911"/>
                <a:gd name="connsiteY17" fmla="*/ 466793 h 965282"/>
                <a:gd name="connsiteX18" fmla="*/ 432020 w 1007911"/>
                <a:gd name="connsiteY18" fmla="*/ 635165 h 965282"/>
                <a:gd name="connsiteX19" fmla="*/ 375896 w 1007911"/>
                <a:gd name="connsiteY19" fmla="*/ 700643 h 965282"/>
                <a:gd name="connsiteX20" fmla="*/ 299895 w 1007911"/>
                <a:gd name="connsiteY20" fmla="*/ 742735 h 965282"/>
                <a:gd name="connsiteX21" fmla="*/ 126566 w 1007911"/>
                <a:gd name="connsiteY21" fmla="*/ 802694 h 965282"/>
                <a:gd name="connsiteX22" fmla="*/ 49302 w 1007911"/>
                <a:gd name="connsiteY22" fmla="*/ 858444 h 965282"/>
                <a:gd name="connsiteX23" fmla="*/ 11887 w 1007911"/>
                <a:gd name="connsiteY23" fmla="*/ 908488 h 965282"/>
                <a:gd name="connsiteX24" fmla="*/ 9642 w 1007911"/>
                <a:gd name="connsiteY24" fmla="*/ 912230 h 965282"/>
                <a:gd name="connsiteX25" fmla="*/ 8052 w 1007911"/>
                <a:gd name="connsiteY25" fmla="*/ 914942 h 965282"/>
                <a:gd name="connsiteX26" fmla="*/ 8052 w 1007911"/>
                <a:gd name="connsiteY26" fmla="*/ 914942 h 965282"/>
                <a:gd name="connsiteX27" fmla="*/ 5947 w 1007911"/>
                <a:gd name="connsiteY27" fmla="*/ 919058 h 965282"/>
                <a:gd name="connsiteX28" fmla="*/ 1270 w 1007911"/>
                <a:gd name="connsiteY28" fmla="*/ 942443 h 965282"/>
                <a:gd name="connsiteX29" fmla="*/ -1069 w 1007911"/>
                <a:gd name="connsiteY29" fmla="*/ 965033 h 965282"/>
                <a:gd name="connsiteX30" fmla="*/ -1069 w 1007911"/>
                <a:gd name="connsiteY30" fmla="*/ 965033 h 965282"/>
                <a:gd name="connsiteX31" fmla="*/ 14178 w 1007911"/>
                <a:gd name="connsiteY31" fmla="*/ 948616 h 965282"/>
                <a:gd name="connsiteX32" fmla="*/ 28770 w 1007911"/>
                <a:gd name="connsiteY32" fmla="*/ 932387 h 965282"/>
                <a:gd name="connsiteX33" fmla="*/ 35459 w 1007911"/>
                <a:gd name="connsiteY33" fmla="*/ 920274 h 965282"/>
                <a:gd name="connsiteX34" fmla="*/ 68572 w 1007911"/>
                <a:gd name="connsiteY34" fmla="*/ 876450 h 965282"/>
                <a:gd name="connsiteX35" fmla="*/ 138726 w 1007911"/>
                <a:gd name="connsiteY35" fmla="*/ 826079 h 965282"/>
                <a:gd name="connsiteX36" fmla="*/ 309904 w 1007911"/>
                <a:gd name="connsiteY36" fmla="*/ 767009 h 965282"/>
                <a:gd name="connsiteX37" fmla="*/ 392734 w 1007911"/>
                <a:gd name="connsiteY37" fmla="*/ 720894 h 965282"/>
                <a:gd name="connsiteX38" fmla="*/ 454890 w 1007911"/>
                <a:gd name="connsiteY38" fmla="*/ 648541 h 965282"/>
                <a:gd name="connsiteX39" fmla="*/ 518264 w 1007911"/>
                <a:gd name="connsiteY39" fmla="*/ 475118 h 965282"/>
                <a:gd name="connsiteX40" fmla="*/ 555680 w 1007911"/>
                <a:gd name="connsiteY40" fmla="*/ 395610 h 965282"/>
                <a:gd name="connsiteX41" fmla="*/ 615732 w 1007911"/>
                <a:gd name="connsiteY41" fmla="*/ 333967 h 965282"/>
                <a:gd name="connsiteX42" fmla="*/ 780642 w 1007911"/>
                <a:gd name="connsiteY42" fmla="*/ 268068 h 965282"/>
                <a:gd name="connsiteX43" fmla="*/ 867354 w 1007911"/>
                <a:gd name="connsiteY43" fmla="*/ 232710 h 965282"/>
                <a:gd name="connsiteX44" fmla="*/ 940829 w 1007911"/>
                <a:gd name="connsiteY44" fmla="*/ 172377 h 965282"/>
                <a:gd name="connsiteX45" fmla="*/ 988675 w 1007911"/>
                <a:gd name="connsiteY45" fmla="*/ 90764 h 965282"/>
                <a:gd name="connsiteX46" fmla="*/ 1004156 w 1007911"/>
                <a:gd name="connsiteY46" fmla="*/ 46847 h 965282"/>
                <a:gd name="connsiteX47" fmla="*/ 1006026 w 1007911"/>
                <a:gd name="connsiteY47" fmla="*/ 23883 h 965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007911" h="965282">
                  <a:moveTo>
                    <a:pt x="1006026" y="23883"/>
                  </a:moveTo>
                  <a:cubicBezTo>
                    <a:pt x="1004904" y="19739"/>
                    <a:pt x="1004249" y="15493"/>
                    <a:pt x="1003968" y="11208"/>
                  </a:cubicBezTo>
                  <a:cubicBezTo>
                    <a:pt x="1004015" y="7350"/>
                    <a:pt x="1004483" y="3506"/>
                    <a:pt x="1005372" y="-250"/>
                  </a:cubicBezTo>
                  <a:lnTo>
                    <a:pt x="1005372" y="-250"/>
                  </a:lnTo>
                  <a:cubicBezTo>
                    <a:pt x="1004062" y="3398"/>
                    <a:pt x="1002378" y="6896"/>
                    <a:pt x="1000320" y="10180"/>
                  </a:cubicBezTo>
                  <a:cubicBezTo>
                    <a:pt x="997841" y="13570"/>
                    <a:pt x="995035" y="16704"/>
                    <a:pt x="991902" y="19534"/>
                  </a:cubicBezTo>
                  <a:cubicBezTo>
                    <a:pt x="986477" y="25188"/>
                    <a:pt x="982688" y="32227"/>
                    <a:pt x="981004" y="39878"/>
                  </a:cubicBezTo>
                  <a:cubicBezTo>
                    <a:pt x="976327" y="53909"/>
                    <a:pt x="971650" y="68315"/>
                    <a:pt x="965991" y="81971"/>
                  </a:cubicBezTo>
                  <a:cubicBezTo>
                    <a:pt x="955374" y="109126"/>
                    <a:pt x="940502" y="134395"/>
                    <a:pt x="921840" y="156803"/>
                  </a:cubicBezTo>
                  <a:cubicBezTo>
                    <a:pt x="917210" y="162345"/>
                    <a:pt x="912253" y="167635"/>
                    <a:pt x="907061" y="172658"/>
                  </a:cubicBezTo>
                  <a:lnTo>
                    <a:pt x="890926" y="187157"/>
                  </a:lnTo>
                  <a:cubicBezTo>
                    <a:pt x="885173" y="191506"/>
                    <a:pt x="879186" y="195622"/>
                    <a:pt x="873387" y="199878"/>
                  </a:cubicBezTo>
                  <a:cubicBezTo>
                    <a:pt x="867587" y="204134"/>
                    <a:pt x="860946" y="207408"/>
                    <a:pt x="854679" y="211196"/>
                  </a:cubicBezTo>
                  <a:cubicBezTo>
                    <a:pt x="828582" y="225078"/>
                    <a:pt x="801081" y="236195"/>
                    <a:pt x="772645" y="244356"/>
                  </a:cubicBezTo>
                  <a:cubicBezTo>
                    <a:pt x="743975" y="253242"/>
                    <a:pt x="714416" y="261146"/>
                    <a:pt x="685045" y="271436"/>
                  </a:cubicBezTo>
                  <a:cubicBezTo>
                    <a:pt x="655112" y="281529"/>
                    <a:pt x="626676" y="295695"/>
                    <a:pt x="600579" y="313529"/>
                  </a:cubicBezTo>
                  <a:cubicBezTo>
                    <a:pt x="574294" y="331872"/>
                    <a:pt x="551704" y="354948"/>
                    <a:pt x="533885" y="381579"/>
                  </a:cubicBezTo>
                  <a:cubicBezTo>
                    <a:pt x="516860" y="408135"/>
                    <a:pt x="503297" y="436777"/>
                    <a:pt x="493569" y="466793"/>
                  </a:cubicBezTo>
                  <a:cubicBezTo>
                    <a:pt x="473505" y="525349"/>
                    <a:pt x="462093" y="585261"/>
                    <a:pt x="432020" y="635165"/>
                  </a:cubicBezTo>
                  <a:cubicBezTo>
                    <a:pt x="417381" y="660177"/>
                    <a:pt x="398393" y="682356"/>
                    <a:pt x="375896" y="700643"/>
                  </a:cubicBezTo>
                  <a:cubicBezTo>
                    <a:pt x="352886" y="718518"/>
                    <a:pt x="327256" y="732717"/>
                    <a:pt x="299895" y="742735"/>
                  </a:cubicBezTo>
                  <a:cubicBezTo>
                    <a:pt x="244941" y="764156"/>
                    <a:pt x="183579" y="774492"/>
                    <a:pt x="126566" y="802694"/>
                  </a:cubicBezTo>
                  <a:cubicBezTo>
                    <a:pt x="97850" y="816814"/>
                    <a:pt x="71752" y="835662"/>
                    <a:pt x="49302" y="858444"/>
                  </a:cubicBezTo>
                  <a:cubicBezTo>
                    <a:pt x="34898" y="873598"/>
                    <a:pt x="22363" y="890397"/>
                    <a:pt x="11887" y="908488"/>
                  </a:cubicBezTo>
                  <a:cubicBezTo>
                    <a:pt x="11091" y="909704"/>
                    <a:pt x="10390" y="910967"/>
                    <a:pt x="9642" y="912230"/>
                  </a:cubicBezTo>
                  <a:cubicBezTo>
                    <a:pt x="8893" y="913492"/>
                    <a:pt x="8566" y="914007"/>
                    <a:pt x="8052" y="914942"/>
                  </a:cubicBezTo>
                  <a:lnTo>
                    <a:pt x="8052" y="914942"/>
                  </a:lnTo>
                  <a:cubicBezTo>
                    <a:pt x="7350" y="916252"/>
                    <a:pt x="6648" y="917608"/>
                    <a:pt x="5947" y="919058"/>
                  </a:cubicBezTo>
                  <a:cubicBezTo>
                    <a:pt x="2065" y="926195"/>
                    <a:pt x="428" y="934352"/>
                    <a:pt x="1270" y="942443"/>
                  </a:cubicBezTo>
                  <a:cubicBezTo>
                    <a:pt x="2486" y="950048"/>
                    <a:pt x="1691" y="957844"/>
                    <a:pt x="-1069" y="965033"/>
                  </a:cubicBezTo>
                  <a:lnTo>
                    <a:pt x="-1069" y="965033"/>
                  </a:lnTo>
                  <a:cubicBezTo>
                    <a:pt x="2252" y="958148"/>
                    <a:pt x="7537" y="952423"/>
                    <a:pt x="14178" y="948616"/>
                  </a:cubicBezTo>
                  <a:cubicBezTo>
                    <a:pt x="20539" y="944777"/>
                    <a:pt x="25637" y="939127"/>
                    <a:pt x="28770" y="932387"/>
                  </a:cubicBezTo>
                  <a:lnTo>
                    <a:pt x="35459" y="920274"/>
                  </a:lnTo>
                  <a:cubicBezTo>
                    <a:pt x="44719" y="904405"/>
                    <a:pt x="55850" y="889696"/>
                    <a:pt x="68572" y="876450"/>
                  </a:cubicBezTo>
                  <a:cubicBezTo>
                    <a:pt x="88963" y="855830"/>
                    <a:pt x="112676" y="838801"/>
                    <a:pt x="138726" y="826079"/>
                  </a:cubicBezTo>
                  <a:cubicBezTo>
                    <a:pt x="191062" y="799888"/>
                    <a:pt x="251488" y="789552"/>
                    <a:pt x="309904" y="767009"/>
                  </a:cubicBezTo>
                  <a:cubicBezTo>
                    <a:pt x="339743" y="755995"/>
                    <a:pt x="367665" y="740439"/>
                    <a:pt x="392734" y="720894"/>
                  </a:cubicBezTo>
                  <a:cubicBezTo>
                    <a:pt x="417615" y="700671"/>
                    <a:pt x="438661" y="676168"/>
                    <a:pt x="454890" y="648541"/>
                  </a:cubicBezTo>
                  <a:cubicBezTo>
                    <a:pt x="487629" y="593212"/>
                    <a:pt x="499228" y="531336"/>
                    <a:pt x="518264" y="475118"/>
                  </a:cubicBezTo>
                  <a:cubicBezTo>
                    <a:pt x="527197" y="447085"/>
                    <a:pt x="539778" y="420346"/>
                    <a:pt x="555680" y="395610"/>
                  </a:cubicBezTo>
                  <a:cubicBezTo>
                    <a:pt x="571675" y="371491"/>
                    <a:pt x="592020" y="350584"/>
                    <a:pt x="615732" y="333967"/>
                  </a:cubicBezTo>
                  <a:cubicBezTo>
                    <a:pt x="663063" y="300012"/>
                    <a:pt x="722087" y="285981"/>
                    <a:pt x="780642" y="268068"/>
                  </a:cubicBezTo>
                  <a:cubicBezTo>
                    <a:pt x="810669" y="259299"/>
                    <a:pt x="839760" y="247452"/>
                    <a:pt x="867354" y="232710"/>
                  </a:cubicBezTo>
                  <a:cubicBezTo>
                    <a:pt x="895322" y="217258"/>
                    <a:pt x="920250" y="196805"/>
                    <a:pt x="940829" y="172377"/>
                  </a:cubicBezTo>
                  <a:cubicBezTo>
                    <a:pt x="961174" y="147987"/>
                    <a:pt x="977310" y="120411"/>
                    <a:pt x="988675" y="90764"/>
                  </a:cubicBezTo>
                  <a:cubicBezTo>
                    <a:pt x="994380" y="76219"/>
                    <a:pt x="999946" y="61673"/>
                    <a:pt x="1004156" y="46847"/>
                  </a:cubicBezTo>
                  <a:cubicBezTo>
                    <a:pt x="1006915" y="39514"/>
                    <a:pt x="1007570" y="31563"/>
                    <a:pt x="1006026" y="2388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D9F33C01-28E7-45DC-9C65-6FFB64AF2E69}"/>
                </a:ext>
              </a:extLst>
            </p:cNvPr>
            <p:cNvSpPr/>
            <p:nvPr/>
          </p:nvSpPr>
          <p:spPr>
            <a:xfrm>
              <a:off x="9011465" y="5370560"/>
              <a:ext cx="1001669" cy="978097"/>
            </a:xfrm>
            <a:custGeom>
              <a:avLst/>
              <a:gdLst>
                <a:gd name="connsiteX0" fmla="*/ 997794 w 1001669"/>
                <a:gd name="connsiteY0" fmla="*/ 11208 h 978097"/>
                <a:gd name="connsiteX1" fmla="*/ 1000601 w 1001669"/>
                <a:gd name="connsiteY1" fmla="*/ -250 h 978097"/>
                <a:gd name="connsiteX2" fmla="*/ 1000601 w 1001669"/>
                <a:gd name="connsiteY2" fmla="*/ -250 h 978097"/>
                <a:gd name="connsiteX3" fmla="*/ 994194 w 1001669"/>
                <a:gd name="connsiteY3" fmla="*/ 9712 h 978097"/>
                <a:gd name="connsiteX4" fmla="*/ 984606 w 1001669"/>
                <a:gd name="connsiteY4" fmla="*/ 18505 h 978097"/>
                <a:gd name="connsiteX5" fmla="*/ 972492 w 1001669"/>
                <a:gd name="connsiteY5" fmla="*/ 39317 h 978097"/>
                <a:gd name="connsiteX6" fmla="*/ 958461 w 1001669"/>
                <a:gd name="connsiteY6" fmla="*/ 84216 h 978097"/>
                <a:gd name="connsiteX7" fmla="*/ 929417 w 1001669"/>
                <a:gd name="connsiteY7" fmla="*/ 171114 h 978097"/>
                <a:gd name="connsiteX8" fmla="*/ 882647 w 1001669"/>
                <a:gd name="connsiteY8" fmla="*/ 246414 h 978097"/>
                <a:gd name="connsiteX9" fmla="*/ 812492 w 1001669"/>
                <a:gd name="connsiteY9" fmla="*/ 299685 h 978097"/>
                <a:gd name="connsiteX10" fmla="*/ 638088 w 1001669"/>
                <a:gd name="connsiteY10" fmla="*/ 360205 h 978097"/>
                <a:gd name="connsiteX11" fmla="*/ 553528 w 1001669"/>
                <a:gd name="connsiteY11" fmla="*/ 406975 h 978097"/>
                <a:gd name="connsiteX12" fmla="*/ 490482 w 1001669"/>
                <a:gd name="connsiteY12" fmla="*/ 480964 h 978097"/>
                <a:gd name="connsiteX13" fmla="*/ 425987 w 1001669"/>
                <a:gd name="connsiteY13" fmla="*/ 657708 h 978097"/>
                <a:gd name="connsiteX14" fmla="*/ 386139 w 1001669"/>
                <a:gd name="connsiteY14" fmla="*/ 737217 h 978097"/>
                <a:gd name="connsiteX15" fmla="*/ 322953 w 1001669"/>
                <a:gd name="connsiteY15" fmla="*/ 798017 h 978097"/>
                <a:gd name="connsiteX16" fmla="*/ 152570 w 1001669"/>
                <a:gd name="connsiteY16" fmla="*/ 862466 h 978097"/>
                <a:gd name="connsiteX17" fmla="*/ 64923 w 1001669"/>
                <a:gd name="connsiteY17" fmla="*/ 901893 h 978097"/>
                <a:gd name="connsiteX18" fmla="*/ 33775 w 1001669"/>
                <a:gd name="connsiteY18" fmla="*/ 925044 h 978097"/>
                <a:gd name="connsiteX19" fmla="*/ 23112 w 1001669"/>
                <a:gd name="connsiteY19" fmla="*/ 934772 h 978097"/>
                <a:gd name="connsiteX20" fmla="*/ 22129 w 1001669"/>
                <a:gd name="connsiteY20" fmla="*/ 935755 h 978097"/>
                <a:gd name="connsiteX21" fmla="*/ 20492 w 1001669"/>
                <a:gd name="connsiteY21" fmla="*/ 937391 h 978097"/>
                <a:gd name="connsiteX22" fmla="*/ 8285 w 1001669"/>
                <a:gd name="connsiteY22" fmla="*/ 957269 h 978097"/>
                <a:gd name="connsiteX23" fmla="*/ -1069 w 1001669"/>
                <a:gd name="connsiteY23" fmla="*/ 977847 h 978097"/>
                <a:gd name="connsiteX24" fmla="*/ -1069 w 1001669"/>
                <a:gd name="connsiteY24" fmla="*/ 977847 h 978097"/>
                <a:gd name="connsiteX25" fmla="*/ 18668 w 1001669"/>
                <a:gd name="connsiteY25" fmla="*/ 967231 h 978097"/>
                <a:gd name="connsiteX26" fmla="*/ 37704 w 1001669"/>
                <a:gd name="connsiteY26" fmla="*/ 956614 h 978097"/>
                <a:gd name="connsiteX27" fmla="*/ 41445 w 1001669"/>
                <a:gd name="connsiteY27" fmla="*/ 953246 h 978097"/>
                <a:gd name="connsiteX28" fmla="*/ 44158 w 1001669"/>
                <a:gd name="connsiteY28" fmla="*/ 950814 h 978097"/>
                <a:gd name="connsiteX29" fmla="*/ 52483 w 1001669"/>
                <a:gd name="connsiteY29" fmla="*/ 943565 h 978097"/>
                <a:gd name="connsiteX30" fmla="*/ 60995 w 1001669"/>
                <a:gd name="connsiteY30" fmla="*/ 936550 h 978097"/>
                <a:gd name="connsiteX31" fmla="*/ 79048 w 1001669"/>
                <a:gd name="connsiteY31" fmla="*/ 923875 h 978097"/>
                <a:gd name="connsiteX32" fmla="*/ 160802 w 1001669"/>
                <a:gd name="connsiteY32" fmla="*/ 887161 h 978097"/>
                <a:gd name="connsiteX33" fmla="*/ 249664 w 1001669"/>
                <a:gd name="connsiteY33" fmla="*/ 859987 h 978097"/>
                <a:gd name="connsiteX34" fmla="*/ 337077 w 1001669"/>
                <a:gd name="connsiteY34" fmla="*/ 819812 h 978097"/>
                <a:gd name="connsiteX35" fmla="*/ 407232 w 1001669"/>
                <a:gd name="connsiteY35" fmla="*/ 752323 h 978097"/>
                <a:gd name="connsiteX36" fmla="*/ 450260 w 1001669"/>
                <a:gd name="connsiteY36" fmla="*/ 666080 h 978097"/>
                <a:gd name="connsiteX37" fmla="*/ 512371 w 1001669"/>
                <a:gd name="connsiteY37" fmla="*/ 493499 h 978097"/>
                <a:gd name="connsiteX38" fmla="*/ 569196 w 1001669"/>
                <a:gd name="connsiteY38" fmla="*/ 426431 h 978097"/>
                <a:gd name="connsiteX39" fmla="*/ 646928 w 1001669"/>
                <a:gd name="connsiteY39" fmla="*/ 383309 h 978097"/>
                <a:gd name="connsiteX40" fmla="*/ 823670 w 1001669"/>
                <a:gd name="connsiteY40" fmla="*/ 321339 h 978097"/>
                <a:gd name="connsiteX41" fmla="*/ 900467 w 1001669"/>
                <a:gd name="connsiteY41" fmla="*/ 262736 h 978097"/>
                <a:gd name="connsiteX42" fmla="*/ 929651 w 1001669"/>
                <a:gd name="connsiteY42" fmla="*/ 223730 h 978097"/>
                <a:gd name="connsiteX43" fmla="*/ 951399 w 1001669"/>
                <a:gd name="connsiteY43" fmla="*/ 180655 h 978097"/>
                <a:gd name="connsiteX44" fmla="*/ 981238 w 1001669"/>
                <a:gd name="connsiteY44" fmla="*/ 91044 h 978097"/>
                <a:gd name="connsiteX45" fmla="*/ 994802 w 1001669"/>
                <a:gd name="connsiteY45" fmla="*/ 46987 h 978097"/>
                <a:gd name="connsiteX46" fmla="*/ 998590 w 1001669"/>
                <a:gd name="connsiteY46" fmla="*/ 24070 h 978097"/>
                <a:gd name="connsiteX47" fmla="*/ 997794 w 1001669"/>
                <a:gd name="connsiteY47" fmla="*/ 11208 h 97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001669" h="978097">
                  <a:moveTo>
                    <a:pt x="997794" y="11208"/>
                  </a:moveTo>
                  <a:cubicBezTo>
                    <a:pt x="998309" y="7294"/>
                    <a:pt x="999245" y="3449"/>
                    <a:pt x="1000601" y="-250"/>
                  </a:cubicBezTo>
                  <a:lnTo>
                    <a:pt x="1000601" y="-250"/>
                  </a:lnTo>
                  <a:cubicBezTo>
                    <a:pt x="998824" y="3299"/>
                    <a:pt x="996672" y="6639"/>
                    <a:pt x="994194" y="9712"/>
                  </a:cubicBezTo>
                  <a:cubicBezTo>
                    <a:pt x="991154" y="12831"/>
                    <a:pt x="987973" y="15764"/>
                    <a:pt x="984606" y="18505"/>
                  </a:cubicBezTo>
                  <a:cubicBezTo>
                    <a:pt x="978666" y="24136"/>
                    <a:pt x="974456" y="31361"/>
                    <a:pt x="972492" y="39317"/>
                  </a:cubicBezTo>
                  <a:cubicBezTo>
                    <a:pt x="966973" y="54190"/>
                    <a:pt x="963138" y="69343"/>
                    <a:pt x="958461" y="84216"/>
                  </a:cubicBezTo>
                  <a:cubicBezTo>
                    <a:pt x="950510" y="113737"/>
                    <a:pt x="940829" y="142758"/>
                    <a:pt x="929417" y="171114"/>
                  </a:cubicBezTo>
                  <a:cubicBezTo>
                    <a:pt x="918240" y="198709"/>
                    <a:pt x="902431" y="224179"/>
                    <a:pt x="882647" y="246414"/>
                  </a:cubicBezTo>
                  <a:cubicBezTo>
                    <a:pt x="862583" y="268181"/>
                    <a:pt x="838824" y="286220"/>
                    <a:pt x="812492" y="299685"/>
                  </a:cubicBezTo>
                  <a:cubicBezTo>
                    <a:pt x="759362" y="327279"/>
                    <a:pt x="697673" y="337521"/>
                    <a:pt x="638088" y="360205"/>
                  </a:cubicBezTo>
                  <a:cubicBezTo>
                    <a:pt x="607641" y="371289"/>
                    <a:pt x="579111" y="387069"/>
                    <a:pt x="553528" y="406975"/>
                  </a:cubicBezTo>
                  <a:cubicBezTo>
                    <a:pt x="528132" y="427553"/>
                    <a:pt x="506758" y="452636"/>
                    <a:pt x="490482" y="480964"/>
                  </a:cubicBezTo>
                  <a:cubicBezTo>
                    <a:pt x="457743" y="537556"/>
                    <a:pt x="446144" y="600695"/>
                    <a:pt x="425987" y="657708"/>
                  </a:cubicBezTo>
                  <a:cubicBezTo>
                    <a:pt x="416493" y="685943"/>
                    <a:pt x="403070" y="712704"/>
                    <a:pt x="386139" y="737217"/>
                  </a:cubicBezTo>
                  <a:cubicBezTo>
                    <a:pt x="369068" y="761251"/>
                    <a:pt x="347647" y="781872"/>
                    <a:pt x="322953" y="798017"/>
                  </a:cubicBezTo>
                  <a:cubicBezTo>
                    <a:pt x="273283" y="830756"/>
                    <a:pt x="212389" y="843057"/>
                    <a:pt x="152570" y="862466"/>
                  </a:cubicBezTo>
                  <a:cubicBezTo>
                    <a:pt x="121796" y="871862"/>
                    <a:pt x="92377" y="885112"/>
                    <a:pt x="64923" y="901893"/>
                  </a:cubicBezTo>
                  <a:cubicBezTo>
                    <a:pt x="54026" y="908913"/>
                    <a:pt x="43644" y="916649"/>
                    <a:pt x="33775" y="925044"/>
                  </a:cubicBezTo>
                  <a:cubicBezTo>
                    <a:pt x="30080" y="928103"/>
                    <a:pt x="26479" y="931353"/>
                    <a:pt x="23112" y="934772"/>
                  </a:cubicBezTo>
                  <a:lnTo>
                    <a:pt x="22129" y="935755"/>
                  </a:lnTo>
                  <a:lnTo>
                    <a:pt x="20492" y="937391"/>
                  </a:lnTo>
                  <a:cubicBezTo>
                    <a:pt x="14412" y="942559"/>
                    <a:pt x="10156" y="949519"/>
                    <a:pt x="8285" y="957269"/>
                  </a:cubicBezTo>
                  <a:cubicBezTo>
                    <a:pt x="7022" y="964827"/>
                    <a:pt x="3796" y="971917"/>
                    <a:pt x="-1069" y="977847"/>
                  </a:cubicBezTo>
                  <a:lnTo>
                    <a:pt x="-1069" y="977847"/>
                  </a:lnTo>
                  <a:cubicBezTo>
                    <a:pt x="4263" y="972389"/>
                    <a:pt x="11185" y="968685"/>
                    <a:pt x="18668" y="967231"/>
                  </a:cubicBezTo>
                  <a:cubicBezTo>
                    <a:pt x="25918" y="965659"/>
                    <a:pt x="32559" y="961964"/>
                    <a:pt x="37704" y="956614"/>
                  </a:cubicBezTo>
                  <a:lnTo>
                    <a:pt x="41445" y="953246"/>
                  </a:lnTo>
                  <a:lnTo>
                    <a:pt x="44158" y="950814"/>
                  </a:lnTo>
                  <a:cubicBezTo>
                    <a:pt x="46917" y="948382"/>
                    <a:pt x="49770" y="946137"/>
                    <a:pt x="52483" y="943565"/>
                  </a:cubicBezTo>
                  <a:cubicBezTo>
                    <a:pt x="55149" y="941002"/>
                    <a:pt x="57955" y="938654"/>
                    <a:pt x="60995" y="936550"/>
                  </a:cubicBezTo>
                  <a:cubicBezTo>
                    <a:pt x="67028" y="932387"/>
                    <a:pt x="72594" y="927570"/>
                    <a:pt x="79048" y="923875"/>
                  </a:cubicBezTo>
                  <a:cubicBezTo>
                    <a:pt x="104631" y="908240"/>
                    <a:pt x="132132" y="895902"/>
                    <a:pt x="160802" y="887161"/>
                  </a:cubicBezTo>
                  <a:cubicBezTo>
                    <a:pt x="189752" y="877807"/>
                    <a:pt x="219872" y="869903"/>
                    <a:pt x="249664" y="859987"/>
                  </a:cubicBezTo>
                  <a:cubicBezTo>
                    <a:pt x="280439" y="850460"/>
                    <a:pt x="309810" y="836958"/>
                    <a:pt x="337077" y="819812"/>
                  </a:cubicBezTo>
                  <a:cubicBezTo>
                    <a:pt x="364485" y="801885"/>
                    <a:pt x="388243" y="778996"/>
                    <a:pt x="407232" y="752323"/>
                  </a:cubicBezTo>
                  <a:cubicBezTo>
                    <a:pt x="425612" y="725786"/>
                    <a:pt x="440111" y="696742"/>
                    <a:pt x="450260" y="666080"/>
                  </a:cubicBezTo>
                  <a:cubicBezTo>
                    <a:pt x="471307" y="606308"/>
                    <a:pt x="482157" y="544946"/>
                    <a:pt x="512371" y="493499"/>
                  </a:cubicBezTo>
                  <a:cubicBezTo>
                    <a:pt x="527103" y="467888"/>
                    <a:pt x="546372" y="445162"/>
                    <a:pt x="569196" y="426431"/>
                  </a:cubicBezTo>
                  <a:cubicBezTo>
                    <a:pt x="592674" y="408032"/>
                    <a:pt x="618913" y="393477"/>
                    <a:pt x="646928" y="383309"/>
                  </a:cubicBezTo>
                  <a:cubicBezTo>
                    <a:pt x="703051" y="361561"/>
                    <a:pt x="766003" y="351272"/>
                    <a:pt x="823670" y="321339"/>
                  </a:cubicBezTo>
                  <a:cubicBezTo>
                    <a:pt x="852574" y="306536"/>
                    <a:pt x="878578" y="286692"/>
                    <a:pt x="900467" y="262736"/>
                  </a:cubicBezTo>
                  <a:cubicBezTo>
                    <a:pt x="911317" y="250609"/>
                    <a:pt x="921092" y="237560"/>
                    <a:pt x="929651" y="223730"/>
                  </a:cubicBezTo>
                  <a:cubicBezTo>
                    <a:pt x="937929" y="209915"/>
                    <a:pt x="945178" y="195519"/>
                    <a:pt x="951399" y="180655"/>
                  </a:cubicBezTo>
                  <a:cubicBezTo>
                    <a:pt x="963045" y="151378"/>
                    <a:pt x="973007" y="121459"/>
                    <a:pt x="981238" y="91044"/>
                  </a:cubicBezTo>
                  <a:cubicBezTo>
                    <a:pt x="985495" y="76172"/>
                    <a:pt x="990265" y="61533"/>
                    <a:pt x="994802" y="46987"/>
                  </a:cubicBezTo>
                  <a:cubicBezTo>
                    <a:pt x="997935" y="39771"/>
                    <a:pt x="999198" y="31904"/>
                    <a:pt x="998590" y="24070"/>
                  </a:cubicBezTo>
                  <a:cubicBezTo>
                    <a:pt x="997748" y="19837"/>
                    <a:pt x="997514" y="15511"/>
                    <a:pt x="997794" y="11208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6F4CA857-E064-4587-A338-45B8AAFF19BA}"/>
                </a:ext>
              </a:extLst>
            </p:cNvPr>
            <p:cNvSpPr/>
            <p:nvPr/>
          </p:nvSpPr>
          <p:spPr>
            <a:xfrm>
              <a:off x="9108372" y="4283863"/>
              <a:ext cx="2057171" cy="2053195"/>
            </a:xfrm>
            <a:custGeom>
              <a:avLst/>
              <a:gdLst>
                <a:gd name="connsiteX0" fmla="*/ 2056056 w 2057171"/>
                <a:gd name="connsiteY0" fmla="*/ -204 h 2053195"/>
                <a:gd name="connsiteX1" fmla="*/ 2045299 w 2057171"/>
                <a:gd name="connsiteY1" fmla="*/ 5643 h 2053195"/>
                <a:gd name="connsiteX2" fmla="*/ 2032718 w 2057171"/>
                <a:gd name="connsiteY2" fmla="*/ 9712 h 2053195"/>
                <a:gd name="connsiteX3" fmla="*/ 2012701 w 2057171"/>
                <a:gd name="connsiteY3" fmla="*/ 24912 h 2053195"/>
                <a:gd name="connsiteX4" fmla="*/ 1981879 w 2057171"/>
                <a:gd name="connsiteY4" fmla="*/ 64479 h 2053195"/>
                <a:gd name="connsiteX5" fmla="*/ 1941516 w 2057171"/>
                <a:gd name="connsiteY5" fmla="*/ 154838 h 2053195"/>
                <a:gd name="connsiteX6" fmla="*/ 1912987 w 2057171"/>
                <a:gd name="connsiteY6" fmla="*/ 247022 h 2053195"/>
                <a:gd name="connsiteX7" fmla="*/ 1871549 w 2057171"/>
                <a:gd name="connsiteY7" fmla="*/ 330787 h 2053195"/>
                <a:gd name="connsiteX8" fmla="*/ 1804481 w 2057171"/>
                <a:gd name="connsiteY8" fmla="*/ 393879 h 2053195"/>
                <a:gd name="connsiteX9" fmla="*/ 1718659 w 2057171"/>
                <a:gd name="connsiteY9" fmla="*/ 431763 h 2053195"/>
                <a:gd name="connsiteX10" fmla="*/ 1625960 w 2057171"/>
                <a:gd name="connsiteY10" fmla="*/ 460292 h 2053195"/>
                <a:gd name="connsiteX11" fmla="*/ 1537098 w 2057171"/>
                <a:gd name="connsiteY11" fmla="*/ 504349 h 2053195"/>
                <a:gd name="connsiteX12" fmla="*/ 1468393 w 2057171"/>
                <a:gd name="connsiteY12" fmla="*/ 577264 h 2053195"/>
                <a:gd name="connsiteX13" fmla="*/ 1428124 w 2057171"/>
                <a:gd name="connsiteY13" fmla="*/ 667857 h 2053195"/>
                <a:gd name="connsiteX14" fmla="*/ 1399594 w 2057171"/>
                <a:gd name="connsiteY14" fmla="*/ 759993 h 2053195"/>
                <a:gd name="connsiteX15" fmla="*/ 1358016 w 2057171"/>
                <a:gd name="connsiteY15" fmla="*/ 843337 h 2053195"/>
                <a:gd name="connsiteX16" fmla="*/ 1291042 w 2057171"/>
                <a:gd name="connsiteY16" fmla="*/ 906056 h 2053195"/>
                <a:gd name="connsiteX17" fmla="*/ 1205313 w 2057171"/>
                <a:gd name="connsiteY17" fmla="*/ 943472 h 2053195"/>
                <a:gd name="connsiteX18" fmla="*/ 1112615 w 2057171"/>
                <a:gd name="connsiteY18" fmla="*/ 972001 h 2053195"/>
                <a:gd name="connsiteX19" fmla="*/ 1023331 w 2057171"/>
                <a:gd name="connsiteY19" fmla="*/ 1016386 h 2053195"/>
                <a:gd name="connsiteX20" fmla="*/ 954580 w 2057171"/>
                <a:gd name="connsiteY20" fmla="*/ 1089768 h 2053195"/>
                <a:gd name="connsiteX21" fmla="*/ 914030 w 2057171"/>
                <a:gd name="connsiteY21" fmla="*/ 1181062 h 2053195"/>
                <a:gd name="connsiteX22" fmla="*/ 885547 w 2057171"/>
                <a:gd name="connsiteY22" fmla="*/ 1273199 h 2053195"/>
                <a:gd name="connsiteX23" fmla="*/ 843875 w 2057171"/>
                <a:gd name="connsiteY23" fmla="*/ 1355982 h 2053195"/>
                <a:gd name="connsiteX24" fmla="*/ 776901 w 2057171"/>
                <a:gd name="connsiteY24" fmla="*/ 1418139 h 2053195"/>
                <a:gd name="connsiteX25" fmla="*/ 691312 w 2057171"/>
                <a:gd name="connsiteY25" fmla="*/ 1455555 h 2053195"/>
                <a:gd name="connsiteX26" fmla="*/ 598568 w 2057171"/>
                <a:gd name="connsiteY26" fmla="*/ 1484131 h 2053195"/>
                <a:gd name="connsiteX27" fmla="*/ 509144 w 2057171"/>
                <a:gd name="connsiteY27" fmla="*/ 1528890 h 2053195"/>
                <a:gd name="connsiteX28" fmla="*/ 440345 w 2057171"/>
                <a:gd name="connsiteY28" fmla="*/ 1602739 h 2053195"/>
                <a:gd name="connsiteX29" fmla="*/ 400217 w 2057171"/>
                <a:gd name="connsiteY29" fmla="*/ 1693894 h 2053195"/>
                <a:gd name="connsiteX30" fmla="*/ 371734 w 2057171"/>
                <a:gd name="connsiteY30" fmla="*/ 1785937 h 2053195"/>
                <a:gd name="connsiteX31" fmla="*/ 330342 w 2057171"/>
                <a:gd name="connsiteY31" fmla="*/ 1868579 h 2053195"/>
                <a:gd name="connsiteX32" fmla="*/ 263555 w 2057171"/>
                <a:gd name="connsiteY32" fmla="*/ 1930502 h 2053195"/>
                <a:gd name="connsiteX33" fmla="*/ 178107 w 2057171"/>
                <a:gd name="connsiteY33" fmla="*/ 1967918 h 2053195"/>
                <a:gd name="connsiteX34" fmla="*/ 85316 w 2057171"/>
                <a:gd name="connsiteY34" fmla="*/ 1996541 h 2053195"/>
                <a:gd name="connsiteX35" fmla="*/ 61931 w 2057171"/>
                <a:gd name="connsiteY35" fmla="*/ 2005334 h 2053195"/>
                <a:gd name="connsiteX36" fmla="*/ 51594 w 2057171"/>
                <a:gd name="connsiteY36" fmla="*/ 2009590 h 2053195"/>
                <a:gd name="connsiteX37" fmla="*/ 30782 w 2057171"/>
                <a:gd name="connsiteY37" fmla="*/ 2019879 h 2053195"/>
                <a:gd name="connsiteX38" fmla="*/ 13664 w 2057171"/>
                <a:gd name="connsiteY38" fmla="*/ 2035688 h 2053195"/>
                <a:gd name="connsiteX39" fmla="*/ -1069 w 2057171"/>
                <a:gd name="connsiteY39" fmla="*/ 2052946 h 2053195"/>
                <a:gd name="connsiteX40" fmla="*/ -1069 w 2057171"/>
                <a:gd name="connsiteY40" fmla="*/ 2052946 h 2053195"/>
                <a:gd name="connsiteX41" fmla="*/ 20820 w 2057171"/>
                <a:gd name="connsiteY41" fmla="*/ 2048269 h 2053195"/>
                <a:gd name="connsiteX42" fmla="*/ 42007 w 2057171"/>
                <a:gd name="connsiteY42" fmla="*/ 2043171 h 2053195"/>
                <a:gd name="connsiteX43" fmla="*/ 43269 w 2057171"/>
                <a:gd name="connsiteY43" fmla="*/ 2042516 h 2053195"/>
                <a:gd name="connsiteX44" fmla="*/ 43269 w 2057171"/>
                <a:gd name="connsiteY44" fmla="*/ 2042516 h 2053195"/>
                <a:gd name="connsiteX45" fmla="*/ 50519 w 2057171"/>
                <a:gd name="connsiteY45" fmla="*/ 2039008 h 2053195"/>
                <a:gd name="connsiteX46" fmla="*/ 93781 w 2057171"/>
                <a:gd name="connsiteY46" fmla="*/ 2021236 h 2053195"/>
                <a:gd name="connsiteX47" fmla="*/ 185871 w 2057171"/>
                <a:gd name="connsiteY47" fmla="*/ 1992846 h 2053195"/>
                <a:gd name="connsiteX48" fmla="*/ 277165 w 2057171"/>
                <a:gd name="connsiteY48" fmla="*/ 1952858 h 2053195"/>
                <a:gd name="connsiteX49" fmla="*/ 351249 w 2057171"/>
                <a:gd name="connsiteY49" fmla="*/ 1884153 h 2053195"/>
                <a:gd name="connsiteX50" fmla="*/ 396195 w 2057171"/>
                <a:gd name="connsiteY50" fmla="*/ 1794683 h 2053195"/>
                <a:gd name="connsiteX51" fmla="*/ 424818 w 2057171"/>
                <a:gd name="connsiteY51" fmla="*/ 1701938 h 2053195"/>
                <a:gd name="connsiteX52" fmla="*/ 462234 w 2057171"/>
                <a:gd name="connsiteY52" fmla="*/ 1616349 h 2053195"/>
                <a:gd name="connsiteX53" fmla="*/ 524297 w 2057171"/>
                <a:gd name="connsiteY53" fmla="*/ 1549515 h 2053195"/>
                <a:gd name="connsiteX54" fmla="*/ 607126 w 2057171"/>
                <a:gd name="connsiteY54" fmla="*/ 1507984 h 2053195"/>
                <a:gd name="connsiteX55" fmla="*/ 699170 w 2057171"/>
                <a:gd name="connsiteY55" fmla="*/ 1479407 h 2053195"/>
                <a:gd name="connsiteX56" fmla="*/ 790277 w 2057171"/>
                <a:gd name="connsiteY56" fmla="*/ 1439325 h 2053195"/>
                <a:gd name="connsiteX57" fmla="*/ 863799 w 2057171"/>
                <a:gd name="connsiteY57" fmla="*/ 1370433 h 2053195"/>
                <a:gd name="connsiteX58" fmla="*/ 908324 w 2057171"/>
                <a:gd name="connsiteY58" fmla="*/ 1281103 h 2053195"/>
                <a:gd name="connsiteX59" fmla="*/ 936947 w 2057171"/>
                <a:gd name="connsiteY59" fmla="*/ 1188358 h 2053195"/>
                <a:gd name="connsiteX60" fmla="*/ 974363 w 2057171"/>
                <a:gd name="connsiteY60" fmla="*/ 1102676 h 2053195"/>
                <a:gd name="connsiteX61" fmla="*/ 1036848 w 2057171"/>
                <a:gd name="connsiteY61" fmla="*/ 1035702 h 2053195"/>
                <a:gd name="connsiteX62" fmla="*/ 1119817 w 2057171"/>
                <a:gd name="connsiteY62" fmla="*/ 993983 h 2053195"/>
                <a:gd name="connsiteX63" fmla="*/ 1211954 w 2057171"/>
                <a:gd name="connsiteY63" fmla="*/ 965453 h 2053195"/>
                <a:gd name="connsiteX64" fmla="*/ 1302734 w 2057171"/>
                <a:gd name="connsiteY64" fmla="*/ 925278 h 2053195"/>
                <a:gd name="connsiteX65" fmla="*/ 1375882 w 2057171"/>
                <a:gd name="connsiteY65" fmla="*/ 856480 h 2053195"/>
                <a:gd name="connsiteX66" fmla="*/ 1419986 w 2057171"/>
                <a:gd name="connsiteY66" fmla="*/ 767243 h 2053195"/>
                <a:gd name="connsiteX67" fmla="*/ 1448563 w 2057171"/>
                <a:gd name="connsiteY67" fmla="*/ 674592 h 2053195"/>
                <a:gd name="connsiteX68" fmla="*/ 1485979 w 2057171"/>
                <a:gd name="connsiteY68" fmla="*/ 588722 h 2053195"/>
                <a:gd name="connsiteX69" fmla="*/ 1549305 w 2057171"/>
                <a:gd name="connsiteY69" fmla="*/ 521608 h 2053195"/>
                <a:gd name="connsiteX70" fmla="*/ 1632929 w 2057171"/>
                <a:gd name="connsiteY70" fmla="*/ 480170 h 2053195"/>
                <a:gd name="connsiteX71" fmla="*/ 1725066 w 2057171"/>
                <a:gd name="connsiteY71" fmla="*/ 451593 h 2053195"/>
                <a:gd name="connsiteX72" fmla="*/ 1815612 w 2057171"/>
                <a:gd name="connsiteY72" fmla="*/ 411418 h 2053195"/>
                <a:gd name="connsiteX73" fmla="*/ 1888246 w 2057171"/>
                <a:gd name="connsiteY73" fmla="*/ 342619 h 2053195"/>
                <a:gd name="connsiteX74" fmla="*/ 1932162 w 2057171"/>
                <a:gd name="connsiteY74" fmla="*/ 253757 h 2053195"/>
                <a:gd name="connsiteX75" fmla="*/ 1960693 w 2057171"/>
                <a:gd name="connsiteY75" fmla="*/ 161059 h 2053195"/>
                <a:gd name="connsiteX76" fmla="*/ 1998576 w 2057171"/>
                <a:gd name="connsiteY76" fmla="*/ 75096 h 2053195"/>
                <a:gd name="connsiteX77" fmla="*/ 2011952 w 2057171"/>
                <a:gd name="connsiteY77" fmla="*/ 56107 h 2053195"/>
                <a:gd name="connsiteX78" fmla="*/ 2019388 w 2057171"/>
                <a:gd name="connsiteY78" fmla="*/ 47221 h 2053195"/>
                <a:gd name="connsiteX79" fmla="*/ 2027012 w 2057171"/>
                <a:gd name="connsiteY79" fmla="*/ 38475 h 2053195"/>
                <a:gd name="connsiteX80" fmla="*/ 2041510 w 2057171"/>
                <a:gd name="connsiteY80" fmla="*/ 19767 h 2053195"/>
                <a:gd name="connsiteX81" fmla="*/ 2047497 w 2057171"/>
                <a:gd name="connsiteY81" fmla="*/ 8402 h 2053195"/>
                <a:gd name="connsiteX82" fmla="*/ 2056103 w 2057171"/>
                <a:gd name="connsiteY82" fmla="*/ -250 h 2053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057171" h="2053195">
                  <a:moveTo>
                    <a:pt x="2056056" y="-204"/>
                  </a:moveTo>
                  <a:cubicBezTo>
                    <a:pt x="2052642" y="2023"/>
                    <a:pt x="2049041" y="3978"/>
                    <a:pt x="2045299" y="5643"/>
                  </a:cubicBezTo>
                  <a:cubicBezTo>
                    <a:pt x="2041510" y="7373"/>
                    <a:pt x="2036927" y="8215"/>
                    <a:pt x="2032718" y="9712"/>
                  </a:cubicBezTo>
                  <a:cubicBezTo>
                    <a:pt x="2024767" y="12869"/>
                    <a:pt x="2017892" y="18126"/>
                    <a:pt x="2012701" y="24912"/>
                  </a:cubicBezTo>
                  <a:cubicBezTo>
                    <a:pt x="2001102" y="36997"/>
                    <a:pt x="1990765" y="50261"/>
                    <a:pt x="1981879" y="64479"/>
                  </a:cubicBezTo>
                  <a:cubicBezTo>
                    <a:pt x="1964621" y="92747"/>
                    <a:pt x="1951058" y="123114"/>
                    <a:pt x="1941516" y="154838"/>
                  </a:cubicBezTo>
                  <a:cubicBezTo>
                    <a:pt x="1931508" y="185894"/>
                    <a:pt x="1923510" y="217136"/>
                    <a:pt x="1912987" y="247022"/>
                  </a:cubicBezTo>
                  <a:cubicBezTo>
                    <a:pt x="1903259" y="276791"/>
                    <a:pt x="1889322" y="305002"/>
                    <a:pt x="1871549" y="330787"/>
                  </a:cubicBezTo>
                  <a:cubicBezTo>
                    <a:pt x="1853543" y="356010"/>
                    <a:pt x="1830766" y="377449"/>
                    <a:pt x="1804481" y="393879"/>
                  </a:cubicBezTo>
                  <a:cubicBezTo>
                    <a:pt x="1777635" y="410132"/>
                    <a:pt x="1748778" y="422863"/>
                    <a:pt x="1718659" y="431763"/>
                  </a:cubicBezTo>
                  <a:cubicBezTo>
                    <a:pt x="1688352" y="441444"/>
                    <a:pt x="1656969" y="449489"/>
                    <a:pt x="1625960" y="460292"/>
                  </a:cubicBezTo>
                  <a:cubicBezTo>
                    <a:pt x="1594344" y="470549"/>
                    <a:pt x="1564412" y="485394"/>
                    <a:pt x="1537098" y="504349"/>
                  </a:cubicBezTo>
                  <a:cubicBezTo>
                    <a:pt x="1509644" y="523927"/>
                    <a:pt x="1486306" y="548701"/>
                    <a:pt x="1468393" y="577264"/>
                  </a:cubicBezTo>
                  <a:cubicBezTo>
                    <a:pt x="1451182" y="605634"/>
                    <a:pt x="1437665" y="636077"/>
                    <a:pt x="1428124" y="667857"/>
                  </a:cubicBezTo>
                  <a:cubicBezTo>
                    <a:pt x="1418069" y="698959"/>
                    <a:pt x="1410118" y="730154"/>
                    <a:pt x="1399594" y="759993"/>
                  </a:cubicBezTo>
                  <a:cubicBezTo>
                    <a:pt x="1389820" y="789627"/>
                    <a:pt x="1375789" y="817698"/>
                    <a:pt x="1358016" y="843337"/>
                  </a:cubicBezTo>
                  <a:cubicBezTo>
                    <a:pt x="1339963" y="868369"/>
                    <a:pt x="1317186" y="889667"/>
                    <a:pt x="1291042" y="906056"/>
                  </a:cubicBezTo>
                  <a:cubicBezTo>
                    <a:pt x="1264149" y="922070"/>
                    <a:pt x="1235339" y="934637"/>
                    <a:pt x="1205313" y="943472"/>
                  </a:cubicBezTo>
                  <a:cubicBezTo>
                    <a:pt x="1175053" y="953153"/>
                    <a:pt x="1143623" y="961104"/>
                    <a:pt x="1112615" y="972001"/>
                  </a:cubicBezTo>
                  <a:cubicBezTo>
                    <a:pt x="1080858" y="982332"/>
                    <a:pt x="1050738" y="997289"/>
                    <a:pt x="1023331" y="1016386"/>
                  </a:cubicBezTo>
                  <a:cubicBezTo>
                    <a:pt x="995877" y="1036146"/>
                    <a:pt x="972492" y="1061070"/>
                    <a:pt x="954580" y="1089768"/>
                  </a:cubicBezTo>
                  <a:cubicBezTo>
                    <a:pt x="937275" y="1118377"/>
                    <a:pt x="923665" y="1149049"/>
                    <a:pt x="914030" y="1181062"/>
                  </a:cubicBezTo>
                  <a:cubicBezTo>
                    <a:pt x="904021" y="1212211"/>
                    <a:pt x="896024" y="1243407"/>
                    <a:pt x="885547" y="1273199"/>
                  </a:cubicBezTo>
                  <a:cubicBezTo>
                    <a:pt x="875772" y="1302678"/>
                    <a:pt x="861741" y="1330571"/>
                    <a:pt x="843875" y="1355982"/>
                  </a:cubicBezTo>
                  <a:cubicBezTo>
                    <a:pt x="825822" y="1380858"/>
                    <a:pt x="803045" y="1401970"/>
                    <a:pt x="776901" y="1418139"/>
                  </a:cubicBezTo>
                  <a:cubicBezTo>
                    <a:pt x="750009" y="1434106"/>
                    <a:pt x="721292" y="1446673"/>
                    <a:pt x="691312" y="1455555"/>
                  </a:cubicBezTo>
                  <a:cubicBezTo>
                    <a:pt x="661099" y="1465283"/>
                    <a:pt x="629669" y="1473233"/>
                    <a:pt x="598568" y="1484131"/>
                  </a:cubicBezTo>
                  <a:cubicBezTo>
                    <a:pt x="566717" y="1494603"/>
                    <a:pt x="536598" y="1509681"/>
                    <a:pt x="509144" y="1528890"/>
                  </a:cubicBezTo>
                  <a:cubicBezTo>
                    <a:pt x="481643" y="1548804"/>
                    <a:pt x="458258" y="1573892"/>
                    <a:pt x="440345" y="1602739"/>
                  </a:cubicBezTo>
                  <a:cubicBezTo>
                    <a:pt x="423274" y="1631367"/>
                    <a:pt x="409804" y="1661978"/>
                    <a:pt x="400217" y="1693894"/>
                  </a:cubicBezTo>
                  <a:cubicBezTo>
                    <a:pt x="390208" y="1725042"/>
                    <a:pt x="382210" y="1756191"/>
                    <a:pt x="371734" y="1785937"/>
                  </a:cubicBezTo>
                  <a:cubicBezTo>
                    <a:pt x="362052" y="1815359"/>
                    <a:pt x="348115" y="1843202"/>
                    <a:pt x="330342" y="1868579"/>
                  </a:cubicBezTo>
                  <a:cubicBezTo>
                    <a:pt x="312336" y="1893367"/>
                    <a:pt x="289653" y="1914399"/>
                    <a:pt x="263555" y="1930502"/>
                  </a:cubicBezTo>
                  <a:cubicBezTo>
                    <a:pt x="236756" y="1946479"/>
                    <a:pt x="208040" y="1959051"/>
                    <a:pt x="178107" y="1967918"/>
                  </a:cubicBezTo>
                  <a:cubicBezTo>
                    <a:pt x="147800" y="1977272"/>
                    <a:pt x="116417" y="1985644"/>
                    <a:pt x="85316" y="1996541"/>
                  </a:cubicBezTo>
                  <a:cubicBezTo>
                    <a:pt x="77505" y="1999113"/>
                    <a:pt x="69788" y="2002247"/>
                    <a:pt x="61931" y="2005334"/>
                  </a:cubicBezTo>
                  <a:cubicBezTo>
                    <a:pt x="58423" y="2006597"/>
                    <a:pt x="55008" y="2008093"/>
                    <a:pt x="51594" y="2009590"/>
                  </a:cubicBezTo>
                  <a:cubicBezTo>
                    <a:pt x="44392" y="2012462"/>
                    <a:pt x="37423" y="2015904"/>
                    <a:pt x="30782" y="2019879"/>
                  </a:cubicBezTo>
                  <a:cubicBezTo>
                    <a:pt x="23532" y="2023191"/>
                    <a:pt x="17546" y="2028733"/>
                    <a:pt x="13664" y="2035688"/>
                  </a:cubicBezTo>
                  <a:cubicBezTo>
                    <a:pt x="10343" y="2042628"/>
                    <a:pt x="5245" y="2048582"/>
                    <a:pt x="-1069" y="2052946"/>
                  </a:cubicBezTo>
                  <a:lnTo>
                    <a:pt x="-1069" y="2052946"/>
                  </a:lnTo>
                  <a:cubicBezTo>
                    <a:pt x="5573" y="2049190"/>
                    <a:pt x="13196" y="2047558"/>
                    <a:pt x="20820" y="2048269"/>
                  </a:cubicBezTo>
                  <a:cubicBezTo>
                    <a:pt x="28209" y="2048680"/>
                    <a:pt x="35599" y="2046908"/>
                    <a:pt x="42007" y="2043171"/>
                  </a:cubicBezTo>
                  <a:lnTo>
                    <a:pt x="43269" y="2042516"/>
                  </a:lnTo>
                  <a:lnTo>
                    <a:pt x="43269" y="2042516"/>
                  </a:lnTo>
                  <a:cubicBezTo>
                    <a:pt x="45701" y="2041347"/>
                    <a:pt x="47946" y="2040084"/>
                    <a:pt x="50519" y="2039008"/>
                  </a:cubicBezTo>
                  <a:cubicBezTo>
                    <a:pt x="64596" y="2032311"/>
                    <a:pt x="79048" y="2026380"/>
                    <a:pt x="93781" y="2021236"/>
                  </a:cubicBezTo>
                  <a:cubicBezTo>
                    <a:pt x="123526" y="2010806"/>
                    <a:pt x="154581" y="2002528"/>
                    <a:pt x="185871" y="1992846"/>
                  </a:cubicBezTo>
                  <a:cubicBezTo>
                    <a:pt x="217861" y="1983385"/>
                    <a:pt x="248542" y="1969948"/>
                    <a:pt x="277165" y="1952858"/>
                  </a:cubicBezTo>
                  <a:cubicBezTo>
                    <a:pt x="306116" y="1935006"/>
                    <a:pt x="331278" y="1911668"/>
                    <a:pt x="351249" y="1884153"/>
                  </a:cubicBezTo>
                  <a:cubicBezTo>
                    <a:pt x="370612" y="1856751"/>
                    <a:pt x="385765" y="1826589"/>
                    <a:pt x="396195" y="1794683"/>
                  </a:cubicBezTo>
                  <a:cubicBezTo>
                    <a:pt x="407045" y="1763581"/>
                    <a:pt x="415230" y="1732198"/>
                    <a:pt x="424818" y="1701938"/>
                  </a:cubicBezTo>
                  <a:cubicBezTo>
                    <a:pt x="433657" y="1671944"/>
                    <a:pt x="446191" y="1643191"/>
                    <a:pt x="462234" y="1616349"/>
                  </a:cubicBezTo>
                  <a:cubicBezTo>
                    <a:pt x="478463" y="1590303"/>
                    <a:pt x="499509" y="1567615"/>
                    <a:pt x="524297" y="1549515"/>
                  </a:cubicBezTo>
                  <a:cubicBezTo>
                    <a:pt x="549693" y="1531635"/>
                    <a:pt x="577614" y="1517637"/>
                    <a:pt x="607126" y="1507984"/>
                  </a:cubicBezTo>
                  <a:cubicBezTo>
                    <a:pt x="636919" y="1497554"/>
                    <a:pt x="667927" y="1489276"/>
                    <a:pt x="699170" y="1479407"/>
                  </a:cubicBezTo>
                  <a:cubicBezTo>
                    <a:pt x="731113" y="1469983"/>
                    <a:pt x="761747" y="1456513"/>
                    <a:pt x="790277" y="1439325"/>
                  </a:cubicBezTo>
                  <a:cubicBezTo>
                    <a:pt x="818994" y="1421296"/>
                    <a:pt x="843922" y="1397906"/>
                    <a:pt x="863799" y="1370433"/>
                  </a:cubicBezTo>
                  <a:cubicBezTo>
                    <a:pt x="882975" y="1343022"/>
                    <a:pt x="897988" y="1312916"/>
                    <a:pt x="908324" y="1281103"/>
                  </a:cubicBezTo>
                  <a:cubicBezTo>
                    <a:pt x="919128" y="1250001"/>
                    <a:pt x="927032" y="1218665"/>
                    <a:pt x="936947" y="1188358"/>
                  </a:cubicBezTo>
                  <a:cubicBezTo>
                    <a:pt x="945740" y="1158332"/>
                    <a:pt x="958321" y="1129541"/>
                    <a:pt x="974363" y="1102676"/>
                  </a:cubicBezTo>
                  <a:cubicBezTo>
                    <a:pt x="990686" y="1076550"/>
                    <a:pt x="1011920" y="1053816"/>
                    <a:pt x="1036848" y="1035702"/>
                  </a:cubicBezTo>
                  <a:cubicBezTo>
                    <a:pt x="1062337" y="1017850"/>
                    <a:pt x="1090305" y="1003800"/>
                    <a:pt x="1119817" y="993983"/>
                  </a:cubicBezTo>
                  <a:cubicBezTo>
                    <a:pt x="1149703" y="983600"/>
                    <a:pt x="1180618" y="975275"/>
                    <a:pt x="1211954" y="965453"/>
                  </a:cubicBezTo>
                  <a:cubicBezTo>
                    <a:pt x="1243804" y="955945"/>
                    <a:pt x="1274298" y="942443"/>
                    <a:pt x="1302734" y="925278"/>
                  </a:cubicBezTo>
                  <a:cubicBezTo>
                    <a:pt x="1331357" y="907323"/>
                    <a:pt x="1356192" y="883952"/>
                    <a:pt x="1375882" y="856480"/>
                  </a:cubicBezTo>
                  <a:cubicBezTo>
                    <a:pt x="1394964" y="829110"/>
                    <a:pt x="1409837" y="799027"/>
                    <a:pt x="1419986" y="767243"/>
                  </a:cubicBezTo>
                  <a:cubicBezTo>
                    <a:pt x="1430743" y="736188"/>
                    <a:pt x="1438694" y="704852"/>
                    <a:pt x="1448563" y="674592"/>
                  </a:cubicBezTo>
                  <a:cubicBezTo>
                    <a:pt x="1457356" y="644505"/>
                    <a:pt x="1469936" y="615648"/>
                    <a:pt x="1485979" y="588722"/>
                  </a:cubicBezTo>
                  <a:cubicBezTo>
                    <a:pt x="1502582" y="562480"/>
                    <a:pt x="1524049" y="539689"/>
                    <a:pt x="1549305" y="521608"/>
                  </a:cubicBezTo>
                  <a:cubicBezTo>
                    <a:pt x="1575028" y="503840"/>
                    <a:pt x="1603184" y="489884"/>
                    <a:pt x="1632929" y="480170"/>
                  </a:cubicBezTo>
                  <a:cubicBezTo>
                    <a:pt x="1662815" y="469740"/>
                    <a:pt x="1694011" y="461695"/>
                    <a:pt x="1725066" y="451593"/>
                  </a:cubicBezTo>
                  <a:cubicBezTo>
                    <a:pt x="1756822" y="442089"/>
                    <a:pt x="1787270" y="428592"/>
                    <a:pt x="1815612" y="411418"/>
                  </a:cubicBezTo>
                  <a:cubicBezTo>
                    <a:pt x="1844001" y="393355"/>
                    <a:pt x="1868649" y="369999"/>
                    <a:pt x="1888246" y="342619"/>
                  </a:cubicBezTo>
                  <a:cubicBezTo>
                    <a:pt x="1907188" y="315315"/>
                    <a:pt x="1921967" y="285373"/>
                    <a:pt x="1932162" y="253757"/>
                  </a:cubicBezTo>
                  <a:cubicBezTo>
                    <a:pt x="1942779" y="222702"/>
                    <a:pt x="1950870" y="191412"/>
                    <a:pt x="1960693" y="161059"/>
                  </a:cubicBezTo>
                  <a:cubicBezTo>
                    <a:pt x="1969625" y="130911"/>
                    <a:pt x="1982347" y="102021"/>
                    <a:pt x="1998576" y="75096"/>
                  </a:cubicBezTo>
                  <a:cubicBezTo>
                    <a:pt x="2002411" y="68361"/>
                    <a:pt x="2007556" y="62468"/>
                    <a:pt x="2011952" y="56107"/>
                  </a:cubicBezTo>
                  <a:cubicBezTo>
                    <a:pt x="2014197" y="52960"/>
                    <a:pt x="2016676" y="49985"/>
                    <a:pt x="2019388" y="47221"/>
                  </a:cubicBezTo>
                  <a:lnTo>
                    <a:pt x="2027012" y="38475"/>
                  </a:lnTo>
                  <a:cubicBezTo>
                    <a:pt x="2031970" y="32489"/>
                    <a:pt x="2037910" y="27625"/>
                    <a:pt x="2041510" y="19767"/>
                  </a:cubicBezTo>
                  <a:cubicBezTo>
                    <a:pt x="2043101" y="15782"/>
                    <a:pt x="2045112" y="11975"/>
                    <a:pt x="2047497" y="8402"/>
                  </a:cubicBezTo>
                  <a:cubicBezTo>
                    <a:pt x="2050023" y="5180"/>
                    <a:pt x="2052876" y="2275"/>
                    <a:pt x="2056103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EAB29CF5-E7E5-4970-AC14-64118D8F708B}"/>
                </a:ext>
              </a:extLst>
            </p:cNvPr>
            <p:cNvSpPr/>
            <p:nvPr/>
          </p:nvSpPr>
          <p:spPr>
            <a:xfrm>
              <a:off x="8641188" y="5767308"/>
              <a:ext cx="556713" cy="604032"/>
            </a:xfrm>
            <a:custGeom>
              <a:avLst/>
              <a:gdLst>
                <a:gd name="connsiteX0" fmla="*/ 553388 w 556713"/>
                <a:gd name="connsiteY0" fmla="*/ 13313 h 604032"/>
                <a:gd name="connsiteX1" fmla="*/ 555165 w 556713"/>
                <a:gd name="connsiteY1" fmla="*/ -250 h 604032"/>
                <a:gd name="connsiteX2" fmla="*/ 555165 w 556713"/>
                <a:gd name="connsiteY2" fmla="*/ -250 h 604032"/>
                <a:gd name="connsiteX3" fmla="*/ 548197 w 556713"/>
                <a:gd name="connsiteY3" fmla="*/ 11442 h 604032"/>
                <a:gd name="connsiteX4" fmla="*/ 536831 w 556713"/>
                <a:gd name="connsiteY4" fmla="*/ 21264 h 604032"/>
                <a:gd name="connsiteX5" fmla="*/ 523830 w 556713"/>
                <a:gd name="connsiteY5" fmla="*/ 43854 h 604032"/>
                <a:gd name="connsiteX6" fmla="*/ 497872 w 556713"/>
                <a:gd name="connsiteY6" fmla="*/ 87677 h 604032"/>
                <a:gd name="connsiteX7" fmla="*/ 463403 w 556713"/>
                <a:gd name="connsiteY7" fmla="*/ 124625 h 604032"/>
                <a:gd name="connsiteX8" fmla="*/ 422012 w 556713"/>
                <a:gd name="connsiteY8" fmla="*/ 153856 h 604032"/>
                <a:gd name="connsiteX9" fmla="*/ 222491 w 556713"/>
                <a:gd name="connsiteY9" fmla="*/ 226022 h 604032"/>
                <a:gd name="connsiteX10" fmla="*/ 130261 w 556713"/>
                <a:gd name="connsiteY10" fmla="*/ 288367 h 604032"/>
                <a:gd name="connsiteX11" fmla="*/ 70817 w 556713"/>
                <a:gd name="connsiteY11" fmla="*/ 382327 h 604032"/>
                <a:gd name="connsiteX12" fmla="*/ 37516 w 556713"/>
                <a:gd name="connsiteY12" fmla="*/ 485221 h 604032"/>
                <a:gd name="connsiteX13" fmla="*/ 12214 w 556713"/>
                <a:gd name="connsiteY13" fmla="*/ 553458 h 604032"/>
                <a:gd name="connsiteX14" fmla="*/ 8660 w 556713"/>
                <a:gd name="connsiteY14" fmla="*/ 560661 h 604032"/>
                <a:gd name="connsiteX15" fmla="*/ 3608 w 556713"/>
                <a:gd name="connsiteY15" fmla="*/ 581894 h 604032"/>
                <a:gd name="connsiteX16" fmla="*/ -1069 w 556713"/>
                <a:gd name="connsiteY16" fmla="*/ 603782 h 604032"/>
                <a:gd name="connsiteX17" fmla="*/ -1069 w 556713"/>
                <a:gd name="connsiteY17" fmla="*/ 603782 h 604032"/>
                <a:gd name="connsiteX18" fmla="*/ 16143 w 556713"/>
                <a:gd name="connsiteY18" fmla="*/ 589003 h 604032"/>
                <a:gd name="connsiteX19" fmla="*/ 32559 w 556713"/>
                <a:gd name="connsiteY19" fmla="*/ 572026 h 604032"/>
                <a:gd name="connsiteX20" fmla="*/ 42193 w 556713"/>
                <a:gd name="connsiteY20" fmla="*/ 550699 h 604032"/>
                <a:gd name="connsiteX21" fmla="*/ 42193 w 556713"/>
                <a:gd name="connsiteY21" fmla="*/ 550699 h 604032"/>
                <a:gd name="connsiteX22" fmla="*/ 95137 w 556713"/>
                <a:gd name="connsiteY22" fmla="*/ 392196 h 604032"/>
                <a:gd name="connsiteX23" fmla="*/ 149203 w 556713"/>
                <a:gd name="connsiteY23" fmla="*/ 306466 h 604032"/>
                <a:gd name="connsiteX24" fmla="*/ 233015 w 556713"/>
                <a:gd name="connsiteY24" fmla="*/ 249922 h 604032"/>
                <a:gd name="connsiteX25" fmla="*/ 333009 w 556713"/>
                <a:gd name="connsiteY25" fmla="*/ 216715 h 604032"/>
                <a:gd name="connsiteX26" fmla="*/ 434967 w 556713"/>
                <a:gd name="connsiteY26" fmla="*/ 176587 h 604032"/>
                <a:gd name="connsiteX27" fmla="*/ 480754 w 556713"/>
                <a:gd name="connsiteY27" fmla="*/ 144269 h 604032"/>
                <a:gd name="connsiteX28" fmla="*/ 518965 w 556713"/>
                <a:gd name="connsiteY28" fmla="*/ 103111 h 604032"/>
                <a:gd name="connsiteX29" fmla="*/ 547495 w 556713"/>
                <a:gd name="connsiteY29" fmla="*/ 55032 h 604032"/>
                <a:gd name="connsiteX30" fmla="*/ 555633 w 556713"/>
                <a:gd name="connsiteY30" fmla="*/ 28560 h 604032"/>
                <a:gd name="connsiteX31" fmla="*/ 553388 w 556713"/>
                <a:gd name="connsiteY31" fmla="*/ 13313 h 604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56713" h="604032">
                  <a:moveTo>
                    <a:pt x="553388" y="13313"/>
                  </a:moveTo>
                  <a:cubicBezTo>
                    <a:pt x="553341" y="8730"/>
                    <a:pt x="553949" y="4170"/>
                    <a:pt x="555165" y="-250"/>
                  </a:cubicBezTo>
                  <a:lnTo>
                    <a:pt x="555165" y="-250"/>
                  </a:lnTo>
                  <a:cubicBezTo>
                    <a:pt x="553482" y="3983"/>
                    <a:pt x="551096" y="7930"/>
                    <a:pt x="548197" y="11442"/>
                  </a:cubicBezTo>
                  <a:cubicBezTo>
                    <a:pt x="544922" y="14997"/>
                    <a:pt x="540245" y="17943"/>
                    <a:pt x="536831" y="21264"/>
                  </a:cubicBezTo>
                  <a:cubicBezTo>
                    <a:pt x="530003" y="27905"/>
                    <a:pt x="527899" y="36277"/>
                    <a:pt x="523830" y="43854"/>
                  </a:cubicBezTo>
                  <a:cubicBezTo>
                    <a:pt x="516627" y="59279"/>
                    <a:pt x="507928" y="73959"/>
                    <a:pt x="497872" y="87677"/>
                  </a:cubicBezTo>
                  <a:cubicBezTo>
                    <a:pt x="487863" y="101292"/>
                    <a:pt x="476311" y="113695"/>
                    <a:pt x="463403" y="124625"/>
                  </a:cubicBezTo>
                  <a:cubicBezTo>
                    <a:pt x="450682" y="135813"/>
                    <a:pt x="436790" y="145611"/>
                    <a:pt x="422012" y="153856"/>
                  </a:cubicBezTo>
                  <a:cubicBezTo>
                    <a:pt x="362520" y="187858"/>
                    <a:pt x="290261" y="196791"/>
                    <a:pt x="222491" y="226022"/>
                  </a:cubicBezTo>
                  <a:cubicBezTo>
                    <a:pt x="187835" y="240334"/>
                    <a:pt x="156452" y="261549"/>
                    <a:pt x="130261" y="288367"/>
                  </a:cubicBezTo>
                  <a:cubicBezTo>
                    <a:pt x="104538" y="315544"/>
                    <a:pt x="84380" y="347455"/>
                    <a:pt x="70817" y="382327"/>
                  </a:cubicBezTo>
                  <a:cubicBezTo>
                    <a:pt x="56786" y="416422"/>
                    <a:pt x="47759" y="451406"/>
                    <a:pt x="37516" y="485221"/>
                  </a:cubicBezTo>
                  <a:cubicBezTo>
                    <a:pt x="30735" y="508545"/>
                    <a:pt x="22269" y="531350"/>
                    <a:pt x="12214" y="553458"/>
                  </a:cubicBezTo>
                  <a:lnTo>
                    <a:pt x="8660" y="560661"/>
                  </a:lnTo>
                  <a:cubicBezTo>
                    <a:pt x="4918" y="567077"/>
                    <a:pt x="3141" y="574472"/>
                    <a:pt x="3608" y="581894"/>
                  </a:cubicBezTo>
                  <a:cubicBezTo>
                    <a:pt x="4310" y="589494"/>
                    <a:pt x="2673" y="597136"/>
                    <a:pt x="-1069" y="603782"/>
                  </a:cubicBezTo>
                  <a:lnTo>
                    <a:pt x="-1069" y="603782"/>
                  </a:lnTo>
                  <a:cubicBezTo>
                    <a:pt x="3281" y="597422"/>
                    <a:pt x="9221" y="592324"/>
                    <a:pt x="16143" y="589003"/>
                  </a:cubicBezTo>
                  <a:cubicBezTo>
                    <a:pt x="23252" y="585182"/>
                    <a:pt x="28958" y="579247"/>
                    <a:pt x="32559" y="572026"/>
                  </a:cubicBezTo>
                  <a:cubicBezTo>
                    <a:pt x="36347" y="565188"/>
                    <a:pt x="39575" y="558056"/>
                    <a:pt x="42193" y="550699"/>
                  </a:cubicBezTo>
                  <a:lnTo>
                    <a:pt x="42193" y="550699"/>
                  </a:lnTo>
                  <a:cubicBezTo>
                    <a:pt x="64222" y="497708"/>
                    <a:pt x="74652" y="441912"/>
                    <a:pt x="95137" y="392196"/>
                  </a:cubicBezTo>
                  <a:cubicBezTo>
                    <a:pt x="107438" y="360378"/>
                    <a:pt x="125771" y="331254"/>
                    <a:pt x="149203" y="306466"/>
                  </a:cubicBezTo>
                  <a:cubicBezTo>
                    <a:pt x="173009" y="282118"/>
                    <a:pt x="201539" y="262877"/>
                    <a:pt x="233015" y="249922"/>
                  </a:cubicBezTo>
                  <a:cubicBezTo>
                    <a:pt x="264678" y="236265"/>
                    <a:pt x="298492" y="226958"/>
                    <a:pt x="333009" y="216715"/>
                  </a:cubicBezTo>
                  <a:cubicBezTo>
                    <a:pt x="367525" y="206473"/>
                    <a:pt x="402462" y="195107"/>
                    <a:pt x="434967" y="176587"/>
                  </a:cubicBezTo>
                  <a:cubicBezTo>
                    <a:pt x="451336" y="167467"/>
                    <a:pt x="466676" y="156630"/>
                    <a:pt x="480754" y="144269"/>
                  </a:cubicBezTo>
                  <a:cubicBezTo>
                    <a:pt x="495066" y="132094"/>
                    <a:pt x="507881" y="118279"/>
                    <a:pt x="518965" y="103111"/>
                  </a:cubicBezTo>
                  <a:cubicBezTo>
                    <a:pt x="529909" y="87981"/>
                    <a:pt x="539451" y="71888"/>
                    <a:pt x="547495" y="55032"/>
                  </a:cubicBezTo>
                  <a:cubicBezTo>
                    <a:pt x="551003" y="46473"/>
                    <a:pt x="555914" y="38475"/>
                    <a:pt x="555633" y="28560"/>
                  </a:cubicBezTo>
                  <a:cubicBezTo>
                    <a:pt x="555165" y="23556"/>
                    <a:pt x="553669" y="18177"/>
                    <a:pt x="553388" y="1331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CD0D71F8-DC59-41A0-9057-11F691C0BC57}"/>
                </a:ext>
              </a:extLst>
            </p:cNvPr>
            <p:cNvSpPr/>
            <p:nvPr/>
          </p:nvSpPr>
          <p:spPr>
            <a:xfrm>
              <a:off x="8574354" y="5792283"/>
              <a:ext cx="551837" cy="565400"/>
            </a:xfrm>
            <a:custGeom>
              <a:avLst/>
              <a:gdLst>
                <a:gd name="connsiteX0" fmla="*/ 550348 w 551837"/>
                <a:gd name="connsiteY0" fmla="*/ -250 h 565400"/>
                <a:gd name="connsiteX1" fmla="*/ 541461 w 551837"/>
                <a:gd name="connsiteY1" fmla="*/ 9571 h 565400"/>
                <a:gd name="connsiteX2" fmla="*/ 528506 w 551837"/>
                <a:gd name="connsiteY2" fmla="*/ 16306 h 565400"/>
                <a:gd name="connsiteX3" fmla="*/ 510686 w 551837"/>
                <a:gd name="connsiteY3" fmla="*/ 33985 h 565400"/>
                <a:gd name="connsiteX4" fmla="*/ 493382 w 551837"/>
                <a:gd name="connsiteY4" fmla="*/ 51618 h 565400"/>
                <a:gd name="connsiteX5" fmla="*/ 474674 w 551837"/>
                <a:gd name="connsiteY5" fmla="*/ 67566 h 565400"/>
                <a:gd name="connsiteX6" fmla="*/ 385811 w 551837"/>
                <a:gd name="connsiteY6" fmla="*/ 112605 h 565400"/>
                <a:gd name="connsiteX7" fmla="*/ 286144 w 551837"/>
                <a:gd name="connsiteY7" fmla="*/ 143427 h 565400"/>
                <a:gd name="connsiteX8" fmla="*/ 189237 w 551837"/>
                <a:gd name="connsiteY8" fmla="*/ 190945 h 565400"/>
                <a:gd name="connsiteX9" fmla="*/ 116277 w 551837"/>
                <a:gd name="connsiteY9" fmla="*/ 271857 h 565400"/>
                <a:gd name="connsiteX10" fmla="*/ 75774 w 551837"/>
                <a:gd name="connsiteY10" fmla="*/ 371149 h 565400"/>
                <a:gd name="connsiteX11" fmla="*/ 44064 w 551837"/>
                <a:gd name="connsiteY11" fmla="*/ 469366 h 565400"/>
                <a:gd name="connsiteX12" fmla="*/ 21802 w 551837"/>
                <a:gd name="connsiteY12" fmla="*/ 513657 h 565400"/>
                <a:gd name="connsiteX13" fmla="*/ 14786 w 551837"/>
                <a:gd name="connsiteY13" fmla="*/ 523853 h 565400"/>
                <a:gd name="connsiteX14" fmla="*/ 6788 w 551837"/>
                <a:gd name="connsiteY14" fmla="*/ 544151 h 565400"/>
                <a:gd name="connsiteX15" fmla="*/ -1069 w 551837"/>
                <a:gd name="connsiteY15" fmla="*/ 565150 h 565400"/>
                <a:gd name="connsiteX16" fmla="*/ -1069 w 551837"/>
                <a:gd name="connsiteY16" fmla="*/ 565150 h 565400"/>
                <a:gd name="connsiteX17" fmla="*/ 18060 w 551837"/>
                <a:gd name="connsiteY17" fmla="*/ 552943 h 565400"/>
                <a:gd name="connsiteX18" fmla="*/ 36066 w 551837"/>
                <a:gd name="connsiteY18" fmla="*/ 538164 h 565400"/>
                <a:gd name="connsiteX19" fmla="*/ 49302 w 551837"/>
                <a:gd name="connsiteY19" fmla="*/ 518708 h 565400"/>
                <a:gd name="connsiteX20" fmla="*/ 49302 w 551837"/>
                <a:gd name="connsiteY20" fmla="*/ 518708 h 565400"/>
                <a:gd name="connsiteX21" fmla="*/ 68244 w 551837"/>
                <a:gd name="connsiteY21" fmla="*/ 479047 h 565400"/>
                <a:gd name="connsiteX22" fmla="*/ 100749 w 551837"/>
                <a:gd name="connsiteY22" fmla="*/ 378585 h 565400"/>
                <a:gd name="connsiteX23" fmla="*/ 138819 w 551837"/>
                <a:gd name="connsiteY23" fmla="*/ 285046 h 565400"/>
                <a:gd name="connsiteX24" fmla="*/ 204578 w 551837"/>
                <a:gd name="connsiteY24" fmla="*/ 212085 h 565400"/>
                <a:gd name="connsiteX25" fmla="*/ 294470 w 551837"/>
                <a:gd name="connsiteY25" fmla="*/ 168215 h 565400"/>
                <a:gd name="connsiteX26" fmla="*/ 394323 w 551837"/>
                <a:gd name="connsiteY26" fmla="*/ 137300 h 565400"/>
                <a:gd name="connsiteX27" fmla="*/ 490669 w 551837"/>
                <a:gd name="connsiteY27" fmla="*/ 88379 h 565400"/>
                <a:gd name="connsiteX28" fmla="*/ 511669 w 551837"/>
                <a:gd name="connsiteY28" fmla="*/ 70700 h 565400"/>
                <a:gd name="connsiteX29" fmla="*/ 530938 w 551837"/>
                <a:gd name="connsiteY29" fmla="*/ 51103 h 565400"/>
                <a:gd name="connsiteX30" fmla="*/ 544969 w 551837"/>
                <a:gd name="connsiteY30" fmla="*/ 27718 h 565400"/>
                <a:gd name="connsiteX31" fmla="*/ 546372 w 551837"/>
                <a:gd name="connsiteY31" fmla="*/ 12611 h 565400"/>
                <a:gd name="connsiteX32" fmla="*/ 550769 w 551837"/>
                <a:gd name="connsiteY32" fmla="*/ -16 h 56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51837" h="565400">
                  <a:moveTo>
                    <a:pt x="550348" y="-250"/>
                  </a:moveTo>
                  <a:cubicBezTo>
                    <a:pt x="547963" y="3491"/>
                    <a:pt x="544969" y="6812"/>
                    <a:pt x="541461" y="9571"/>
                  </a:cubicBezTo>
                  <a:cubicBezTo>
                    <a:pt x="537299" y="12064"/>
                    <a:pt x="532949" y="14314"/>
                    <a:pt x="528506" y="16306"/>
                  </a:cubicBezTo>
                  <a:cubicBezTo>
                    <a:pt x="520415" y="20983"/>
                    <a:pt x="516393" y="27952"/>
                    <a:pt x="510686" y="33985"/>
                  </a:cubicBezTo>
                  <a:cubicBezTo>
                    <a:pt x="505308" y="40248"/>
                    <a:pt x="499555" y="46141"/>
                    <a:pt x="493382" y="51618"/>
                  </a:cubicBezTo>
                  <a:cubicBezTo>
                    <a:pt x="487489" y="57342"/>
                    <a:pt x="481269" y="62669"/>
                    <a:pt x="474674" y="67566"/>
                  </a:cubicBezTo>
                  <a:cubicBezTo>
                    <a:pt x="447641" y="87205"/>
                    <a:pt x="417615" y="102410"/>
                    <a:pt x="385811" y="112605"/>
                  </a:cubicBezTo>
                  <a:cubicBezTo>
                    <a:pt x="353587" y="123783"/>
                    <a:pt x="319819" y="132108"/>
                    <a:pt x="286144" y="143427"/>
                  </a:cubicBezTo>
                  <a:cubicBezTo>
                    <a:pt x="251582" y="154184"/>
                    <a:pt x="218889" y="170212"/>
                    <a:pt x="189237" y="190945"/>
                  </a:cubicBezTo>
                  <a:cubicBezTo>
                    <a:pt x="159586" y="212567"/>
                    <a:pt x="134704" y="240119"/>
                    <a:pt x="116277" y="271857"/>
                  </a:cubicBezTo>
                  <a:cubicBezTo>
                    <a:pt x="97569" y="303379"/>
                    <a:pt x="85783" y="337334"/>
                    <a:pt x="75774" y="371149"/>
                  </a:cubicBezTo>
                  <a:cubicBezTo>
                    <a:pt x="65765" y="404964"/>
                    <a:pt x="56739" y="438077"/>
                    <a:pt x="44064" y="469366"/>
                  </a:cubicBezTo>
                  <a:cubicBezTo>
                    <a:pt x="37890" y="484720"/>
                    <a:pt x="30454" y="499532"/>
                    <a:pt x="21802" y="513657"/>
                  </a:cubicBezTo>
                  <a:lnTo>
                    <a:pt x="14786" y="523853"/>
                  </a:lnTo>
                  <a:cubicBezTo>
                    <a:pt x="10156" y="529675"/>
                    <a:pt x="7396" y="536742"/>
                    <a:pt x="6788" y="544151"/>
                  </a:cubicBezTo>
                  <a:cubicBezTo>
                    <a:pt x="6368" y="551783"/>
                    <a:pt x="3608" y="559108"/>
                    <a:pt x="-1069" y="565150"/>
                  </a:cubicBezTo>
                  <a:lnTo>
                    <a:pt x="-1069" y="565150"/>
                  </a:lnTo>
                  <a:cubicBezTo>
                    <a:pt x="4123" y="559449"/>
                    <a:pt x="10717" y="555235"/>
                    <a:pt x="18060" y="552943"/>
                  </a:cubicBezTo>
                  <a:cubicBezTo>
                    <a:pt x="25449" y="550039"/>
                    <a:pt x="31764" y="544866"/>
                    <a:pt x="36066" y="538164"/>
                  </a:cubicBezTo>
                  <a:cubicBezTo>
                    <a:pt x="40977" y="532051"/>
                    <a:pt x="45420" y="525541"/>
                    <a:pt x="49302" y="518708"/>
                  </a:cubicBezTo>
                  <a:lnTo>
                    <a:pt x="49302" y="518708"/>
                  </a:lnTo>
                  <a:cubicBezTo>
                    <a:pt x="56645" y="506000"/>
                    <a:pt x="62959" y="492737"/>
                    <a:pt x="68244" y="479047"/>
                  </a:cubicBezTo>
                  <a:cubicBezTo>
                    <a:pt x="81714" y="445747"/>
                    <a:pt x="90741" y="411605"/>
                    <a:pt x="100749" y="378585"/>
                  </a:cubicBezTo>
                  <a:cubicBezTo>
                    <a:pt x="110758" y="345566"/>
                    <a:pt x="121982" y="313575"/>
                    <a:pt x="138819" y="285046"/>
                  </a:cubicBezTo>
                  <a:cubicBezTo>
                    <a:pt x="155423" y="256427"/>
                    <a:pt x="177826" y="231578"/>
                    <a:pt x="204578" y="212085"/>
                  </a:cubicBezTo>
                  <a:cubicBezTo>
                    <a:pt x="232126" y="192928"/>
                    <a:pt x="262432" y="178135"/>
                    <a:pt x="294470" y="168215"/>
                  </a:cubicBezTo>
                  <a:cubicBezTo>
                    <a:pt x="326788" y="157317"/>
                    <a:pt x="360743" y="148946"/>
                    <a:pt x="394323" y="137300"/>
                  </a:cubicBezTo>
                  <a:cubicBezTo>
                    <a:pt x="428839" y="126234"/>
                    <a:pt x="461345" y="109715"/>
                    <a:pt x="490669" y="88379"/>
                  </a:cubicBezTo>
                  <a:cubicBezTo>
                    <a:pt x="498059" y="82963"/>
                    <a:pt x="505074" y="77056"/>
                    <a:pt x="511669" y="70700"/>
                  </a:cubicBezTo>
                  <a:cubicBezTo>
                    <a:pt x="518591" y="64699"/>
                    <a:pt x="525045" y="58147"/>
                    <a:pt x="530938" y="51103"/>
                  </a:cubicBezTo>
                  <a:cubicBezTo>
                    <a:pt x="536597" y="43947"/>
                    <a:pt x="543239" y="37353"/>
                    <a:pt x="544969" y="27718"/>
                  </a:cubicBezTo>
                  <a:cubicBezTo>
                    <a:pt x="545811" y="22760"/>
                    <a:pt x="545577" y="17288"/>
                    <a:pt x="546372" y="12611"/>
                  </a:cubicBezTo>
                  <a:cubicBezTo>
                    <a:pt x="547354" y="8248"/>
                    <a:pt x="548804" y="4011"/>
                    <a:pt x="550769" y="-1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ECED1C1E-3D89-46EE-9C4D-DDA31BC7C3A6}"/>
                </a:ext>
              </a:extLst>
            </p:cNvPr>
            <p:cNvSpPr/>
            <p:nvPr/>
          </p:nvSpPr>
          <p:spPr>
            <a:xfrm>
              <a:off x="8703953" y="5744952"/>
              <a:ext cx="558046" cy="629428"/>
            </a:xfrm>
            <a:custGeom>
              <a:avLst/>
              <a:gdLst>
                <a:gd name="connsiteX0" fmla="*/ 556849 w 558046"/>
                <a:gd name="connsiteY0" fmla="*/ 28981 h 629428"/>
                <a:gd name="connsiteX1" fmla="*/ 553668 w 558046"/>
                <a:gd name="connsiteY1" fmla="*/ 13781 h 629428"/>
                <a:gd name="connsiteX2" fmla="*/ 554791 w 558046"/>
                <a:gd name="connsiteY2" fmla="*/ -250 h 629428"/>
                <a:gd name="connsiteX3" fmla="*/ 554791 w 558046"/>
                <a:gd name="connsiteY3" fmla="*/ -250 h 629428"/>
                <a:gd name="connsiteX4" fmla="*/ 548197 w 558046"/>
                <a:gd name="connsiteY4" fmla="*/ 12050 h 629428"/>
                <a:gd name="connsiteX5" fmla="*/ 537299 w 558046"/>
                <a:gd name="connsiteY5" fmla="*/ 23135 h 629428"/>
                <a:gd name="connsiteX6" fmla="*/ 526729 w 558046"/>
                <a:gd name="connsiteY6" fmla="*/ 48297 h 629428"/>
                <a:gd name="connsiteX7" fmla="*/ 508535 w 558046"/>
                <a:gd name="connsiteY7" fmla="*/ 98434 h 629428"/>
                <a:gd name="connsiteX8" fmla="*/ 449933 w 558046"/>
                <a:gd name="connsiteY8" fmla="*/ 183696 h 629428"/>
                <a:gd name="connsiteX9" fmla="*/ 361398 w 558046"/>
                <a:gd name="connsiteY9" fmla="*/ 237855 h 629428"/>
                <a:gd name="connsiteX10" fmla="*/ 258036 w 558046"/>
                <a:gd name="connsiteY10" fmla="*/ 270874 h 629428"/>
                <a:gd name="connsiteX11" fmla="*/ 155143 w 558046"/>
                <a:gd name="connsiteY11" fmla="*/ 316241 h 629428"/>
                <a:gd name="connsiteX12" fmla="*/ 75634 w 558046"/>
                <a:gd name="connsiteY12" fmla="*/ 398229 h 629428"/>
                <a:gd name="connsiteX13" fmla="*/ 32091 w 558046"/>
                <a:gd name="connsiteY13" fmla="*/ 501964 h 629428"/>
                <a:gd name="connsiteX14" fmla="*/ 11045 w 558046"/>
                <a:gd name="connsiteY14" fmla="*/ 570997 h 629428"/>
                <a:gd name="connsiteX15" fmla="*/ 5292 w 558046"/>
                <a:gd name="connsiteY15" fmla="*/ 585402 h 629428"/>
                <a:gd name="connsiteX16" fmla="*/ 1971 w 558046"/>
                <a:gd name="connsiteY16" fmla="*/ 606963 h 629428"/>
                <a:gd name="connsiteX17" fmla="*/ -1069 w 558046"/>
                <a:gd name="connsiteY17" fmla="*/ 629178 h 629428"/>
                <a:gd name="connsiteX18" fmla="*/ -1069 w 558046"/>
                <a:gd name="connsiteY18" fmla="*/ 629178 h 629428"/>
                <a:gd name="connsiteX19" fmla="*/ 14927 w 558046"/>
                <a:gd name="connsiteY19" fmla="*/ 613043 h 629428"/>
                <a:gd name="connsiteX20" fmla="*/ 29940 w 558046"/>
                <a:gd name="connsiteY20" fmla="*/ 595317 h 629428"/>
                <a:gd name="connsiteX21" fmla="*/ 31203 w 558046"/>
                <a:gd name="connsiteY21" fmla="*/ 592417 h 629428"/>
                <a:gd name="connsiteX22" fmla="*/ 31203 w 558046"/>
                <a:gd name="connsiteY22" fmla="*/ 592417 h 629428"/>
                <a:gd name="connsiteX23" fmla="*/ 31530 w 558046"/>
                <a:gd name="connsiteY23" fmla="*/ 591435 h 629428"/>
                <a:gd name="connsiteX24" fmla="*/ 37563 w 558046"/>
                <a:gd name="connsiteY24" fmla="*/ 573429 h 629428"/>
                <a:gd name="connsiteX25" fmla="*/ 56926 w 558046"/>
                <a:gd name="connsiteY25" fmla="*/ 509494 h 629428"/>
                <a:gd name="connsiteX26" fmla="*/ 97709 w 558046"/>
                <a:gd name="connsiteY26" fmla="*/ 411839 h 629428"/>
                <a:gd name="connsiteX27" fmla="*/ 169361 w 558046"/>
                <a:gd name="connsiteY27" fmla="*/ 337942 h 629428"/>
                <a:gd name="connsiteX28" fmla="*/ 266034 w 558046"/>
                <a:gd name="connsiteY28" fmla="*/ 295850 h 629428"/>
                <a:gd name="connsiteX29" fmla="*/ 371172 w 558046"/>
                <a:gd name="connsiteY29" fmla="*/ 262269 h 629428"/>
                <a:gd name="connsiteX30" fmla="*/ 468033 w 558046"/>
                <a:gd name="connsiteY30" fmla="*/ 202778 h 629428"/>
                <a:gd name="connsiteX31" fmla="*/ 532435 w 558046"/>
                <a:gd name="connsiteY31" fmla="*/ 108864 h 629428"/>
                <a:gd name="connsiteX32" fmla="*/ 551797 w 558046"/>
                <a:gd name="connsiteY32" fmla="*/ 56248 h 629428"/>
                <a:gd name="connsiteX33" fmla="*/ 556849 w 558046"/>
                <a:gd name="connsiteY33" fmla="*/ 28981 h 629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558046" h="629428">
                  <a:moveTo>
                    <a:pt x="556849" y="28981"/>
                  </a:moveTo>
                  <a:cubicBezTo>
                    <a:pt x="556288" y="24070"/>
                    <a:pt x="554323" y="18738"/>
                    <a:pt x="553668" y="13781"/>
                  </a:cubicBezTo>
                  <a:cubicBezTo>
                    <a:pt x="553341" y="9076"/>
                    <a:pt x="553715" y="4343"/>
                    <a:pt x="554791" y="-250"/>
                  </a:cubicBezTo>
                  <a:lnTo>
                    <a:pt x="554791" y="-250"/>
                  </a:lnTo>
                  <a:cubicBezTo>
                    <a:pt x="553201" y="4151"/>
                    <a:pt x="551003" y="8294"/>
                    <a:pt x="548197" y="12050"/>
                  </a:cubicBezTo>
                  <a:cubicBezTo>
                    <a:pt x="544969" y="15885"/>
                    <a:pt x="540433" y="19300"/>
                    <a:pt x="537299" y="23135"/>
                  </a:cubicBezTo>
                  <a:cubicBezTo>
                    <a:pt x="531265" y="30805"/>
                    <a:pt x="529956" y="39878"/>
                    <a:pt x="526729" y="48297"/>
                  </a:cubicBezTo>
                  <a:cubicBezTo>
                    <a:pt x="521631" y="65340"/>
                    <a:pt x="515551" y="82079"/>
                    <a:pt x="508535" y="98434"/>
                  </a:cubicBezTo>
                  <a:cubicBezTo>
                    <a:pt x="495159" y="130631"/>
                    <a:pt x="475188" y="159674"/>
                    <a:pt x="449933" y="183696"/>
                  </a:cubicBezTo>
                  <a:cubicBezTo>
                    <a:pt x="424210" y="207309"/>
                    <a:pt x="394136" y="225704"/>
                    <a:pt x="361398" y="237855"/>
                  </a:cubicBezTo>
                  <a:cubicBezTo>
                    <a:pt x="328659" y="250997"/>
                    <a:pt x="293301" y="259790"/>
                    <a:pt x="258036" y="270874"/>
                  </a:cubicBezTo>
                  <a:cubicBezTo>
                    <a:pt x="222772" y="281959"/>
                    <a:pt x="187086" y="295288"/>
                    <a:pt x="155143" y="316241"/>
                  </a:cubicBezTo>
                  <a:cubicBezTo>
                    <a:pt x="122965" y="337442"/>
                    <a:pt x="95838" y="365429"/>
                    <a:pt x="75634" y="398229"/>
                  </a:cubicBezTo>
                  <a:cubicBezTo>
                    <a:pt x="55476" y="430968"/>
                    <a:pt x="42895" y="466793"/>
                    <a:pt x="32091" y="501964"/>
                  </a:cubicBezTo>
                  <a:cubicBezTo>
                    <a:pt x="24982" y="525349"/>
                    <a:pt x="18481" y="548500"/>
                    <a:pt x="11045" y="570997"/>
                  </a:cubicBezTo>
                  <a:lnTo>
                    <a:pt x="5292" y="585402"/>
                  </a:lnTo>
                  <a:cubicBezTo>
                    <a:pt x="2065" y="592099"/>
                    <a:pt x="896" y="599606"/>
                    <a:pt x="1971" y="606963"/>
                  </a:cubicBezTo>
                  <a:cubicBezTo>
                    <a:pt x="3234" y="614507"/>
                    <a:pt x="2205" y="622256"/>
                    <a:pt x="-1069" y="629178"/>
                  </a:cubicBezTo>
                  <a:lnTo>
                    <a:pt x="-1069" y="629178"/>
                  </a:lnTo>
                  <a:cubicBezTo>
                    <a:pt x="2720" y="622481"/>
                    <a:pt x="8285" y="616910"/>
                    <a:pt x="14927" y="613043"/>
                  </a:cubicBezTo>
                  <a:cubicBezTo>
                    <a:pt x="21661" y="608838"/>
                    <a:pt x="26900" y="602646"/>
                    <a:pt x="29940" y="595317"/>
                  </a:cubicBezTo>
                  <a:cubicBezTo>
                    <a:pt x="30407" y="594335"/>
                    <a:pt x="30782" y="593353"/>
                    <a:pt x="31203" y="592417"/>
                  </a:cubicBezTo>
                  <a:lnTo>
                    <a:pt x="31203" y="592417"/>
                  </a:lnTo>
                  <a:cubicBezTo>
                    <a:pt x="31296" y="592085"/>
                    <a:pt x="31390" y="591753"/>
                    <a:pt x="31530" y="591435"/>
                  </a:cubicBezTo>
                  <a:cubicBezTo>
                    <a:pt x="33868" y="585542"/>
                    <a:pt x="35880" y="579532"/>
                    <a:pt x="37563" y="573429"/>
                  </a:cubicBezTo>
                  <a:cubicBezTo>
                    <a:pt x="44485" y="551961"/>
                    <a:pt x="50519" y="530494"/>
                    <a:pt x="56926" y="509494"/>
                  </a:cubicBezTo>
                  <a:cubicBezTo>
                    <a:pt x="67262" y="474884"/>
                    <a:pt x="79422" y="441444"/>
                    <a:pt x="97709" y="411839"/>
                  </a:cubicBezTo>
                  <a:cubicBezTo>
                    <a:pt x="115903" y="382276"/>
                    <a:pt x="140363" y="357053"/>
                    <a:pt x="169361" y="337942"/>
                  </a:cubicBezTo>
                  <a:cubicBezTo>
                    <a:pt x="198498" y="318954"/>
                    <a:pt x="231705" y="306326"/>
                    <a:pt x="266034" y="295850"/>
                  </a:cubicBezTo>
                  <a:cubicBezTo>
                    <a:pt x="300363" y="285373"/>
                    <a:pt x="336189" y="276159"/>
                    <a:pt x="371172" y="262269"/>
                  </a:cubicBezTo>
                  <a:cubicBezTo>
                    <a:pt x="406998" y="248837"/>
                    <a:pt x="439877" y="228641"/>
                    <a:pt x="468033" y="202778"/>
                  </a:cubicBezTo>
                  <a:cubicBezTo>
                    <a:pt x="495861" y="176343"/>
                    <a:pt x="517796" y="144348"/>
                    <a:pt x="532435" y="108864"/>
                  </a:cubicBezTo>
                  <a:cubicBezTo>
                    <a:pt x="539965" y="91559"/>
                    <a:pt x="546092" y="73833"/>
                    <a:pt x="551797" y="56248"/>
                  </a:cubicBezTo>
                  <a:cubicBezTo>
                    <a:pt x="553809" y="47361"/>
                    <a:pt x="557737" y="38802"/>
                    <a:pt x="556849" y="28981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84217E2-23E3-4FA8-9EB6-9B205C7A2857}"/>
                </a:ext>
              </a:extLst>
            </p:cNvPr>
            <p:cNvSpPr/>
            <p:nvPr/>
          </p:nvSpPr>
          <p:spPr>
            <a:xfrm>
              <a:off x="8763632" y="5725823"/>
              <a:ext cx="560162" cy="649913"/>
            </a:xfrm>
            <a:custGeom>
              <a:avLst/>
              <a:gdLst>
                <a:gd name="connsiteX0" fmla="*/ 559094 w 560162"/>
                <a:gd name="connsiteY0" fmla="*/ -250 h 649913"/>
                <a:gd name="connsiteX1" fmla="*/ 559094 w 560162"/>
                <a:gd name="connsiteY1" fmla="*/ -250 h 649913"/>
                <a:gd name="connsiteX2" fmla="*/ 551189 w 560162"/>
                <a:gd name="connsiteY2" fmla="*/ 11770 h 649913"/>
                <a:gd name="connsiteX3" fmla="*/ 539497 w 560162"/>
                <a:gd name="connsiteY3" fmla="*/ 22620 h 649913"/>
                <a:gd name="connsiteX4" fmla="*/ 532856 w 560162"/>
                <a:gd name="connsiteY4" fmla="*/ 35388 h 649913"/>
                <a:gd name="connsiteX5" fmla="*/ 528179 w 560162"/>
                <a:gd name="connsiteY5" fmla="*/ 48858 h 649913"/>
                <a:gd name="connsiteX6" fmla="*/ 512090 w 560162"/>
                <a:gd name="connsiteY6" fmla="*/ 102503 h 649913"/>
                <a:gd name="connsiteX7" fmla="*/ 469436 w 560162"/>
                <a:gd name="connsiteY7" fmla="*/ 201796 h 649913"/>
                <a:gd name="connsiteX8" fmla="*/ 394090 w 560162"/>
                <a:gd name="connsiteY8" fmla="*/ 275318 h 649913"/>
                <a:gd name="connsiteX9" fmla="*/ 294142 w 560162"/>
                <a:gd name="connsiteY9" fmla="*/ 316896 h 649913"/>
                <a:gd name="connsiteX10" fmla="*/ 186572 w 560162"/>
                <a:gd name="connsiteY10" fmla="*/ 352488 h 649913"/>
                <a:gd name="connsiteX11" fmla="*/ 90413 w 560162"/>
                <a:gd name="connsiteY11" fmla="*/ 418200 h 649913"/>
                <a:gd name="connsiteX12" fmla="*/ 30314 w 560162"/>
                <a:gd name="connsiteY12" fmla="*/ 517679 h 649913"/>
                <a:gd name="connsiteX13" fmla="*/ 4965 w 560162"/>
                <a:gd name="connsiteY13" fmla="*/ 596861 h 649913"/>
                <a:gd name="connsiteX14" fmla="*/ 4965 w 560162"/>
                <a:gd name="connsiteY14" fmla="*/ 596861 h 649913"/>
                <a:gd name="connsiteX15" fmla="*/ 2158 w 560162"/>
                <a:gd name="connsiteY15" fmla="*/ 605560 h 649913"/>
                <a:gd name="connsiteX16" fmla="*/ 381 w 560162"/>
                <a:gd name="connsiteY16" fmla="*/ 627307 h 649913"/>
                <a:gd name="connsiteX17" fmla="*/ -1069 w 560162"/>
                <a:gd name="connsiteY17" fmla="*/ 649664 h 649913"/>
                <a:gd name="connsiteX18" fmla="*/ -1069 w 560162"/>
                <a:gd name="connsiteY18" fmla="*/ 649664 h 649913"/>
                <a:gd name="connsiteX19" fmla="*/ 13711 w 560162"/>
                <a:gd name="connsiteY19" fmla="*/ 632452 h 649913"/>
                <a:gd name="connsiteX20" fmla="*/ 26712 w 560162"/>
                <a:gd name="connsiteY20" fmla="*/ 613090 h 649913"/>
                <a:gd name="connsiteX21" fmla="*/ 33494 w 560162"/>
                <a:gd name="connsiteY21" fmla="*/ 591669 h 649913"/>
                <a:gd name="connsiteX22" fmla="*/ 54494 w 560162"/>
                <a:gd name="connsiteY22" fmla="*/ 527033 h 649913"/>
                <a:gd name="connsiteX23" fmla="*/ 109448 w 560162"/>
                <a:gd name="connsiteY23" fmla="*/ 435972 h 649913"/>
                <a:gd name="connsiteX24" fmla="*/ 196908 w 560162"/>
                <a:gd name="connsiteY24" fmla="*/ 376387 h 649913"/>
                <a:gd name="connsiteX25" fmla="*/ 301813 w 560162"/>
                <a:gd name="connsiteY25" fmla="*/ 341824 h 649913"/>
                <a:gd name="connsiteX26" fmla="*/ 407933 w 560162"/>
                <a:gd name="connsiteY26" fmla="*/ 297440 h 649913"/>
                <a:gd name="connsiteX27" fmla="*/ 491464 w 560162"/>
                <a:gd name="connsiteY27" fmla="*/ 215826 h 649913"/>
                <a:gd name="connsiteX28" fmla="*/ 536925 w 560162"/>
                <a:gd name="connsiteY28" fmla="*/ 110033 h 649913"/>
                <a:gd name="connsiteX29" fmla="*/ 552873 w 560162"/>
                <a:gd name="connsiteY29" fmla="*/ 56341 h 649913"/>
                <a:gd name="connsiteX30" fmla="*/ 559047 w 560162"/>
                <a:gd name="connsiteY30" fmla="*/ 29308 h 649913"/>
                <a:gd name="connsiteX31" fmla="*/ 556802 w 560162"/>
                <a:gd name="connsiteY31" fmla="*/ 13828 h 649913"/>
                <a:gd name="connsiteX32" fmla="*/ 559094 w 560162"/>
                <a:gd name="connsiteY32" fmla="*/ -250 h 649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60162" h="649913">
                  <a:moveTo>
                    <a:pt x="559094" y="-250"/>
                  </a:moveTo>
                  <a:lnTo>
                    <a:pt x="559094" y="-250"/>
                  </a:lnTo>
                  <a:cubicBezTo>
                    <a:pt x="557082" y="4137"/>
                    <a:pt x="554417" y="8192"/>
                    <a:pt x="551189" y="11770"/>
                  </a:cubicBezTo>
                  <a:cubicBezTo>
                    <a:pt x="547542" y="15418"/>
                    <a:pt x="542724" y="18692"/>
                    <a:pt x="539497" y="22620"/>
                  </a:cubicBezTo>
                  <a:cubicBezTo>
                    <a:pt x="536457" y="26395"/>
                    <a:pt x="534212" y="30735"/>
                    <a:pt x="532856" y="35388"/>
                  </a:cubicBezTo>
                  <a:lnTo>
                    <a:pt x="528179" y="48858"/>
                  </a:lnTo>
                  <a:lnTo>
                    <a:pt x="512090" y="102503"/>
                  </a:lnTo>
                  <a:cubicBezTo>
                    <a:pt x="501426" y="137814"/>
                    <a:pt x="488705" y="171863"/>
                    <a:pt x="469436" y="201796"/>
                  </a:cubicBezTo>
                  <a:cubicBezTo>
                    <a:pt x="450167" y="231672"/>
                    <a:pt x="424443" y="256806"/>
                    <a:pt x="394090" y="275318"/>
                  </a:cubicBezTo>
                  <a:cubicBezTo>
                    <a:pt x="363830" y="294026"/>
                    <a:pt x="329547" y="306279"/>
                    <a:pt x="294142" y="316896"/>
                  </a:cubicBezTo>
                  <a:cubicBezTo>
                    <a:pt x="258738" y="327513"/>
                    <a:pt x="222023" y="337288"/>
                    <a:pt x="186572" y="352488"/>
                  </a:cubicBezTo>
                  <a:cubicBezTo>
                    <a:pt x="150232" y="367370"/>
                    <a:pt x="117493" y="389764"/>
                    <a:pt x="90413" y="418200"/>
                  </a:cubicBezTo>
                  <a:cubicBezTo>
                    <a:pt x="63988" y="447061"/>
                    <a:pt x="43597" y="480876"/>
                    <a:pt x="30314" y="517679"/>
                  </a:cubicBezTo>
                  <a:cubicBezTo>
                    <a:pt x="20212" y="544010"/>
                    <a:pt x="12681" y="570669"/>
                    <a:pt x="4965" y="596861"/>
                  </a:cubicBezTo>
                  <a:lnTo>
                    <a:pt x="4965" y="596861"/>
                  </a:lnTo>
                  <a:lnTo>
                    <a:pt x="2158" y="605560"/>
                  </a:lnTo>
                  <a:cubicBezTo>
                    <a:pt x="-554" y="612477"/>
                    <a:pt x="-1162" y="620040"/>
                    <a:pt x="381" y="627307"/>
                  </a:cubicBezTo>
                  <a:cubicBezTo>
                    <a:pt x="2158" y="634735"/>
                    <a:pt x="1691" y="642531"/>
                    <a:pt x="-1069" y="649664"/>
                  </a:cubicBezTo>
                  <a:lnTo>
                    <a:pt x="-1069" y="649664"/>
                  </a:lnTo>
                  <a:cubicBezTo>
                    <a:pt x="2252" y="642732"/>
                    <a:pt x="7350" y="636792"/>
                    <a:pt x="13711" y="632452"/>
                  </a:cubicBezTo>
                  <a:cubicBezTo>
                    <a:pt x="19978" y="627546"/>
                    <a:pt x="24561" y="620764"/>
                    <a:pt x="26712" y="613090"/>
                  </a:cubicBezTo>
                  <a:cubicBezTo>
                    <a:pt x="29519" y="606125"/>
                    <a:pt x="31764" y="598970"/>
                    <a:pt x="33494" y="591669"/>
                  </a:cubicBezTo>
                  <a:cubicBezTo>
                    <a:pt x="39949" y="569640"/>
                    <a:pt x="46450" y="547892"/>
                    <a:pt x="54494" y="527033"/>
                  </a:cubicBezTo>
                  <a:cubicBezTo>
                    <a:pt x="66607" y="493335"/>
                    <a:pt x="85268" y="462378"/>
                    <a:pt x="109448" y="435972"/>
                  </a:cubicBezTo>
                  <a:cubicBezTo>
                    <a:pt x="134049" y="410155"/>
                    <a:pt x="163889" y="389848"/>
                    <a:pt x="196908" y="376387"/>
                  </a:cubicBezTo>
                  <a:cubicBezTo>
                    <a:pt x="230115" y="362356"/>
                    <a:pt x="265800" y="352628"/>
                    <a:pt x="301813" y="341824"/>
                  </a:cubicBezTo>
                  <a:cubicBezTo>
                    <a:pt x="337825" y="331021"/>
                    <a:pt x="374540" y="318019"/>
                    <a:pt x="407933" y="297440"/>
                  </a:cubicBezTo>
                  <a:cubicBezTo>
                    <a:pt x="441561" y="276889"/>
                    <a:pt x="470137" y="248986"/>
                    <a:pt x="491464" y="215826"/>
                  </a:cubicBezTo>
                  <a:cubicBezTo>
                    <a:pt x="512557" y="182667"/>
                    <a:pt x="526074" y="146046"/>
                    <a:pt x="536925" y="110033"/>
                  </a:cubicBezTo>
                  <a:lnTo>
                    <a:pt x="552873" y="56341"/>
                  </a:lnTo>
                  <a:cubicBezTo>
                    <a:pt x="555072" y="47315"/>
                    <a:pt x="559187" y="39037"/>
                    <a:pt x="559047" y="29308"/>
                  </a:cubicBezTo>
                  <a:cubicBezTo>
                    <a:pt x="559047" y="24631"/>
                    <a:pt x="556989" y="18832"/>
                    <a:pt x="556802" y="13828"/>
                  </a:cubicBezTo>
                  <a:cubicBezTo>
                    <a:pt x="556802" y="9043"/>
                    <a:pt x="557597" y="4291"/>
                    <a:pt x="559094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36AA75D4-0F15-444B-9585-F39BEE5147BF}"/>
                </a:ext>
              </a:extLst>
            </p:cNvPr>
            <p:cNvSpPr/>
            <p:nvPr/>
          </p:nvSpPr>
          <p:spPr>
            <a:xfrm>
              <a:off x="8820849" y="5711559"/>
              <a:ext cx="576139" cy="663710"/>
            </a:xfrm>
            <a:custGeom>
              <a:avLst/>
              <a:gdLst>
                <a:gd name="connsiteX0" fmla="*/ 575071 w 576139"/>
                <a:gd name="connsiteY0" fmla="*/ -250 h 663710"/>
                <a:gd name="connsiteX1" fmla="*/ 575071 w 576139"/>
                <a:gd name="connsiteY1" fmla="*/ -250 h 663710"/>
                <a:gd name="connsiteX2" fmla="*/ 564735 w 576139"/>
                <a:gd name="connsiteY2" fmla="*/ 10226 h 663710"/>
                <a:gd name="connsiteX3" fmla="*/ 550938 w 576139"/>
                <a:gd name="connsiteY3" fmla="*/ 19159 h 663710"/>
                <a:gd name="connsiteX4" fmla="*/ 535878 w 576139"/>
                <a:gd name="connsiteY4" fmla="*/ 44789 h 663710"/>
                <a:gd name="connsiteX5" fmla="*/ 515767 w 576139"/>
                <a:gd name="connsiteY5" fmla="*/ 99837 h 663710"/>
                <a:gd name="connsiteX6" fmla="*/ 481017 w 576139"/>
                <a:gd name="connsiteY6" fmla="*/ 207829 h 663710"/>
                <a:gd name="connsiteX7" fmla="*/ 330465 w 576139"/>
                <a:gd name="connsiteY7" fmla="*/ 356697 h 663710"/>
                <a:gd name="connsiteX8" fmla="*/ 222286 w 576139"/>
                <a:gd name="connsiteY8" fmla="*/ 391260 h 663710"/>
                <a:gd name="connsiteX9" fmla="*/ 167238 w 576139"/>
                <a:gd name="connsiteY9" fmla="*/ 411558 h 663710"/>
                <a:gd name="connsiteX10" fmla="*/ 115323 w 576139"/>
                <a:gd name="connsiteY10" fmla="*/ 441117 h 663710"/>
                <a:gd name="connsiteX11" fmla="*/ 103163 w 576139"/>
                <a:gd name="connsiteY11" fmla="*/ 450003 h 663710"/>
                <a:gd name="connsiteX12" fmla="*/ 91892 w 576139"/>
                <a:gd name="connsiteY12" fmla="*/ 459965 h 663710"/>
                <a:gd name="connsiteX13" fmla="*/ 80760 w 576139"/>
                <a:gd name="connsiteY13" fmla="*/ 470114 h 663710"/>
                <a:gd name="connsiteX14" fmla="*/ 70518 w 576139"/>
                <a:gd name="connsiteY14" fmla="*/ 481152 h 663710"/>
                <a:gd name="connsiteX15" fmla="*/ 36142 w 576139"/>
                <a:gd name="connsiteY15" fmla="*/ 530354 h 663710"/>
                <a:gd name="connsiteX16" fmla="*/ 6210 w 576139"/>
                <a:gd name="connsiteY16" fmla="*/ 602192 h 663710"/>
                <a:gd name="connsiteX17" fmla="*/ 6210 w 576139"/>
                <a:gd name="connsiteY17" fmla="*/ 602192 h 663710"/>
                <a:gd name="connsiteX18" fmla="*/ 6210 w 576139"/>
                <a:gd name="connsiteY18" fmla="*/ 602473 h 663710"/>
                <a:gd name="connsiteX19" fmla="*/ 1533 w 576139"/>
                <a:gd name="connsiteY19" fmla="*/ 617813 h 663710"/>
                <a:gd name="connsiteX20" fmla="*/ 1533 w 576139"/>
                <a:gd name="connsiteY20" fmla="*/ 617813 h 663710"/>
                <a:gd name="connsiteX21" fmla="*/ 1111 w 576139"/>
                <a:gd name="connsiteY21" fmla="*/ 619029 h 663710"/>
                <a:gd name="connsiteX22" fmla="*/ 36 w 576139"/>
                <a:gd name="connsiteY22" fmla="*/ 641105 h 663710"/>
                <a:gd name="connsiteX23" fmla="*/ -993 w 576139"/>
                <a:gd name="connsiteY23" fmla="*/ 663461 h 663710"/>
                <a:gd name="connsiteX24" fmla="*/ -993 w 576139"/>
                <a:gd name="connsiteY24" fmla="*/ 663461 h 663710"/>
                <a:gd name="connsiteX25" fmla="*/ 13459 w 576139"/>
                <a:gd name="connsiteY25" fmla="*/ 645922 h 663710"/>
                <a:gd name="connsiteX26" fmla="*/ 25198 w 576139"/>
                <a:gd name="connsiteY26" fmla="*/ 628898 h 663710"/>
                <a:gd name="connsiteX27" fmla="*/ 25198 w 576139"/>
                <a:gd name="connsiteY27" fmla="*/ 628898 h 663710"/>
                <a:gd name="connsiteX28" fmla="*/ 26320 w 576139"/>
                <a:gd name="connsiteY28" fmla="*/ 625296 h 663710"/>
                <a:gd name="connsiteX29" fmla="*/ 30997 w 576139"/>
                <a:gd name="connsiteY29" fmla="*/ 610611 h 663710"/>
                <a:gd name="connsiteX30" fmla="*/ 59059 w 576139"/>
                <a:gd name="connsiteY30" fmla="*/ 542748 h 663710"/>
                <a:gd name="connsiteX31" fmla="*/ 90114 w 576139"/>
                <a:gd name="connsiteY31" fmla="*/ 498223 h 663710"/>
                <a:gd name="connsiteX32" fmla="*/ 99468 w 576139"/>
                <a:gd name="connsiteY32" fmla="*/ 488308 h 663710"/>
                <a:gd name="connsiteX33" fmla="*/ 109477 w 576139"/>
                <a:gd name="connsiteY33" fmla="*/ 479187 h 663710"/>
                <a:gd name="connsiteX34" fmla="*/ 119626 w 576139"/>
                <a:gd name="connsiteY34" fmla="*/ 470208 h 663710"/>
                <a:gd name="connsiteX35" fmla="*/ 130617 w 576139"/>
                <a:gd name="connsiteY35" fmla="*/ 462210 h 663710"/>
                <a:gd name="connsiteX36" fmla="*/ 178042 w 576139"/>
                <a:gd name="connsiteY36" fmla="*/ 435224 h 663710"/>
                <a:gd name="connsiteX37" fmla="*/ 230377 w 576139"/>
                <a:gd name="connsiteY37" fmla="*/ 415955 h 663710"/>
                <a:gd name="connsiteX38" fmla="*/ 340239 w 576139"/>
                <a:gd name="connsiteY38" fmla="*/ 380784 h 663710"/>
                <a:gd name="connsiteX39" fmla="*/ 440935 w 576139"/>
                <a:gd name="connsiteY39" fmla="*/ 317551 h 663710"/>
                <a:gd name="connsiteX40" fmla="*/ 505150 w 576139"/>
                <a:gd name="connsiteY40" fmla="*/ 217463 h 663710"/>
                <a:gd name="connsiteX41" fmla="*/ 540368 w 576139"/>
                <a:gd name="connsiteY41" fmla="*/ 107461 h 663710"/>
                <a:gd name="connsiteX42" fmla="*/ 559543 w 576139"/>
                <a:gd name="connsiteY42" fmla="*/ 55032 h 663710"/>
                <a:gd name="connsiteX43" fmla="*/ 565016 w 576139"/>
                <a:gd name="connsiteY43" fmla="*/ 42357 h 663710"/>
                <a:gd name="connsiteX44" fmla="*/ 569693 w 576139"/>
                <a:gd name="connsiteY44" fmla="*/ 29262 h 663710"/>
                <a:gd name="connsiteX45" fmla="*/ 569693 w 576139"/>
                <a:gd name="connsiteY45" fmla="*/ 21404 h 663710"/>
                <a:gd name="connsiteX46" fmla="*/ 570113 w 576139"/>
                <a:gd name="connsiteY46" fmla="*/ 13500 h 663710"/>
                <a:gd name="connsiteX47" fmla="*/ 575071 w 576139"/>
                <a:gd name="connsiteY47" fmla="*/ -250 h 663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76139" h="663710">
                  <a:moveTo>
                    <a:pt x="575071" y="-250"/>
                  </a:moveTo>
                  <a:lnTo>
                    <a:pt x="575071" y="-250"/>
                  </a:lnTo>
                  <a:cubicBezTo>
                    <a:pt x="572218" y="3777"/>
                    <a:pt x="568710" y="7317"/>
                    <a:pt x="564735" y="10226"/>
                  </a:cubicBezTo>
                  <a:cubicBezTo>
                    <a:pt x="559824" y="12700"/>
                    <a:pt x="555194" y="15698"/>
                    <a:pt x="550938" y="19159"/>
                  </a:cubicBezTo>
                  <a:cubicBezTo>
                    <a:pt x="543221" y="26268"/>
                    <a:pt x="540321" y="35996"/>
                    <a:pt x="535878" y="44789"/>
                  </a:cubicBezTo>
                  <a:cubicBezTo>
                    <a:pt x="528255" y="62781"/>
                    <a:pt x="521519" y="81157"/>
                    <a:pt x="515767" y="99837"/>
                  </a:cubicBezTo>
                  <a:cubicBezTo>
                    <a:pt x="504262" y="136739"/>
                    <a:pt x="494767" y="173453"/>
                    <a:pt x="481017" y="207829"/>
                  </a:cubicBezTo>
                  <a:cubicBezTo>
                    <a:pt x="455621" y="277465"/>
                    <a:pt x="400385" y="332082"/>
                    <a:pt x="330465" y="356697"/>
                  </a:cubicBezTo>
                  <a:cubicBezTo>
                    <a:pt x="296136" y="370494"/>
                    <a:pt x="259141" y="379474"/>
                    <a:pt x="222286" y="391260"/>
                  </a:cubicBezTo>
                  <a:cubicBezTo>
                    <a:pt x="203578" y="397064"/>
                    <a:pt x="185244" y="403836"/>
                    <a:pt x="167238" y="411558"/>
                  </a:cubicBezTo>
                  <a:cubicBezTo>
                    <a:pt x="148997" y="419710"/>
                    <a:pt x="131646" y="429607"/>
                    <a:pt x="115323" y="441117"/>
                  </a:cubicBezTo>
                  <a:lnTo>
                    <a:pt x="103163" y="450003"/>
                  </a:lnTo>
                  <a:cubicBezTo>
                    <a:pt x="99235" y="453090"/>
                    <a:pt x="95633" y="456644"/>
                    <a:pt x="91892" y="459965"/>
                  </a:cubicBezTo>
                  <a:cubicBezTo>
                    <a:pt x="88150" y="463286"/>
                    <a:pt x="84362" y="466606"/>
                    <a:pt x="80760" y="470114"/>
                  </a:cubicBezTo>
                  <a:cubicBezTo>
                    <a:pt x="77159" y="473622"/>
                    <a:pt x="73745" y="477317"/>
                    <a:pt x="70518" y="481152"/>
                  </a:cubicBezTo>
                  <a:cubicBezTo>
                    <a:pt x="57329" y="496259"/>
                    <a:pt x="45777" y="512754"/>
                    <a:pt x="36142" y="530354"/>
                  </a:cubicBezTo>
                  <a:cubicBezTo>
                    <a:pt x="23982" y="553327"/>
                    <a:pt x="13973" y="577376"/>
                    <a:pt x="6210" y="602192"/>
                  </a:cubicBezTo>
                  <a:lnTo>
                    <a:pt x="6210" y="602192"/>
                  </a:lnTo>
                  <a:lnTo>
                    <a:pt x="6210" y="602473"/>
                  </a:lnTo>
                  <a:cubicBezTo>
                    <a:pt x="4526" y="607571"/>
                    <a:pt x="2889" y="612715"/>
                    <a:pt x="1533" y="617813"/>
                  </a:cubicBezTo>
                  <a:lnTo>
                    <a:pt x="1533" y="617813"/>
                  </a:lnTo>
                  <a:lnTo>
                    <a:pt x="1111" y="619029"/>
                  </a:lnTo>
                  <a:cubicBezTo>
                    <a:pt x="-1367" y="626129"/>
                    <a:pt x="-1742" y="633799"/>
                    <a:pt x="36" y="641105"/>
                  </a:cubicBezTo>
                  <a:cubicBezTo>
                    <a:pt x="2000" y="648485"/>
                    <a:pt x="1626" y="656286"/>
                    <a:pt x="-993" y="663461"/>
                  </a:cubicBezTo>
                  <a:lnTo>
                    <a:pt x="-993" y="663461"/>
                  </a:lnTo>
                  <a:cubicBezTo>
                    <a:pt x="2187" y="656450"/>
                    <a:pt x="7192" y="650402"/>
                    <a:pt x="13459" y="645922"/>
                  </a:cubicBezTo>
                  <a:cubicBezTo>
                    <a:pt x="18931" y="641521"/>
                    <a:pt x="23047" y="635600"/>
                    <a:pt x="25198" y="628898"/>
                  </a:cubicBezTo>
                  <a:lnTo>
                    <a:pt x="25198" y="628898"/>
                  </a:lnTo>
                  <a:lnTo>
                    <a:pt x="26320" y="625296"/>
                  </a:lnTo>
                  <a:cubicBezTo>
                    <a:pt x="28144" y="620245"/>
                    <a:pt x="29641" y="615942"/>
                    <a:pt x="30997" y="610611"/>
                  </a:cubicBezTo>
                  <a:cubicBezTo>
                    <a:pt x="38247" y="587174"/>
                    <a:pt x="47648" y="564458"/>
                    <a:pt x="59059" y="542748"/>
                  </a:cubicBezTo>
                  <a:cubicBezTo>
                    <a:pt x="67758" y="526818"/>
                    <a:pt x="78188" y="511889"/>
                    <a:pt x="90114" y="498223"/>
                  </a:cubicBezTo>
                  <a:cubicBezTo>
                    <a:pt x="93014" y="494762"/>
                    <a:pt x="96288" y="491628"/>
                    <a:pt x="99468" y="488308"/>
                  </a:cubicBezTo>
                  <a:cubicBezTo>
                    <a:pt x="102649" y="484987"/>
                    <a:pt x="106157" y="482228"/>
                    <a:pt x="109477" y="479187"/>
                  </a:cubicBezTo>
                  <a:cubicBezTo>
                    <a:pt x="112798" y="476147"/>
                    <a:pt x="116119" y="473014"/>
                    <a:pt x="119626" y="470208"/>
                  </a:cubicBezTo>
                  <a:lnTo>
                    <a:pt x="130617" y="462210"/>
                  </a:lnTo>
                  <a:cubicBezTo>
                    <a:pt x="145537" y="451710"/>
                    <a:pt x="161392" y="442670"/>
                    <a:pt x="178042" y="435224"/>
                  </a:cubicBezTo>
                  <a:cubicBezTo>
                    <a:pt x="195159" y="427890"/>
                    <a:pt x="212605" y="421459"/>
                    <a:pt x="230377" y="415955"/>
                  </a:cubicBezTo>
                  <a:cubicBezTo>
                    <a:pt x="266203" y="404496"/>
                    <a:pt x="303666" y="395423"/>
                    <a:pt x="340239" y="380784"/>
                  </a:cubicBezTo>
                  <a:cubicBezTo>
                    <a:pt x="377749" y="366734"/>
                    <a:pt x="411985" y="345225"/>
                    <a:pt x="440935" y="317551"/>
                  </a:cubicBezTo>
                  <a:cubicBezTo>
                    <a:pt x="468997" y="288970"/>
                    <a:pt x="490885" y="254893"/>
                    <a:pt x="505150" y="217463"/>
                  </a:cubicBezTo>
                  <a:cubicBezTo>
                    <a:pt x="519836" y="180889"/>
                    <a:pt x="529143" y="143380"/>
                    <a:pt x="540368" y="107461"/>
                  </a:cubicBezTo>
                  <a:cubicBezTo>
                    <a:pt x="545606" y="89590"/>
                    <a:pt x="552013" y="72075"/>
                    <a:pt x="559543" y="55032"/>
                  </a:cubicBezTo>
                  <a:lnTo>
                    <a:pt x="565016" y="42357"/>
                  </a:lnTo>
                  <a:cubicBezTo>
                    <a:pt x="567354" y="38316"/>
                    <a:pt x="568944" y="33878"/>
                    <a:pt x="569693" y="29262"/>
                  </a:cubicBezTo>
                  <a:cubicBezTo>
                    <a:pt x="569973" y="26647"/>
                    <a:pt x="569973" y="24019"/>
                    <a:pt x="569693" y="21404"/>
                  </a:cubicBezTo>
                  <a:cubicBezTo>
                    <a:pt x="569693" y="18785"/>
                    <a:pt x="569693" y="16026"/>
                    <a:pt x="570113" y="13500"/>
                  </a:cubicBezTo>
                  <a:cubicBezTo>
                    <a:pt x="571002" y="8674"/>
                    <a:pt x="572686" y="4025"/>
                    <a:pt x="575071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8D0C9CA2-0002-428C-A4F8-FD48B797E21E}"/>
                </a:ext>
              </a:extLst>
            </p:cNvPr>
            <p:cNvSpPr/>
            <p:nvPr/>
          </p:nvSpPr>
          <p:spPr>
            <a:xfrm>
              <a:off x="8875365" y="5682889"/>
              <a:ext cx="640699" cy="691304"/>
            </a:xfrm>
            <a:custGeom>
              <a:avLst/>
              <a:gdLst>
                <a:gd name="connsiteX0" fmla="*/ 639350 w 640699"/>
                <a:gd name="connsiteY0" fmla="*/ -250 h 691304"/>
                <a:gd name="connsiteX1" fmla="*/ 624525 w 640699"/>
                <a:gd name="connsiteY1" fmla="*/ 5128 h 691304"/>
                <a:gd name="connsiteX2" fmla="*/ 607407 w 640699"/>
                <a:gd name="connsiteY2" fmla="*/ 8309 h 691304"/>
                <a:gd name="connsiteX3" fmla="*/ 594171 w 640699"/>
                <a:gd name="connsiteY3" fmla="*/ 17663 h 691304"/>
                <a:gd name="connsiteX4" fmla="*/ 582385 w 640699"/>
                <a:gd name="connsiteY4" fmla="*/ 28560 h 691304"/>
                <a:gd name="connsiteX5" fmla="*/ 543379 w 640699"/>
                <a:gd name="connsiteY5" fmla="*/ 79165 h 691304"/>
                <a:gd name="connsiteX6" fmla="*/ 515972 w 640699"/>
                <a:gd name="connsiteY6" fmla="*/ 136177 h 691304"/>
                <a:gd name="connsiteX7" fmla="*/ 496702 w 640699"/>
                <a:gd name="connsiteY7" fmla="*/ 195014 h 691304"/>
                <a:gd name="connsiteX8" fmla="*/ 456294 w 640699"/>
                <a:gd name="connsiteY8" fmla="*/ 307261 h 691304"/>
                <a:gd name="connsiteX9" fmla="*/ 381789 w 640699"/>
                <a:gd name="connsiteY9" fmla="*/ 394394 h 691304"/>
                <a:gd name="connsiteX10" fmla="*/ 275061 w 640699"/>
                <a:gd name="connsiteY10" fmla="*/ 443081 h 691304"/>
                <a:gd name="connsiteX11" fmla="*/ 157855 w 640699"/>
                <a:gd name="connsiteY11" fmla="*/ 481853 h 691304"/>
                <a:gd name="connsiteX12" fmla="*/ 55242 w 640699"/>
                <a:gd name="connsiteY12" fmla="*/ 556405 h 691304"/>
                <a:gd name="connsiteX13" fmla="*/ 10436 w 640699"/>
                <a:gd name="connsiteY13" fmla="*/ 630394 h 691304"/>
                <a:gd name="connsiteX14" fmla="*/ 10436 w 640699"/>
                <a:gd name="connsiteY14" fmla="*/ 630394 h 691304"/>
                <a:gd name="connsiteX15" fmla="*/ 3889 w 640699"/>
                <a:gd name="connsiteY15" fmla="*/ 646436 h 691304"/>
                <a:gd name="connsiteX16" fmla="*/ 1410 w 640699"/>
                <a:gd name="connsiteY16" fmla="*/ 668792 h 691304"/>
                <a:gd name="connsiteX17" fmla="*/ -1069 w 640699"/>
                <a:gd name="connsiteY17" fmla="*/ 691055 h 691304"/>
                <a:gd name="connsiteX18" fmla="*/ -1069 w 640699"/>
                <a:gd name="connsiteY18" fmla="*/ 691055 h 691304"/>
                <a:gd name="connsiteX19" fmla="*/ 14505 w 640699"/>
                <a:gd name="connsiteY19" fmla="*/ 674498 h 691304"/>
                <a:gd name="connsiteX20" fmla="*/ 28536 w 640699"/>
                <a:gd name="connsiteY20" fmla="*/ 655790 h 691304"/>
                <a:gd name="connsiteX21" fmla="*/ 34009 w 640699"/>
                <a:gd name="connsiteY21" fmla="*/ 642134 h 691304"/>
                <a:gd name="connsiteX22" fmla="*/ 75306 w 640699"/>
                <a:gd name="connsiteY22" fmla="*/ 573288 h 691304"/>
                <a:gd name="connsiteX23" fmla="*/ 168519 w 640699"/>
                <a:gd name="connsiteY23" fmla="*/ 505753 h 691304"/>
                <a:gd name="connsiteX24" fmla="*/ 282964 w 640699"/>
                <a:gd name="connsiteY24" fmla="*/ 468009 h 691304"/>
                <a:gd name="connsiteX25" fmla="*/ 397130 w 640699"/>
                <a:gd name="connsiteY25" fmla="*/ 415674 h 691304"/>
                <a:gd name="connsiteX26" fmla="*/ 479585 w 640699"/>
                <a:gd name="connsiteY26" fmla="*/ 319188 h 691304"/>
                <a:gd name="connsiteX27" fmla="*/ 521678 w 640699"/>
                <a:gd name="connsiteY27" fmla="*/ 202263 h 691304"/>
                <a:gd name="connsiteX28" fmla="*/ 540105 w 640699"/>
                <a:gd name="connsiteY28" fmla="*/ 145064 h 691304"/>
                <a:gd name="connsiteX29" fmla="*/ 565454 w 640699"/>
                <a:gd name="connsiteY29" fmla="*/ 92214 h 691304"/>
                <a:gd name="connsiteX30" fmla="*/ 600718 w 640699"/>
                <a:gd name="connsiteY30" fmla="*/ 46426 h 691304"/>
                <a:gd name="connsiteX31" fmla="*/ 611102 w 640699"/>
                <a:gd name="connsiteY31" fmla="*/ 36371 h 691304"/>
                <a:gd name="connsiteX32" fmla="*/ 621344 w 640699"/>
                <a:gd name="connsiteY32" fmla="*/ 25941 h 691304"/>
                <a:gd name="connsiteX33" fmla="*/ 628827 w 640699"/>
                <a:gd name="connsiteY33" fmla="*/ 11068 h 691304"/>
                <a:gd name="connsiteX34" fmla="*/ 639631 w 640699"/>
                <a:gd name="connsiteY34" fmla="*/ -63 h 691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40699" h="691304">
                  <a:moveTo>
                    <a:pt x="639350" y="-250"/>
                  </a:moveTo>
                  <a:cubicBezTo>
                    <a:pt x="634673" y="2247"/>
                    <a:pt x="629716" y="4062"/>
                    <a:pt x="624525" y="5128"/>
                  </a:cubicBezTo>
                  <a:cubicBezTo>
                    <a:pt x="618678" y="5390"/>
                    <a:pt x="612926" y="6461"/>
                    <a:pt x="607407" y="8309"/>
                  </a:cubicBezTo>
                  <a:cubicBezTo>
                    <a:pt x="602496" y="10661"/>
                    <a:pt x="598006" y="13823"/>
                    <a:pt x="594171" y="17663"/>
                  </a:cubicBezTo>
                  <a:cubicBezTo>
                    <a:pt x="590149" y="21170"/>
                    <a:pt x="586080" y="24678"/>
                    <a:pt x="582385" y="28560"/>
                  </a:cubicBezTo>
                  <a:cubicBezTo>
                    <a:pt x="567559" y="43924"/>
                    <a:pt x="554464" y="60901"/>
                    <a:pt x="543379" y="79165"/>
                  </a:cubicBezTo>
                  <a:cubicBezTo>
                    <a:pt x="532528" y="97298"/>
                    <a:pt x="523362" y="116384"/>
                    <a:pt x="515972" y="136177"/>
                  </a:cubicBezTo>
                  <a:cubicBezTo>
                    <a:pt x="508816" y="155727"/>
                    <a:pt x="502409" y="175464"/>
                    <a:pt x="496702" y="195014"/>
                  </a:cubicBezTo>
                  <a:cubicBezTo>
                    <a:pt x="485104" y="234207"/>
                    <a:pt x="474253" y="272698"/>
                    <a:pt x="456294" y="307261"/>
                  </a:cubicBezTo>
                  <a:cubicBezTo>
                    <a:pt x="438989" y="341969"/>
                    <a:pt x="413406" y="371893"/>
                    <a:pt x="381789" y="394394"/>
                  </a:cubicBezTo>
                  <a:cubicBezTo>
                    <a:pt x="350593" y="417311"/>
                    <a:pt x="313365" y="431202"/>
                    <a:pt x="275061" y="443081"/>
                  </a:cubicBezTo>
                  <a:cubicBezTo>
                    <a:pt x="236756" y="454961"/>
                    <a:pt x="196534" y="465110"/>
                    <a:pt x="157855" y="481853"/>
                  </a:cubicBezTo>
                  <a:cubicBezTo>
                    <a:pt x="118475" y="498639"/>
                    <a:pt x="83397" y="524129"/>
                    <a:pt x="55242" y="556405"/>
                  </a:cubicBezTo>
                  <a:cubicBezTo>
                    <a:pt x="36721" y="578704"/>
                    <a:pt x="21615" y="603642"/>
                    <a:pt x="10436" y="630394"/>
                  </a:cubicBezTo>
                  <a:lnTo>
                    <a:pt x="10436" y="630394"/>
                  </a:lnTo>
                  <a:lnTo>
                    <a:pt x="3889" y="646436"/>
                  </a:lnTo>
                  <a:cubicBezTo>
                    <a:pt x="942" y="653499"/>
                    <a:pt x="101" y="661258"/>
                    <a:pt x="1410" y="668792"/>
                  </a:cubicBezTo>
                  <a:cubicBezTo>
                    <a:pt x="2860" y="676294"/>
                    <a:pt x="2018" y="684063"/>
                    <a:pt x="-1069" y="691055"/>
                  </a:cubicBezTo>
                  <a:lnTo>
                    <a:pt x="-1069" y="691055"/>
                  </a:lnTo>
                  <a:cubicBezTo>
                    <a:pt x="2579" y="684264"/>
                    <a:pt x="7958" y="678553"/>
                    <a:pt x="14505" y="674498"/>
                  </a:cubicBezTo>
                  <a:cubicBezTo>
                    <a:pt x="21053" y="669920"/>
                    <a:pt x="25964" y="663367"/>
                    <a:pt x="28536" y="655790"/>
                  </a:cubicBezTo>
                  <a:cubicBezTo>
                    <a:pt x="30641" y="651113"/>
                    <a:pt x="32372" y="646764"/>
                    <a:pt x="34009" y="642134"/>
                  </a:cubicBezTo>
                  <a:cubicBezTo>
                    <a:pt x="44204" y="617219"/>
                    <a:pt x="58142" y="594003"/>
                    <a:pt x="75306" y="573288"/>
                  </a:cubicBezTo>
                  <a:cubicBezTo>
                    <a:pt x="100889" y="544034"/>
                    <a:pt x="132740" y="520943"/>
                    <a:pt x="168519" y="505753"/>
                  </a:cubicBezTo>
                  <a:cubicBezTo>
                    <a:pt x="204625" y="490132"/>
                    <a:pt x="243351" y="480123"/>
                    <a:pt x="282964" y="468009"/>
                  </a:cubicBezTo>
                  <a:cubicBezTo>
                    <a:pt x="322578" y="455896"/>
                    <a:pt x="362473" y="441070"/>
                    <a:pt x="397130" y="415674"/>
                  </a:cubicBezTo>
                  <a:cubicBezTo>
                    <a:pt x="432114" y="390736"/>
                    <a:pt x="460409" y="357609"/>
                    <a:pt x="479585" y="319188"/>
                  </a:cubicBezTo>
                  <a:cubicBezTo>
                    <a:pt x="498807" y="281257"/>
                    <a:pt x="510313" y="241035"/>
                    <a:pt x="521678" y="202263"/>
                  </a:cubicBezTo>
                  <a:cubicBezTo>
                    <a:pt x="527243" y="182713"/>
                    <a:pt x="533370" y="163772"/>
                    <a:pt x="540105" y="145064"/>
                  </a:cubicBezTo>
                  <a:cubicBezTo>
                    <a:pt x="546933" y="126716"/>
                    <a:pt x="555399" y="109027"/>
                    <a:pt x="565454" y="92214"/>
                  </a:cubicBezTo>
                  <a:cubicBezTo>
                    <a:pt x="575323" y="75592"/>
                    <a:pt x="587156" y="60219"/>
                    <a:pt x="600718" y="46426"/>
                  </a:cubicBezTo>
                  <a:cubicBezTo>
                    <a:pt x="604180" y="43059"/>
                    <a:pt x="607547" y="39598"/>
                    <a:pt x="611102" y="36371"/>
                  </a:cubicBezTo>
                  <a:cubicBezTo>
                    <a:pt x="614937" y="33335"/>
                    <a:pt x="618398" y="29832"/>
                    <a:pt x="621344" y="25941"/>
                  </a:cubicBezTo>
                  <a:cubicBezTo>
                    <a:pt x="624197" y="21175"/>
                    <a:pt x="626723" y="16203"/>
                    <a:pt x="628827" y="11068"/>
                  </a:cubicBezTo>
                  <a:cubicBezTo>
                    <a:pt x="631634" y="6653"/>
                    <a:pt x="635281" y="2860"/>
                    <a:pt x="639631" y="-6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AB03E249-A622-4690-A00A-5B5D7D8665BE}"/>
                </a:ext>
              </a:extLst>
            </p:cNvPr>
            <p:cNvSpPr/>
            <p:nvPr/>
          </p:nvSpPr>
          <p:spPr>
            <a:xfrm>
              <a:off x="9535521" y="4727381"/>
              <a:ext cx="1522591" cy="1520814"/>
            </a:xfrm>
            <a:custGeom>
              <a:avLst/>
              <a:gdLst>
                <a:gd name="connsiteX0" fmla="*/ 1521523 w 1522591"/>
                <a:gd name="connsiteY0" fmla="*/ -16 h 1520814"/>
                <a:gd name="connsiteX1" fmla="*/ 1514554 w 1522591"/>
                <a:gd name="connsiteY1" fmla="*/ 5690 h 1520814"/>
                <a:gd name="connsiteX2" fmla="*/ 1506136 w 1522591"/>
                <a:gd name="connsiteY2" fmla="*/ 9805 h 1520814"/>
                <a:gd name="connsiteX3" fmla="*/ 1496782 w 1522591"/>
                <a:gd name="connsiteY3" fmla="*/ 12752 h 1520814"/>
                <a:gd name="connsiteX4" fmla="*/ 1489112 w 1522591"/>
                <a:gd name="connsiteY4" fmla="*/ 17101 h 1520814"/>
                <a:gd name="connsiteX5" fmla="*/ 1475081 w 1522591"/>
                <a:gd name="connsiteY5" fmla="*/ 27157 h 1520814"/>
                <a:gd name="connsiteX6" fmla="*/ 1461050 w 1522591"/>
                <a:gd name="connsiteY6" fmla="*/ 36791 h 1520814"/>
                <a:gd name="connsiteX7" fmla="*/ 1398285 w 1522591"/>
                <a:gd name="connsiteY7" fmla="*/ 66397 h 1520814"/>
                <a:gd name="connsiteX8" fmla="*/ 1261483 w 1522591"/>
                <a:gd name="connsiteY8" fmla="*/ 110594 h 1520814"/>
                <a:gd name="connsiteX9" fmla="*/ 1142126 w 1522591"/>
                <a:gd name="connsiteY9" fmla="*/ 196744 h 1520814"/>
                <a:gd name="connsiteX10" fmla="*/ 1104243 w 1522591"/>
                <a:gd name="connsiteY10" fmla="*/ 260492 h 1520814"/>
                <a:gd name="connsiteX11" fmla="*/ 1079829 w 1522591"/>
                <a:gd name="connsiteY11" fmla="*/ 329290 h 1520814"/>
                <a:gd name="connsiteX12" fmla="*/ 1031141 w 1522591"/>
                <a:gd name="connsiteY12" fmla="*/ 461228 h 1520814"/>
                <a:gd name="connsiteX13" fmla="*/ 989891 w 1522591"/>
                <a:gd name="connsiteY13" fmla="*/ 515668 h 1520814"/>
                <a:gd name="connsiteX14" fmla="*/ 934796 w 1522591"/>
                <a:gd name="connsiteY14" fmla="*/ 556124 h 1520814"/>
                <a:gd name="connsiteX15" fmla="*/ 870628 w 1522591"/>
                <a:gd name="connsiteY15" fmla="*/ 583017 h 1520814"/>
                <a:gd name="connsiteX16" fmla="*/ 802203 w 1522591"/>
                <a:gd name="connsiteY16" fmla="*/ 603595 h 1520814"/>
                <a:gd name="connsiteX17" fmla="*/ 733358 w 1522591"/>
                <a:gd name="connsiteY17" fmla="*/ 628383 h 1520814"/>
                <a:gd name="connsiteX18" fmla="*/ 669517 w 1522591"/>
                <a:gd name="connsiteY18" fmla="*/ 666781 h 1520814"/>
                <a:gd name="connsiteX19" fmla="*/ 655486 w 1522591"/>
                <a:gd name="connsiteY19" fmla="*/ 679315 h 1520814"/>
                <a:gd name="connsiteX20" fmla="*/ 648564 w 1522591"/>
                <a:gd name="connsiteY20" fmla="*/ 685676 h 1520814"/>
                <a:gd name="connsiteX21" fmla="*/ 642297 w 1522591"/>
                <a:gd name="connsiteY21" fmla="*/ 692645 h 1520814"/>
                <a:gd name="connsiteX22" fmla="*/ 629856 w 1522591"/>
                <a:gd name="connsiteY22" fmla="*/ 706676 h 1520814"/>
                <a:gd name="connsiteX23" fmla="*/ 618772 w 1522591"/>
                <a:gd name="connsiteY23" fmla="*/ 721829 h 1520814"/>
                <a:gd name="connsiteX24" fmla="*/ 584489 w 1522591"/>
                <a:gd name="connsiteY24" fmla="*/ 787681 h 1520814"/>
                <a:gd name="connsiteX25" fmla="*/ 540199 w 1522591"/>
                <a:gd name="connsiteY25" fmla="*/ 924296 h 1520814"/>
                <a:gd name="connsiteX26" fmla="*/ 510032 w 1522591"/>
                <a:gd name="connsiteY26" fmla="*/ 986313 h 1520814"/>
                <a:gd name="connsiteX27" fmla="*/ 500210 w 1522591"/>
                <a:gd name="connsiteY27" fmla="*/ 1000344 h 1520814"/>
                <a:gd name="connsiteX28" fmla="*/ 489546 w 1522591"/>
                <a:gd name="connsiteY28" fmla="*/ 1013673 h 1520814"/>
                <a:gd name="connsiteX29" fmla="*/ 478135 w 1522591"/>
                <a:gd name="connsiteY29" fmla="*/ 1026301 h 1520814"/>
                <a:gd name="connsiteX30" fmla="*/ 465414 w 1522591"/>
                <a:gd name="connsiteY30" fmla="*/ 1037619 h 1520814"/>
                <a:gd name="connsiteX31" fmla="*/ 459006 w 1522591"/>
                <a:gd name="connsiteY31" fmla="*/ 1043278 h 1520814"/>
                <a:gd name="connsiteX32" fmla="*/ 452131 w 1522591"/>
                <a:gd name="connsiteY32" fmla="*/ 1048283 h 1520814"/>
                <a:gd name="connsiteX33" fmla="*/ 438100 w 1522591"/>
                <a:gd name="connsiteY33" fmla="*/ 1058104 h 1520814"/>
                <a:gd name="connsiteX34" fmla="*/ 423368 w 1522591"/>
                <a:gd name="connsiteY34" fmla="*/ 1066850 h 1520814"/>
                <a:gd name="connsiteX35" fmla="*/ 408027 w 1522591"/>
                <a:gd name="connsiteY35" fmla="*/ 1074614 h 1520814"/>
                <a:gd name="connsiteX36" fmla="*/ 342549 w 1522591"/>
                <a:gd name="connsiteY36" fmla="*/ 1099402 h 1520814"/>
                <a:gd name="connsiteX37" fmla="*/ 205327 w 1522591"/>
                <a:gd name="connsiteY37" fmla="*/ 1147248 h 1520814"/>
                <a:gd name="connsiteX38" fmla="*/ 143637 w 1522591"/>
                <a:gd name="connsiteY38" fmla="*/ 1189715 h 1520814"/>
                <a:gd name="connsiteX39" fmla="*/ 96165 w 1522591"/>
                <a:gd name="connsiteY39" fmla="*/ 1247850 h 1520814"/>
                <a:gd name="connsiteX40" fmla="*/ 43503 w 1522591"/>
                <a:gd name="connsiteY40" fmla="*/ 1384231 h 1520814"/>
                <a:gd name="connsiteX41" fmla="*/ 20819 w 1522591"/>
                <a:gd name="connsiteY41" fmla="*/ 1450831 h 1520814"/>
                <a:gd name="connsiteX42" fmla="*/ 13757 w 1522591"/>
                <a:gd name="connsiteY42" fmla="*/ 1466592 h 1520814"/>
                <a:gd name="connsiteX43" fmla="*/ 12261 w 1522591"/>
                <a:gd name="connsiteY43" fmla="*/ 1469960 h 1520814"/>
                <a:gd name="connsiteX44" fmla="*/ 8566 w 1522591"/>
                <a:gd name="connsiteY44" fmla="*/ 1477443 h 1520814"/>
                <a:gd name="connsiteX45" fmla="*/ 3608 w 1522591"/>
                <a:gd name="connsiteY45" fmla="*/ 1498676 h 1520814"/>
                <a:gd name="connsiteX46" fmla="*/ -1069 w 1522591"/>
                <a:gd name="connsiteY46" fmla="*/ 1520565 h 1520814"/>
                <a:gd name="connsiteX47" fmla="*/ -1069 w 1522591"/>
                <a:gd name="connsiteY47" fmla="*/ 1520565 h 1520814"/>
                <a:gd name="connsiteX48" fmla="*/ 16142 w 1522591"/>
                <a:gd name="connsiteY48" fmla="*/ 1505739 h 1520814"/>
                <a:gd name="connsiteX49" fmla="*/ 31109 w 1522591"/>
                <a:gd name="connsiteY49" fmla="*/ 1489743 h 1520814"/>
                <a:gd name="connsiteX50" fmla="*/ 31109 w 1522591"/>
                <a:gd name="connsiteY50" fmla="*/ 1490024 h 1520814"/>
                <a:gd name="connsiteX51" fmla="*/ 35786 w 1522591"/>
                <a:gd name="connsiteY51" fmla="*/ 1480904 h 1520814"/>
                <a:gd name="connsiteX52" fmla="*/ 40088 w 1522591"/>
                <a:gd name="connsiteY52" fmla="*/ 1471924 h 1520814"/>
                <a:gd name="connsiteX53" fmla="*/ 44765 w 1522591"/>
                <a:gd name="connsiteY53" fmla="*/ 1460746 h 1520814"/>
                <a:gd name="connsiteX54" fmla="*/ 68150 w 1522591"/>
                <a:gd name="connsiteY54" fmla="*/ 1391574 h 1520814"/>
                <a:gd name="connsiteX55" fmla="*/ 89103 w 1522591"/>
                <a:gd name="connsiteY55" fmla="*/ 1323664 h 1520814"/>
                <a:gd name="connsiteX56" fmla="*/ 117867 w 1522591"/>
                <a:gd name="connsiteY56" fmla="*/ 1260945 h 1520814"/>
                <a:gd name="connsiteX57" fmla="*/ 160708 w 1522591"/>
                <a:gd name="connsiteY57" fmla="*/ 1208376 h 1520814"/>
                <a:gd name="connsiteX58" fmla="*/ 216832 w 1522591"/>
                <a:gd name="connsiteY58" fmla="*/ 1169697 h 1520814"/>
                <a:gd name="connsiteX59" fmla="*/ 349985 w 1522591"/>
                <a:gd name="connsiteY59" fmla="*/ 1122928 h 1520814"/>
                <a:gd name="connsiteX60" fmla="*/ 481269 w 1522591"/>
                <a:gd name="connsiteY60" fmla="*/ 1056047 h 1520814"/>
                <a:gd name="connsiteX61" fmla="*/ 495300 w 1522591"/>
                <a:gd name="connsiteY61" fmla="*/ 1043325 h 1520814"/>
                <a:gd name="connsiteX62" fmla="*/ 507880 w 1522591"/>
                <a:gd name="connsiteY62" fmla="*/ 1029294 h 1520814"/>
                <a:gd name="connsiteX63" fmla="*/ 519573 w 1522591"/>
                <a:gd name="connsiteY63" fmla="*/ 1014608 h 1520814"/>
                <a:gd name="connsiteX64" fmla="*/ 530377 w 1522591"/>
                <a:gd name="connsiteY64" fmla="*/ 999268 h 1520814"/>
                <a:gd name="connsiteX65" fmla="*/ 562695 w 1522591"/>
                <a:gd name="connsiteY65" fmla="*/ 932527 h 1520814"/>
                <a:gd name="connsiteX66" fmla="*/ 606565 w 1522591"/>
                <a:gd name="connsiteY66" fmla="*/ 796193 h 1520814"/>
                <a:gd name="connsiteX67" fmla="*/ 638088 w 1522591"/>
                <a:gd name="connsiteY67" fmla="*/ 735019 h 1520814"/>
                <a:gd name="connsiteX68" fmla="*/ 684109 w 1522591"/>
                <a:gd name="connsiteY68" fmla="*/ 684787 h 1520814"/>
                <a:gd name="connsiteX69" fmla="*/ 742758 w 1522591"/>
                <a:gd name="connsiteY69" fmla="*/ 649289 h 1520814"/>
                <a:gd name="connsiteX70" fmla="*/ 808751 w 1522591"/>
                <a:gd name="connsiteY70" fmla="*/ 625530 h 1520814"/>
                <a:gd name="connsiteX71" fmla="*/ 877690 w 1522591"/>
                <a:gd name="connsiteY71" fmla="*/ 604577 h 1520814"/>
                <a:gd name="connsiteX72" fmla="*/ 945552 w 1522591"/>
                <a:gd name="connsiteY72" fmla="*/ 575954 h 1520814"/>
                <a:gd name="connsiteX73" fmla="*/ 1005605 w 1522591"/>
                <a:gd name="connsiteY73" fmla="*/ 531616 h 1520814"/>
                <a:gd name="connsiteX74" fmla="*/ 1050645 w 1522591"/>
                <a:gd name="connsiteY74" fmla="*/ 472078 h 1520814"/>
                <a:gd name="connsiteX75" fmla="*/ 1100688 w 1522591"/>
                <a:gd name="connsiteY75" fmla="*/ 335417 h 1520814"/>
                <a:gd name="connsiteX76" fmla="*/ 1124073 w 1522591"/>
                <a:gd name="connsiteY76" fmla="*/ 269051 h 1520814"/>
                <a:gd name="connsiteX77" fmla="*/ 1158823 w 1522591"/>
                <a:gd name="connsiteY77" fmla="*/ 209653 h 1520814"/>
                <a:gd name="connsiteX78" fmla="*/ 1269247 w 1522591"/>
                <a:gd name="connsiteY78" fmla="*/ 130144 h 1520814"/>
                <a:gd name="connsiteX79" fmla="*/ 1405206 w 1522591"/>
                <a:gd name="connsiteY79" fmla="*/ 85853 h 1520814"/>
                <a:gd name="connsiteX80" fmla="*/ 1471854 w 1522591"/>
                <a:gd name="connsiteY80" fmla="*/ 54330 h 1520814"/>
                <a:gd name="connsiteX81" fmla="*/ 1487335 w 1522591"/>
                <a:gd name="connsiteY81" fmla="*/ 43947 h 1520814"/>
                <a:gd name="connsiteX82" fmla="*/ 1494771 w 1522591"/>
                <a:gd name="connsiteY82" fmla="*/ 38335 h 1520814"/>
                <a:gd name="connsiteX83" fmla="*/ 1501833 w 1522591"/>
                <a:gd name="connsiteY83" fmla="*/ 32208 h 1520814"/>
                <a:gd name="connsiteX84" fmla="*/ 1507492 w 1522591"/>
                <a:gd name="connsiteY84" fmla="*/ 24538 h 1520814"/>
                <a:gd name="connsiteX85" fmla="*/ 1511608 w 1522591"/>
                <a:gd name="connsiteY85" fmla="*/ 15511 h 1520814"/>
                <a:gd name="connsiteX86" fmla="*/ 1521336 w 1522591"/>
                <a:gd name="connsiteY86" fmla="*/ -250 h 15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522591" h="1520814">
                  <a:moveTo>
                    <a:pt x="1521523" y="-16"/>
                  </a:moveTo>
                  <a:cubicBezTo>
                    <a:pt x="1519325" y="2051"/>
                    <a:pt x="1517033" y="3954"/>
                    <a:pt x="1514554" y="5690"/>
                  </a:cubicBezTo>
                  <a:cubicBezTo>
                    <a:pt x="1512075" y="7654"/>
                    <a:pt x="1509223" y="9062"/>
                    <a:pt x="1506136" y="9805"/>
                  </a:cubicBezTo>
                  <a:cubicBezTo>
                    <a:pt x="1503049" y="10881"/>
                    <a:pt x="1499729" y="11583"/>
                    <a:pt x="1496782" y="12752"/>
                  </a:cubicBezTo>
                  <a:cubicBezTo>
                    <a:pt x="1494069" y="13940"/>
                    <a:pt x="1491497" y="15394"/>
                    <a:pt x="1489112" y="17101"/>
                  </a:cubicBezTo>
                  <a:cubicBezTo>
                    <a:pt x="1484435" y="20609"/>
                    <a:pt x="1479758" y="23790"/>
                    <a:pt x="1475081" y="27157"/>
                  </a:cubicBezTo>
                  <a:cubicBezTo>
                    <a:pt x="1470591" y="30609"/>
                    <a:pt x="1465867" y="33821"/>
                    <a:pt x="1461050" y="36791"/>
                  </a:cubicBezTo>
                  <a:cubicBezTo>
                    <a:pt x="1441266" y="48914"/>
                    <a:pt x="1420220" y="58843"/>
                    <a:pt x="1398285" y="66397"/>
                  </a:cubicBezTo>
                  <a:cubicBezTo>
                    <a:pt x="1354227" y="82299"/>
                    <a:pt x="1307083" y="92354"/>
                    <a:pt x="1261483" y="110594"/>
                  </a:cubicBezTo>
                  <a:cubicBezTo>
                    <a:pt x="1214666" y="128039"/>
                    <a:pt x="1173415" y="157804"/>
                    <a:pt x="1142126" y="196744"/>
                  </a:cubicBezTo>
                  <a:cubicBezTo>
                    <a:pt x="1126926" y="216369"/>
                    <a:pt x="1114205" y="237776"/>
                    <a:pt x="1104243" y="260492"/>
                  </a:cubicBezTo>
                  <a:cubicBezTo>
                    <a:pt x="1094748" y="282923"/>
                    <a:pt x="1086610" y="305896"/>
                    <a:pt x="1079829" y="329290"/>
                  </a:cubicBezTo>
                  <a:cubicBezTo>
                    <a:pt x="1066078" y="375312"/>
                    <a:pt x="1053965" y="421193"/>
                    <a:pt x="1031141" y="461228"/>
                  </a:cubicBezTo>
                  <a:cubicBezTo>
                    <a:pt x="1020010" y="481203"/>
                    <a:pt x="1006120" y="499528"/>
                    <a:pt x="989891" y="515668"/>
                  </a:cubicBezTo>
                  <a:cubicBezTo>
                    <a:pt x="973334" y="531476"/>
                    <a:pt x="954813" y="545072"/>
                    <a:pt x="934796" y="556124"/>
                  </a:cubicBezTo>
                  <a:cubicBezTo>
                    <a:pt x="914170" y="566778"/>
                    <a:pt x="892703" y="575772"/>
                    <a:pt x="870628" y="583017"/>
                  </a:cubicBezTo>
                  <a:cubicBezTo>
                    <a:pt x="848225" y="590313"/>
                    <a:pt x="825260" y="596673"/>
                    <a:pt x="802203" y="603595"/>
                  </a:cubicBezTo>
                  <a:cubicBezTo>
                    <a:pt x="778772" y="610410"/>
                    <a:pt x="755761" y="618688"/>
                    <a:pt x="733358" y="628383"/>
                  </a:cubicBezTo>
                  <a:cubicBezTo>
                    <a:pt x="710628" y="638645"/>
                    <a:pt x="689207" y="651530"/>
                    <a:pt x="669517" y="666781"/>
                  </a:cubicBezTo>
                  <a:lnTo>
                    <a:pt x="655486" y="679315"/>
                  </a:lnTo>
                  <a:cubicBezTo>
                    <a:pt x="653195" y="681420"/>
                    <a:pt x="650809" y="683431"/>
                    <a:pt x="648564" y="685676"/>
                  </a:cubicBezTo>
                  <a:lnTo>
                    <a:pt x="642297" y="692645"/>
                  </a:lnTo>
                  <a:cubicBezTo>
                    <a:pt x="638134" y="697322"/>
                    <a:pt x="633738" y="701999"/>
                    <a:pt x="629856" y="706676"/>
                  </a:cubicBezTo>
                  <a:lnTo>
                    <a:pt x="618772" y="721829"/>
                  </a:lnTo>
                  <a:cubicBezTo>
                    <a:pt x="604834" y="742389"/>
                    <a:pt x="593329" y="764488"/>
                    <a:pt x="584489" y="787681"/>
                  </a:cubicBezTo>
                  <a:cubicBezTo>
                    <a:pt x="566530" y="833422"/>
                    <a:pt x="556428" y="880566"/>
                    <a:pt x="540199" y="924296"/>
                  </a:cubicBezTo>
                  <a:cubicBezTo>
                    <a:pt x="532341" y="945969"/>
                    <a:pt x="522239" y="966758"/>
                    <a:pt x="510032" y="986313"/>
                  </a:cubicBezTo>
                  <a:cubicBezTo>
                    <a:pt x="507179" y="991270"/>
                    <a:pt x="503438" y="995667"/>
                    <a:pt x="500210" y="1000344"/>
                  </a:cubicBezTo>
                  <a:cubicBezTo>
                    <a:pt x="497030" y="1005082"/>
                    <a:pt x="493476" y="1009539"/>
                    <a:pt x="489546" y="1013673"/>
                  </a:cubicBezTo>
                  <a:lnTo>
                    <a:pt x="478135" y="1026301"/>
                  </a:lnTo>
                  <a:lnTo>
                    <a:pt x="465414" y="1037619"/>
                  </a:lnTo>
                  <a:cubicBezTo>
                    <a:pt x="463262" y="1039490"/>
                    <a:pt x="461251" y="1041501"/>
                    <a:pt x="459006" y="1043278"/>
                  </a:cubicBezTo>
                  <a:lnTo>
                    <a:pt x="452131" y="1048283"/>
                  </a:lnTo>
                  <a:cubicBezTo>
                    <a:pt x="447454" y="1051510"/>
                    <a:pt x="443104" y="1055158"/>
                    <a:pt x="438100" y="1058104"/>
                  </a:cubicBezTo>
                  <a:lnTo>
                    <a:pt x="423368" y="1066850"/>
                  </a:lnTo>
                  <a:cubicBezTo>
                    <a:pt x="418691" y="1069797"/>
                    <a:pt x="413078" y="1071948"/>
                    <a:pt x="408027" y="1074614"/>
                  </a:cubicBezTo>
                  <a:cubicBezTo>
                    <a:pt x="386840" y="1084520"/>
                    <a:pt x="364952" y="1092808"/>
                    <a:pt x="342549" y="1099402"/>
                  </a:cubicBezTo>
                  <a:cubicBezTo>
                    <a:pt x="297557" y="1113433"/>
                    <a:pt x="249851" y="1124658"/>
                    <a:pt x="205327" y="1147248"/>
                  </a:cubicBezTo>
                  <a:cubicBezTo>
                    <a:pt x="182877" y="1158421"/>
                    <a:pt x="162111" y="1172719"/>
                    <a:pt x="143637" y="1189715"/>
                  </a:cubicBezTo>
                  <a:cubicBezTo>
                    <a:pt x="124929" y="1206561"/>
                    <a:pt x="108933" y="1226163"/>
                    <a:pt x="96165" y="1247850"/>
                  </a:cubicBezTo>
                  <a:cubicBezTo>
                    <a:pt x="70021" y="1290831"/>
                    <a:pt x="56925" y="1338817"/>
                    <a:pt x="43503" y="1384231"/>
                  </a:cubicBezTo>
                  <a:cubicBezTo>
                    <a:pt x="37189" y="1406830"/>
                    <a:pt x="29612" y="1429064"/>
                    <a:pt x="20819" y="1450831"/>
                  </a:cubicBezTo>
                  <a:cubicBezTo>
                    <a:pt x="18808" y="1456303"/>
                    <a:pt x="16142" y="1461354"/>
                    <a:pt x="13757" y="1466592"/>
                  </a:cubicBezTo>
                  <a:lnTo>
                    <a:pt x="12261" y="1469960"/>
                  </a:lnTo>
                  <a:lnTo>
                    <a:pt x="8566" y="1477443"/>
                  </a:lnTo>
                  <a:cubicBezTo>
                    <a:pt x="4824" y="1483874"/>
                    <a:pt x="3094" y="1491264"/>
                    <a:pt x="3608" y="1498676"/>
                  </a:cubicBezTo>
                  <a:cubicBezTo>
                    <a:pt x="4309" y="1506276"/>
                    <a:pt x="2673" y="1513919"/>
                    <a:pt x="-1069" y="1520565"/>
                  </a:cubicBezTo>
                  <a:lnTo>
                    <a:pt x="-1069" y="1520565"/>
                  </a:lnTo>
                  <a:cubicBezTo>
                    <a:pt x="3281" y="1514204"/>
                    <a:pt x="9220" y="1509087"/>
                    <a:pt x="16142" y="1505739"/>
                  </a:cubicBezTo>
                  <a:cubicBezTo>
                    <a:pt x="22643" y="1502058"/>
                    <a:pt x="27882" y="1496478"/>
                    <a:pt x="31109" y="1489743"/>
                  </a:cubicBezTo>
                  <a:lnTo>
                    <a:pt x="31109" y="1490024"/>
                  </a:lnTo>
                  <a:cubicBezTo>
                    <a:pt x="32839" y="1487078"/>
                    <a:pt x="34289" y="1483991"/>
                    <a:pt x="35786" y="1480904"/>
                  </a:cubicBezTo>
                  <a:cubicBezTo>
                    <a:pt x="37282" y="1477817"/>
                    <a:pt x="38686" y="1475104"/>
                    <a:pt x="40088" y="1471924"/>
                  </a:cubicBezTo>
                  <a:cubicBezTo>
                    <a:pt x="41492" y="1468744"/>
                    <a:pt x="43409" y="1464488"/>
                    <a:pt x="44765" y="1460746"/>
                  </a:cubicBezTo>
                  <a:cubicBezTo>
                    <a:pt x="53792" y="1438114"/>
                    <a:pt x="61556" y="1415028"/>
                    <a:pt x="68150" y="1391574"/>
                  </a:cubicBezTo>
                  <a:cubicBezTo>
                    <a:pt x="74979" y="1368563"/>
                    <a:pt x="81480" y="1345739"/>
                    <a:pt x="89103" y="1323664"/>
                  </a:cubicBezTo>
                  <a:cubicBezTo>
                    <a:pt x="96634" y="1301874"/>
                    <a:pt x="106268" y="1280869"/>
                    <a:pt x="117867" y="1260945"/>
                  </a:cubicBezTo>
                  <a:cubicBezTo>
                    <a:pt x="129419" y="1241353"/>
                    <a:pt x="143871" y="1223628"/>
                    <a:pt x="160708" y="1208376"/>
                  </a:cubicBezTo>
                  <a:cubicBezTo>
                    <a:pt x="177451" y="1192834"/>
                    <a:pt x="196347" y="1179804"/>
                    <a:pt x="216832" y="1169697"/>
                  </a:cubicBezTo>
                  <a:cubicBezTo>
                    <a:pt x="257662" y="1148511"/>
                    <a:pt x="303917" y="1137613"/>
                    <a:pt x="349985" y="1122928"/>
                  </a:cubicBezTo>
                  <a:cubicBezTo>
                    <a:pt x="396054" y="1108242"/>
                    <a:pt x="443525" y="1089628"/>
                    <a:pt x="481269" y="1056047"/>
                  </a:cubicBezTo>
                  <a:lnTo>
                    <a:pt x="495300" y="1043325"/>
                  </a:lnTo>
                  <a:lnTo>
                    <a:pt x="507880" y="1029294"/>
                  </a:lnTo>
                  <a:cubicBezTo>
                    <a:pt x="512137" y="1024706"/>
                    <a:pt x="516065" y="1019795"/>
                    <a:pt x="519573" y="1014608"/>
                  </a:cubicBezTo>
                  <a:cubicBezTo>
                    <a:pt x="523174" y="1009511"/>
                    <a:pt x="527243" y="1004646"/>
                    <a:pt x="530377" y="999268"/>
                  </a:cubicBezTo>
                  <a:cubicBezTo>
                    <a:pt x="543379" y="978179"/>
                    <a:pt x="554230" y="955814"/>
                    <a:pt x="562695" y="932527"/>
                  </a:cubicBezTo>
                  <a:cubicBezTo>
                    <a:pt x="579439" y="886459"/>
                    <a:pt x="589681" y="839596"/>
                    <a:pt x="606565" y="796193"/>
                  </a:cubicBezTo>
                  <a:cubicBezTo>
                    <a:pt x="614703" y="774656"/>
                    <a:pt x="625273" y="754129"/>
                    <a:pt x="638088" y="735019"/>
                  </a:cubicBezTo>
                  <a:cubicBezTo>
                    <a:pt x="651090" y="716282"/>
                    <a:pt x="666571" y="699385"/>
                    <a:pt x="684109" y="684787"/>
                  </a:cubicBezTo>
                  <a:cubicBezTo>
                    <a:pt x="702209" y="670719"/>
                    <a:pt x="721899" y="658807"/>
                    <a:pt x="742758" y="649289"/>
                  </a:cubicBezTo>
                  <a:cubicBezTo>
                    <a:pt x="764319" y="640160"/>
                    <a:pt x="786348" y="632228"/>
                    <a:pt x="808751" y="625530"/>
                  </a:cubicBezTo>
                  <a:cubicBezTo>
                    <a:pt x="831527" y="618748"/>
                    <a:pt x="854585" y="612014"/>
                    <a:pt x="877690" y="604577"/>
                  </a:cubicBezTo>
                  <a:cubicBezTo>
                    <a:pt x="901075" y="596949"/>
                    <a:pt x="923758" y="587376"/>
                    <a:pt x="945552" y="575954"/>
                  </a:cubicBezTo>
                  <a:cubicBezTo>
                    <a:pt x="967394" y="563841"/>
                    <a:pt x="987599" y="548935"/>
                    <a:pt x="1005605" y="531616"/>
                  </a:cubicBezTo>
                  <a:cubicBezTo>
                    <a:pt x="1023238" y="513881"/>
                    <a:pt x="1038391" y="493854"/>
                    <a:pt x="1050645" y="472078"/>
                  </a:cubicBezTo>
                  <a:cubicBezTo>
                    <a:pt x="1074918" y="428489"/>
                    <a:pt x="1087125" y="380784"/>
                    <a:pt x="1100688" y="335417"/>
                  </a:cubicBezTo>
                  <a:cubicBezTo>
                    <a:pt x="1107236" y="312883"/>
                    <a:pt x="1115047" y="290728"/>
                    <a:pt x="1124073" y="269051"/>
                  </a:cubicBezTo>
                  <a:cubicBezTo>
                    <a:pt x="1133240" y="247925"/>
                    <a:pt x="1144885" y="227982"/>
                    <a:pt x="1158823" y="209653"/>
                  </a:cubicBezTo>
                  <a:cubicBezTo>
                    <a:pt x="1187820" y="173691"/>
                    <a:pt x="1225938" y="146224"/>
                    <a:pt x="1269247" y="130144"/>
                  </a:cubicBezTo>
                  <a:cubicBezTo>
                    <a:pt x="1312368" y="112372"/>
                    <a:pt x="1359419" y="102690"/>
                    <a:pt x="1405206" y="85853"/>
                  </a:cubicBezTo>
                  <a:cubicBezTo>
                    <a:pt x="1428451" y="77715"/>
                    <a:pt x="1450807" y="67150"/>
                    <a:pt x="1471854" y="54330"/>
                  </a:cubicBezTo>
                  <a:cubicBezTo>
                    <a:pt x="1477279" y="51285"/>
                    <a:pt x="1482470" y="47810"/>
                    <a:pt x="1487335" y="43947"/>
                  </a:cubicBezTo>
                  <a:lnTo>
                    <a:pt x="1494771" y="38335"/>
                  </a:lnTo>
                  <a:cubicBezTo>
                    <a:pt x="1497390" y="36618"/>
                    <a:pt x="1499775" y="34556"/>
                    <a:pt x="1501833" y="32208"/>
                  </a:cubicBezTo>
                  <a:cubicBezTo>
                    <a:pt x="1503984" y="29851"/>
                    <a:pt x="1505855" y="27283"/>
                    <a:pt x="1507492" y="24538"/>
                  </a:cubicBezTo>
                  <a:cubicBezTo>
                    <a:pt x="1509129" y="21732"/>
                    <a:pt x="1510252" y="18458"/>
                    <a:pt x="1511608" y="15511"/>
                  </a:cubicBezTo>
                  <a:cubicBezTo>
                    <a:pt x="1513993" y="9782"/>
                    <a:pt x="1517267" y="4460"/>
                    <a:pt x="1521336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D2A57C7C-6646-40D9-BFE1-0A953431EB01}"/>
                </a:ext>
              </a:extLst>
            </p:cNvPr>
            <p:cNvSpPr/>
            <p:nvPr/>
          </p:nvSpPr>
          <p:spPr>
            <a:xfrm>
              <a:off x="9614609" y="4824241"/>
              <a:ext cx="1416986" cy="1391309"/>
            </a:xfrm>
            <a:custGeom>
              <a:avLst/>
              <a:gdLst>
                <a:gd name="connsiteX0" fmla="*/ 1415918 w 1416986"/>
                <a:gd name="connsiteY0" fmla="*/ -63 h 1391309"/>
                <a:gd name="connsiteX1" fmla="*/ 1399641 w 1416986"/>
                <a:gd name="connsiteY1" fmla="*/ 4193 h 1391309"/>
                <a:gd name="connsiteX2" fmla="*/ 1390615 w 1416986"/>
                <a:gd name="connsiteY2" fmla="*/ 4193 h 1391309"/>
                <a:gd name="connsiteX3" fmla="*/ 1382290 w 1416986"/>
                <a:gd name="connsiteY3" fmla="*/ 5222 h 1391309"/>
                <a:gd name="connsiteX4" fmla="*/ 1351749 w 1416986"/>
                <a:gd name="connsiteY4" fmla="*/ 15792 h 1391309"/>
                <a:gd name="connsiteX5" fmla="*/ 1288984 w 1416986"/>
                <a:gd name="connsiteY5" fmla="*/ 35014 h 1391309"/>
                <a:gd name="connsiteX6" fmla="*/ 1164904 w 1416986"/>
                <a:gd name="connsiteY6" fmla="*/ 87724 h 1391309"/>
                <a:gd name="connsiteX7" fmla="*/ 1113457 w 1416986"/>
                <a:gd name="connsiteY7" fmla="*/ 133324 h 1391309"/>
                <a:gd name="connsiteX8" fmla="*/ 1107751 w 1416986"/>
                <a:gd name="connsiteY8" fmla="*/ 139779 h 1391309"/>
                <a:gd name="connsiteX9" fmla="*/ 1102653 w 1416986"/>
                <a:gd name="connsiteY9" fmla="*/ 146701 h 1391309"/>
                <a:gd name="connsiteX10" fmla="*/ 1092504 w 1416986"/>
                <a:gd name="connsiteY10" fmla="*/ 160731 h 1391309"/>
                <a:gd name="connsiteX11" fmla="*/ 1075620 w 1416986"/>
                <a:gd name="connsiteY11" fmla="*/ 190524 h 1391309"/>
                <a:gd name="connsiteX12" fmla="*/ 1031236 w 1416986"/>
                <a:gd name="connsiteY12" fmla="*/ 316802 h 1391309"/>
                <a:gd name="connsiteX13" fmla="*/ 978339 w 1416986"/>
                <a:gd name="connsiteY13" fmla="*/ 432932 h 1391309"/>
                <a:gd name="connsiteX14" fmla="*/ 934889 w 1416986"/>
                <a:gd name="connsiteY14" fmla="*/ 478345 h 1391309"/>
                <a:gd name="connsiteX15" fmla="*/ 880824 w 1416986"/>
                <a:gd name="connsiteY15" fmla="*/ 511084 h 1391309"/>
                <a:gd name="connsiteX16" fmla="*/ 757117 w 1416986"/>
                <a:gd name="connsiteY16" fmla="*/ 552569 h 1391309"/>
                <a:gd name="connsiteX17" fmla="*/ 693838 w 1416986"/>
                <a:gd name="connsiteY17" fmla="*/ 575954 h 1391309"/>
                <a:gd name="connsiteX18" fmla="*/ 635048 w 1416986"/>
                <a:gd name="connsiteY18" fmla="*/ 611499 h 1391309"/>
                <a:gd name="connsiteX19" fmla="*/ 553528 w 1416986"/>
                <a:gd name="connsiteY19" fmla="*/ 720894 h 1391309"/>
                <a:gd name="connsiteX20" fmla="*/ 511903 w 1416986"/>
                <a:gd name="connsiteY20" fmla="*/ 847173 h 1391309"/>
                <a:gd name="connsiteX21" fmla="*/ 488097 w 1416986"/>
                <a:gd name="connsiteY21" fmla="*/ 906804 h 1391309"/>
                <a:gd name="connsiteX22" fmla="*/ 472523 w 1416986"/>
                <a:gd name="connsiteY22" fmla="*/ 934305 h 1391309"/>
                <a:gd name="connsiteX23" fmla="*/ 463169 w 1416986"/>
                <a:gd name="connsiteY23" fmla="*/ 947026 h 1391309"/>
                <a:gd name="connsiteX24" fmla="*/ 453347 w 1416986"/>
                <a:gd name="connsiteY24" fmla="*/ 959280 h 1391309"/>
                <a:gd name="connsiteX25" fmla="*/ 442777 w 1416986"/>
                <a:gd name="connsiteY25" fmla="*/ 970879 h 1391309"/>
                <a:gd name="connsiteX26" fmla="*/ 431225 w 1416986"/>
                <a:gd name="connsiteY26" fmla="*/ 981449 h 1391309"/>
                <a:gd name="connsiteX27" fmla="*/ 406531 w 1416986"/>
                <a:gd name="connsiteY27" fmla="*/ 1000811 h 1391309"/>
                <a:gd name="connsiteX28" fmla="*/ 350407 w 1416986"/>
                <a:gd name="connsiteY28" fmla="*/ 1029855 h 1391309"/>
                <a:gd name="connsiteX29" fmla="*/ 225344 w 1416986"/>
                <a:gd name="connsiteY29" fmla="*/ 1070031 h 1391309"/>
                <a:gd name="connsiteX30" fmla="*/ 162579 w 1416986"/>
                <a:gd name="connsiteY30" fmla="*/ 1096409 h 1391309"/>
                <a:gd name="connsiteX31" fmla="*/ 133348 w 1416986"/>
                <a:gd name="connsiteY31" fmla="*/ 1114836 h 1391309"/>
                <a:gd name="connsiteX32" fmla="*/ 119317 w 1416986"/>
                <a:gd name="connsiteY32" fmla="*/ 1125079 h 1391309"/>
                <a:gd name="connsiteX33" fmla="*/ 106362 w 1416986"/>
                <a:gd name="connsiteY33" fmla="*/ 1136678 h 1391309"/>
                <a:gd name="connsiteX34" fmla="*/ 32465 w 1416986"/>
                <a:gd name="connsiteY34" fmla="*/ 1251591 h 1391309"/>
                <a:gd name="connsiteX35" fmla="*/ 11746 w 1416986"/>
                <a:gd name="connsiteY35" fmla="*/ 1315292 h 1391309"/>
                <a:gd name="connsiteX36" fmla="*/ 7069 w 1416986"/>
                <a:gd name="connsiteY36" fmla="*/ 1331147 h 1391309"/>
                <a:gd name="connsiteX37" fmla="*/ 6789 w 1416986"/>
                <a:gd name="connsiteY37" fmla="*/ 1332176 h 1391309"/>
                <a:gd name="connsiteX38" fmla="*/ 2112 w 1416986"/>
                <a:gd name="connsiteY38" fmla="*/ 1346955 h 1391309"/>
                <a:gd name="connsiteX39" fmla="*/ 335 w 1416986"/>
                <a:gd name="connsiteY39" fmla="*/ 1368703 h 1391309"/>
                <a:gd name="connsiteX40" fmla="*/ -1069 w 1416986"/>
                <a:gd name="connsiteY40" fmla="*/ 1391059 h 1391309"/>
                <a:gd name="connsiteX41" fmla="*/ -1069 w 1416986"/>
                <a:gd name="connsiteY41" fmla="*/ 1391059 h 1391309"/>
                <a:gd name="connsiteX42" fmla="*/ 13711 w 1416986"/>
                <a:gd name="connsiteY42" fmla="*/ 1373848 h 1391309"/>
                <a:gd name="connsiteX43" fmla="*/ 26666 w 1416986"/>
                <a:gd name="connsiteY43" fmla="*/ 1354485 h 1391309"/>
                <a:gd name="connsiteX44" fmla="*/ 33120 w 1416986"/>
                <a:gd name="connsiteY44" fmla="*/ 1334421 h 1391309"/>
                <a:gd name="connsiteX45" fmla="*/ 36581 w 1416986"/>
                <a:gd name="connsiteY45" fmla="*/ 1322635 h 1391309"/>
                <a:gd name="connsiteX46" fmla="*/ 56412 w 1416986"/>
                <a:gd name="connsiteY46" fmla="*/ 1260665 h 1391309"/>
                <a:gd name="connsiteX47" fmla="*/ 123620 w 1416986"/>
                <a:gd name="connsiteY47" fmla="*/ 1155292 h 1391309"/>
                <a:gd name="connsiteX48" fmla="*/ 135219 w 1416986"/>
                <a:gd name="connsiteY48" fmla="*/ 1144769 h 1391309"/>
                <a:gd name="connsiteX49" fmla="*/ 147847 w 1416986"/>
                <a:gd name="connsiteY49" fmla="*/ 1135415 h 1391309"/>
                <a:gd name="connsiteX50" fmla="*/ 174412 w 1416986"/>
                <a:gd name="connsiteY50" fmla="*/ 1118625 h 1391309"/>
                <a:gd name="connsiteX51" fmla="*/ 233249 w 1416986"/>
                <a:gd name="connsiteY51" fmla="*/ 1093696 h 1391309"/>
                <a:gd name="connsiteX52" fmla="*/ 359527 w 1416986"/>
                <a:gd name="connsiteY52" fmla="*/ 1052913 h 1391309"/>
                <a:gd name="connsiteX53" fmla="*/ 420328 w 1416986"/>
                <a:gd name="connsiteY53" fmla="*/ 1021203 h 1391309"/>
                <a:gd name="connsiteX54" fmla="*/ 447501 w 1416986"/>
                <a:gd name="connsiteY54" fmla="*/ 999829 h 1391309"/>
                <a:gd name="connsiteX55" fmla="*/ 460175 w 1416986"/>
                <a:gd name="connsiteY55" fmla="*/ 987996 h 1391309"/>
                <a:gd name="connsiteX56" fmla="*/ 471728 w 1416986"/>
                <a:gd name="connsiteY56" fmla="*/ 975088 h 1391309"/>
                <a:gd name="connsiteX57" fmla="*/ 482532 w 1416986"/>
                <a:gd name="connsiteY57" fmla="*/ 961571 h 1391309"/>
                <a:gd name="connsiteX58" fmla="*/ 492681 w 1416986"/>
                <a:gd name="connsiteY58" fmla="*/ 947540 h 1391309"/>
                <a:gd name="connsiteX59" fmla="*/ 509518 w 1416986"/>
                <a:gd name="connsiteY59" fmla="*/ 917561 h 1391309"/>
                <a:gd name="connsiteX60" fmla="*/ 534586 w 1416986"/>
                <a:gd name="connsiteY60" fmla="*/ 854562 h 1391309"/>
                <a:gd name="connsiteX61" fmla="*/ 575136 w 1416986"/>
                <a:gd name="connsiteY61" fmla="*/ 730061 h 1391309"/>
                <a:gd name="connsiteX62" fmla="*/ 649453 w 1416986"/>
                <a:gd name="connsiteY62" fmla="*/ 629646 h 1391309"/>
                <a:gd name="connsiteX63" fmla="*/ 703425 w 1416986"/>
                <a:gd name="connsiteY63" fmla="*/ 596907 h 1391309"/>
                <a:gd name="connsiteX64" fmla="*/ 763852 w 1416986"/>
                <a:gd name="connsiteY64" fmla="*/ 574364 h 1391309"/>
                <a:gd name="connsiteX65" fmla="*/ 890131 w 1416986"/>
                <a:gd name="connsiteY65" fmla="*/ 531523 h 1391309"/>
                <a:gd name="connsiteX66" fmla="*/ 948734 w 1416986"/>
                <a:gd name="connsiteY66" fmla="*/ 495837 h 1391309"/>
                <a:gd name="connsiteX67" fmla="*/ 996158 w 1416986"/>
                <a:gd name="connsiteY67" fmla="*/ 445981 h 1391309"/>
                <a:gd name="connsiteX68" fmla="*/ 1029739 w 1416986"/>
                <a:gd name="connsiteY68" fmla="*/ 386349 h 1391309"/>
                <a:gd name="connsiteX69" fmla="*/ 1052001 w 1416986"/>
                <a:gd name="connsiteY69" fmla="*/ 322882 h 1391309"/>
                <a:gd name="connsiteX70" fmla="*/ 1094702 w 1416986"/>
                <a:gd name="connsiteY70" fmla="*/ 200018 h 1391309"/>
                <a:gd name="connsiteX71" fmla="*/ 1110276 w 1416986"/>
                <a:gd name="connsiteY71" fmla="*/ 172330 h 1391309"/>
                <a:gd name="connsiteX72" fmla="*/ 1119630 w 1416986"/>
                <a:gd name="connsiteY72" fmla="*/ 159515 h 1391309"/>
                <a:gd name="connsiteX73" fmla="*/ 1124307 w 1416986"/>
                <a:gd name="connsiteY73" fmla="*/ 153155 h 1391309"/>
                <a:gd name="connsiteX74" fmla="*/ 1129545 w 1416986"/>
                <a:gd name="connsiteY74" fmla="*/ 147215 h 1391309"/>
                <a:gd name="connsiteX75" fmla="*/ 1176596 w 1416986"/>
                <a:gd name="connsiteY75" fmla="*/ 105122 h 1391309"/>
                <a:gd name="connsiteX76" fmla="*/ 1294690 w 1416986"/>
                <a:gd name="connsiteY76" fmla="*/ 54891 h 1391309"/>
                <a:gd name="connsiteX77" fmla="*/ 1358250 w 1416986"/>
                <a:gd name="connsiteY77" fmla="*/ 35435 h 1391309"/>
                <a:gd name="connsiteX78" fmla="*/ 1374058 w 1416986"/>
                <a:gd name="connsiteY78" fmla="*/ 29635 h 1391309"/>
                <a:gd name="connsiteX79" fmla="*/ 1389446 w 1416986"/>
                <a:gd name="connsiteY79" fmla="*/ 22714 h 1391309"/>
                <a:gd name="connsiteX80" fmla="*/ 1402307 w 1416986"/>
                <a:gd name="connsiteY80" fmla="*/ 10273 h 1391309"/>
                <a:gd name="connsiteX81" fmla="*/ 1415590 w 1416986"/>
                <a:gd name="connsiteY81" fmla="*/ -250 h 1391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416986" h="1391309">
                  <a:moveTo>
                    <a:pt x="1415918" y="-63"/>
                  </a:moveTo>
                  <a:cubicBezTo>
                    <a:pt x="1410772" y="2317"/>
                    <a:pt x="1405301" y="3758"/>
                    <a:pt x="1399641" y="4193"/>
                  </a:cubicBezTo>
                  <a:cubicBezTo>
                    <a:pt x="1396695" y="4193"/>
                    <a:pt x="1393655" y="4193"/>
                    <a:pt x="1390615" y="4193"/>
                  </a:cubicBezTo>
                  <a:cubicBezTo>
                    <a:pt x="1387809" y="4244"/>
                    <a:pt x="1385002" y="4590"/>
                    <a:pt x="1382290" y="5222"/>
                  </a:cubicBezTo>
                  <a:cubicBezTo>
                    <a:pt x="1371907" y="8215"/>
                    <a:pt x="1362132" y="12565"/>
                    <a:pt x="1351749" y="15792"/>
                  </a:cubicBezTo>
                  <a:cubicBezTo>
                    <a:pt x="1331264" y="22807"/>
                    <a:pt x="1310217" y="28747"/>
                    <a:pt x="1288984" y="35014"/>
                  </a:cubicBezTo>
                  <a:cubicBezTo>
                    <a:pt x="1246891" y="47548"/>
                    <a:pt x="1203021" y="61626"/>
                    <a:pt x="1164904" y="87724"/>
                  </a:cubicBezTo>
                  <a:cubicBezTo>
                    <a:pt x="1145728" y="100450"/>
                    <a:pt x="1128376" y="115800"/>
                    <a:pt x="1113457" y="133324"/>
                  </a:cubicBezTo>
                  <a:cubicBezTo>
                    <a:pt x="1111539" y="135476"/>
                    <a:pt x="1109575" y="137580"/>
                    <a:pt x="1107751" y="139779"/>
                  </a:cubicBezTo>
                  <a:lnTo>
                    <a:pt x="1102653" y="146701"/>
                  </a:lnTo>
                  <a:lnTo>
                    <a:pt x="1092504" y="160731"/>
                  </a:lnTo>
                  <a:cubicBezTo>
                    <a:pt x="1086377" y="170361"/>
                    <a:pt x="1080718" y="180305"/>
                    <a:pt x="1075620" y="190524"/>
                  </a:cubicBezTo>
                  <a:cubicBezTo>
                    <a:pt x="1054854" y="231307"/>
                    <a:pt x="1044004" y="274990"/>
                    <a:pt x="1031236" y="316802"/>
                  </a:cubicBezTo>
                  <a:cubicBezTo>
                    <a:pt x="1018467" y="358615"/>
                    <a:pt x="1003548" y="399117"/>
                    <a:pt x="978339" y="432932"/>
                  </a:cubicBezTo>
                  <a:cubicBezTo>
                    <a:pt x="965898" y="449905"/>
                    <a:pt x="951306" y="465170"/>
                    <a:pt x="934889" y="478345"/>
                  </a:cubicBezTo>
                  <a:cubicBezTo>
                    <a:pt x="918193" y="491324"/>
                    <a:pt x="900046" y="502310"/>
                    <a:pt x="880824" y="511084"/>
                  </a:cubicBezTo>
                  <a:cubicBezTo>
                    <a:pt x="842145" y="529138"/>
                    <a:pt x="799631" y="539146"/>
                    <a:pt x="757117" y="552569"/>
                  </a:cubicBezTo>
                  <a:cubicBezTo>
                    <a:pt x="735556" y="558972"/>
                    <a:pt x="714417" y="566782"/>
                    <a:pt x="693838" y="575954"/>
                  </a:cubicBezTo>
                  <a:cubicBezTo>
                    <a:pt x="672978" y="585561"/>
                    <a:pt x="653241" y="597482"/>
                    <a:pt x="635048" y="611499"/>
                  </a:cubicBezTo>
                  <a:cubicBezTo>
                    <a:pt x="599176" y="640613"/>
                    <a:pt x="571161" y="678212"/>
                    <a:pt x="553528" y="720894"/>
                  </a:cubicBezTo>
                  <a:cubicBezTo>
                    <a:pt x="535429" y="762706"/>
                    <a:pt x="525467" y="806202"/>
                    <a:pt x="511903" y="847173"/>
                  </a:cubicBezTo>
                  <a:cubicBezTo>
                    <a:pt x="505543" y="867639"/>
                    <a:pt x="497591" y="887577"/>
                    <a:pt x="488097" y="906804"/>
                  </a:cubicBezTo>
                  <a:cubicBezTo>
                    <a:pt x="483748" y="916532"/>
                    <a:pt x="477761" y="925138"/>
                    <a:pt x="472523" y="934305"/>
                  </a:cubicBezTo>
                  <a:lnTo>
                    <a:pt x="463169" y="947026"/>
                  </a:lnTo>
                  <a:cubicBezTo>
                    <a:pt x="460222" y="951366"/>
                    <a:pt x="456949" y="955463"/>
                    <a:pt x="453347" y="959280"/>
                  </a:cubicBezTo>
                  <a:lnTo>
                    <a:pt x="442777" y="970879"/>
                  </a:lnTo>
                  <a:cubicBezTo>
                    <a:pt x="439129" y="974620"/>
                    <a:pt x="435013" y="977894"/>
                    <a:pt x="431225" y="981449"/>
                  </a:cubicBezTo>
                  <a:cubicBezTo>
                    <a:pt x="423461" y="988459"/>
                    <a:pt x="415183" y="994928"/>
                    <a:pt x="406531" y="1000811"/>
                  </a:cubicBezTo>
                  <a:cubicBezTo>
                    <a:pt x="388898" y="1012420"/>
                    <a:pt x="370097" y="1022157"/>
                    <a:pt x="350407" y="1029855"/>
                  </a:cubicBezTo>
                  <a:cubicBezTo>
                    <a:pt x="310886" y="1046084"/>
                    <a:pt x="267765" y="1055392"/>
                    <a:pt x="225344" y="1070031"/>
                  </a:cubicBezTo>
                  <a:cubicBezTo>
                    <a:pt x="203783" y="1077191"/>
                    <a:pt x="182784" y="1086012"/>
                    <a:pt x="162579" y="1096409"/>
                  </a:cubicBezTo>
                  <a:cubicBezTo>
                    <a:pt x="152477" y="1101989"/>
                    <a:pt x="142749" y="1108139"/>
                    <a:pt x="133348" y="1114836"/>
                  </a:cubicBezTo>
                  <a:lnTo>
                    <a:pt x="119317" y="1125079"/>
                  </a:lnTo>
                  <a:lnTo>
                    <a:pt x="106362" y="1136678"/>
                  </a:lnTo>
                  <a:cubicBezTo>
                    <a:pt x="71939" y="1167873"/>
                    <a:pt x="48040" y="1209358"/>
                    <a:pt x="32465" y="1251591"/>
                  </a:cubicBezTo>
                  <a:cubicBezTo>
                    <a:pt x="24374" y="1272731"/>
                    <a:pt x="18061" y="1294198"/>
                    <a:pt x="11746" y="1315292"/>
                  </a:cubicBezTo>
                  <a:cubicBezTo>
                    <a:pt x="10109" y="1320577"/>
                    <a:pt x="8519" y="1325815"/>
                    <a:pt x="7069" y="1331147"/>
                  </a:cubicBezTo>
                  <a:lnTo>
                    <a:pt x="6789" y="1332176"/>
                  </a:lnTo>
                  <a:lnTo>
                    <a:pt x="2112" y="1346955"/>
                  </a:lnTo>
                  <a:cubicBezTo>
                    <a:pt x="-601" y="1353872"/>
                    <a:pt x="-1209" y="1361435"/>
                    <a:pt x="335" y="1368703"/>
                  </a:cubicBezTo>
                  <a:cubicBezTo>
                    <a:pt x="2159" y="1376125"/>
                    <a:pt x="1644" y="1383922"/>
                    <a:pt x="-1069" y="1391059"/>
                  </a:cubicBezTo>
                  <a:lnTo>
                    <a:pt x="-1069" y="1391059"/>
                  </a:lnTo>
                  <a:cubicBezTo>
                    <a:pt x="2252" y="1384114"/>
                    <a:pt x="7350" y="1378178"/>
                    <a:pt x="13711" y="1373848"/>
                  </a:cubicBezTo>
                  <a:cubicBezTo>
                    <a:pt x="19978" y="1368937"/>
                    <a:pt x="24515" y="1362155"/>
                    <a:pt x="26666" y="1354485"/>
                  </a:cubicBezTo>
                  <a:cubicBezTo>
                    <a:pt x="29285" y="1347956"/>
                    <a:pt x="31437" y="1341254"/>
                    <a:pt x="33120" y="1334421"/>
                  </a:cubicBezTo>
                  <a:cubicBezTo>
                    <a:pt x="34336" y="1330492"/>
                    <a:pt x="35506" y="1326563"/>
                    <a:pt x="36581" y="1322635"/>
                  </a:cubicBezTo>
                  <a:cubicBezTo>
                    <a:pt x="42662" y="1301495"/>
                    <a:pt x="48975" y="1280542"/>
                    <a:pt x="56412" y="1260665"/>
                  </a:cubicBezTo>
                  <a:cubicBezTo>
                    <a:pt x="71238" y="1220536"/>
                    <a:pt x="92471" y="1183401"/>
                    <a:pt x="123620" y="1155292"/>
                  </a:cubicBezTo>
                  <a:lnTo>
                    <a:pt x="135219" y="1144769"/>
                  </a:lnTo>
                  <a:lnTo>
                    <a:pt x="147847" y="1135415"/>
                  </a:lnTo>
                  <a:cubicBezTo>
                    <a:pt x="156359" y="1129311"/>
                    <a:pt x="165245" y="1123708"/>
                    <a:pt x="174412" y="1118625"/>
                  </a:cubicBezTo>
                  <a:cubicBezTo>
                    <a:pt x="193354" y="1108817"/>
                    <a:pt x="213044" y="1100482"/>
                    <a:pt x="233249" y="1093696"/>
                  </a:cubicBezTo>
                  <a:cubicBezTo>
                    <a:pt x="274079" y="1079665"/>
                    <a:pt x="317434" y="1070031"/>
                    <a:pt x="359527" y="1052913"/>
                  </a:cubicBezTo>
                  <a:cubicBezTo>
                    <a:pt x="380901" y="1044578"/>
                    <a:pt x="401292" y="1033948"/>
                    <a:pt x="420328" y="1021203"/>
                  </a:cubicBezTo>
                  <a:cubicBezTo>
                    <a:pt x="429869" y="1014730"/>
                    <a:pt x="438942" y="1007588"/>
                    <a:pt x="447501" y="999829"/>
                  </a:cubicBezTo>
                  <a:cubicBezTo>
                    <a:pt x="451757" y="995901"/>
                    <a:pt x="456247" y="992206"/>
                    <a:pt x="460175" y="987996"/>
                  </a:cubicBezTo>
                  <a:lnTo>
                    <a:pt x="471728" y="975088"/>
                  </a:lnTo>
                  <a:cubicBezTo>
                    <a:pt x="475657" y="970860"/>
                    <a:pt x="479258" y="966342"/>
                    <a:pt x="482532" y="961571"/>
                  </a:cubicBezTo>
                  <a:cubicBezTo>
                    <a:pt x="485946" y="956894"/>
                    <a:pt x="489407" y="952217"/>
                    <a:pt x="492681" y="947540"/>
                  </a:cubicBezTo>
                  <a:cubicBezTo>
                    <a:pt x="498807" y="937850"/>
                    <a:pt x="504420" y="927841"/>
                    <a:pt x="509518" y="917561"/>
                  </a:cubicBezTo>
                  <a:cubicBezTo>
                    <a:pt x="519480" y="897225"/>
                    <a:pt x="527852" y="876165"/>
                    <a:pt x="534586" y="854562"/>
                  </a:cubicBezTo>
                  <a:cubicBezTo>
                    <a:pt x="548056" y="811955"/>
                    <a:pt x="558439" y="769347"/>
                    <a:pt x="575136" y="730061"/>
                  </a:cubicBezTo>
                  <a:cubicBezTo>
                    <a:pt x="591131" y="690900"/>
                    <a:pt x="616668" y="656375"/>
                    <a:pt x="649453" y="629646"/>
                  </a:cubicBezTo>
                  <a:cubicBezTo>
                    <a:pt x="666103" y="616691"/>
                    <a:pt x="684250" y="605704"/>
                    <a:pt x="703425" y="596907"/>
                  </a:cubicBezTo>
                  <a:cubicBezTo>
                    <a:pt x="723069" y="588086"/>
                    <a:pt x="743227" y="580556"/>
                    <a:pt x="763852" y="574364"/>
                  </a:cubicBezTo>
                  <a:cubicBezTo>
                    <a:pt x="805243" y="561268"/>
                    <a:pt x="848880" y="550698"/>
                    <a:pt x="890131" y="531523"/>
                  </a:cubicBezTo>
                  <a:cubicBezTo>
                    <a:pt x="910943" y="521907"/>
                    <a:pt x="930634" y="509934"/>
                    <a:pt x="948734" y="495837"/>
                  </a:cubicBezTo>
                  <a:cubicBezTo>
                    <a:pt x="966646" y="481376"/>
                    <a:pt x="982595" y="464614"/>
                    <a:pt x="996158" y="445981"/>
                  </a:cubicBezTo>
                  <a:cubicBezTo>
                    <a:pt x="1009674" y="427516"/>
                    <a:pt x="1020993" y="407499"/>
                    <a:pt x="1029739" y="386349"/>
                  </a:cubicBezTo>
                  <a:cubicBezTo>
                    <a:pt x="1038251" y="365593"/>
                    <a:pt x="1045687" y="344406"/>
                    <a:pt x="1052001" y="322882"/>
                  </a:cubicBezTo>
                  <a:cubicBezTo>
                    <a:pt x="1064629" y="280462"/>
                    <a:pt x="1075620" y="238089"/>
                    <a:pt x="1094702" y="200018"/>
                  </a:cubicBezTo>
                  <a:cubicBezTo>
                    <a:pt x="1099005" y="190243"/>
                    <a:pt x="1105085" y="181591"/>
                    <a:pt x="1110276" y="172330"/>
                  </a:cubicBezTo>
                  <a:lnTo>
                    <a:pt x="1119630" y="159515"/>
                  </a:lnTo>
                  <a:lnTo>
                    <a:pt x="1124307" y="153155"/>
                  </a:lnTo>
                  <a:cubicBezTo>
                    <a:pt x="1125991" y="151097"/>
                    <a:pt x="1127815" y="149226"/>
                    <a:pt x="1129545" y="147215"/>
                  </a:cubicBezTo>
                  <a:cubicBezTo>
                    <a:pt x="1143202" y="131094"/>
                    <a:pt x="1159057" y="116932"/>
                    <a:pt x="1176596" y="105122"/>
                  </a:cubicBezTo>
                  <a:cubicBezTo>
                    <a:pt x="1211393" y="80942"/>
                    <a:pt x="1252877" y="67706"/>
                    <a:pt x="1294690" y="54891"/>
                  </a:cubicBezTo>
                  <a:cubicBezTo>
                    <a:pt x="1315690" y="48718"/>
                    <a:pt x="1336783" y="42638"/>
                    <a:pt x="1358250" y="35435"/>
                  </a:cubicBezTo>
                  <a:cubicBezTo>
                    <a:pt x="1363582" y="33798"/>
                    <a:pt x="1368820" y="31740"/>
                    <a:pt x="1374058" y="29635"/>
                  </a:cubicBezTo>
                  <a:cubicBezTo>
                    <a:pt x="1379437" y="27882"/>
                    <a:pt x="1384581" y="25562"/>
                    <a:pt x="1389446" y="22714"/>
                  </a:cubicBezTo>
                  <a:cubicBezTo>
                    <a:pt x="1394450" y="19365"/>
                    <a:pt x="1398800" y="15151"/>
                    <a:pt x="1402307" y="10273"/>
                  </a:cubicBezTo>
                  <a:cubicBezTo>
                    <a:pt x="1406095" y="6007"/>
                    <a:pt x="1410586" y="2448"/>
                    <a:pt x="1415590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88C803A7-5A0D-40A9-999C-D41F1F36980F}"/>
                </a:ext>
              </a:extLst>
            </p:cNvPr>
            <p:cNvSpPr/>
            <p:nvPr/>
          </p:nvSpPr>
          <p:spPr>
            <a:xfrm>
              <a:off x="9670312" y="4900990"/>
              <a:ext cx="1317646" cy="1314700"/>
            </a:xfrm>
            <a:custGeom>
              <a:avLst/>
              <a:gdLst>
                <a:gd name="connsiteX0" fmla="*/ 1316578 w 1317646"/>
                <a:gd name="connsiteY0" fmla="*/ -63 h 1314700"/>
                <a:gd name="connsiteX1" fmla="*/ 1300957 w 1317646"/>
                <a:gd name="connsiteY1" fmla="*/ 1480 h 1314700"/>
                <a:gd name="connsiteX2" fmla="*/ 1284353 w 1317646"/>
                <a:gd name="connsiteY2" fmla="*/ -250 h 1314700"/>
                <a:gd name="connsiteX3" fmla="*/ 1269200 w 1317646"/>
                <a:gd name="connsiteY3" fmla="*/ 3024 h 1314700"/>
                <a:gd name="connsiteX4" fmla="*/ 1254281 w 1317646"/>
                <a:gd name="connsiteY4" fmla="*/ 7420 h 1314700"/>
                <a:gd name="connsiteX5" fmla="*/ 1195351 w 1317646"/>
                <a:gd name="connsiteY5" fmla="*/ 29449 h 1314700"/>
                <a:gd name="connsiteX6" fmla="*/ 1094281 w 1317646"/>
                <a:gd name="connsiteY6" fmla="*/ 106525 h 1314700"/>
                <a:gd name="connsiteX7" fmla="*/ 1037456 w 1317646"/>
                <a:gd name="connsiteY7" fmla="*/ 219568 h 1314700"/>
                <a:gd name="connsiteX8" fmla="*/ 999665 w 1317646"/>
                <a:gd name="connsiteY8" fmla="*/ 336025 h 1314700"/>
                <a:gd name="connsiteX9" fmla="*/ 972679 w 1317646"/>
                <a:gd name="connsiteY9" fmla="*/ 388875 h 1314700"/>
                <a:gd name="connsiteX10" fmla="*/ 934328 w 1317646"/>
                <a:gd name="connsiteY10" fmla="*/ 433353 h 1314700"/>
                <a:gd name="connsiteX11" fmla="*/ 831808 w 1317646"/>
                <a:gd name="connsiteY11" fmla="*/ 491348 h 1314700"/>
                <a:gd name="connsiteX12" fmla="*/ 714089 w 1317646"/>
                <a:gd name="connsiteY12" fmla="*/ 528390 h 1314700"/>
                <a:gd name="connsiteX13" fmla="*/ 604648 w 1317646"/>
                <a:gd name="connsiteY13" fmla="*/ 592932 h 1314700"/>
                <a:gd name="connsiteX14" fmla="*/ 535381 w 1317646"/>
                <a:gd name="connsiteY14" fmla="*/ 699801 h 1314700"/>
                <a:gd name="connsiteX15" fmla="*/ 497685 w 1317646"/>
                <a:gd name="connsiteY15" fmla="*/ 817848 h 1314700"/>
                <a:gd name="connsiteX16" fmla="*/ 443245 w 1317646"/>
                <a:gd name="connsiteY16" fmla="*/ 922566 h 1314700"/>
                <a:gd name="connsiteX17" fmla="*/ 349097 w 1317646"/>
                <a:gd name="connsiteY17" fmla="*/ 991270 h 1314700"/>
                <a:gd name="connsiteX18" fmla="*/ 233389 w 1317646"/>
                <a:gd name="connsiteY18" fmla="*/ 1029388 h 1314700"/>
                <a:gd name="connsiteX19" fmla="*/ 174084 w 1317646"/>
                <a:gd name="connsiteY19" fmla="*/ 1050762 h 1314700"/>
                <a:gd name="connsiteX20" fmla="*/ 118288 w 1317646"/>
                <a:gd name="connsiteY20" fmla="*/ 1082565 h 1314700"/>
                <a:gd name="connsiteX21" fmla="*/ 105333 w 1317646"/>
                <a:gd name="connsiteY21" fmla="*/ 1092247 h 1314700"/>
                <a:gd name="connsiteX22" fmla="*/ 93313 w 1317646"/>
                <a:gd name="connsiteY22" fmla="*/ 1103097 h 1314700"/>
                <a:gd name="connsiteX23" fmla="*/ 81667 w 1317646"/>
                <a:gd name="connsiteY23" fmla="*/ 1114369 h 1314700"/>
                <a:gd name="connsiteX24" fmla="*/ 70910 w 1317646"/>
                <a:gd name="connsiteY24" fmla="*/ 1126482 h 1314700"/>
                <a:gd name="connsiteX25" fmla="*/ 35786 w 1317646"/>
                <a:gd name="connsiteY25" fmla="*/ 1180548 h 1314700"/>
                <a:gd name="connsiteX26" fmla="*/ 11887 w 1317646"/>
                <a:gd name="connsiteY26" fmla="*/ 1239338 h 1314700"/>
                <a:gd name="connsiteX27" fmla="*/ 7210 w 1317646"/>
                <a:gd name="connsiteY27" fmla="*/ 1254257 h 1314700"/>
                <a:gd name="connsiteX28" fmla="*/ 6040 w 1317646"/>
                <a:gd name="connsiteY28" fmla="*/ 1258233 h 1314700"/>
                <a:gd name="connsiteX29" fmla="*/ 2159 w 1317646"/>
                <a:gd name="connsiteY29" fmla="*/ 1270346 h 1314700"/>
                <a:gd name="connsiteX30" fmla="*/ 381 w 1317646"/>
                <a:gd name="connsiteY30" fmla="*/ 1292094 h 1314700"/>
                <a:gd name="connsiteX31" fmla="*/ -1069 w 1317646"/>
                <a:gd name="connsiteY31" fmla="*/ 1314450 h 1314700"/>
                <a:gd name="connsiteX32" fmla="*/ -1069 w 1317646"/>
                <a:gd name="connsiteY32" fmla="*/ 1314450 h 1314700"/>
                <a:gd name="connsiteX33" fmla="*/ 7350 w 1317646"/>
                <a:gd name="connsiteY33" fmla="*/ 1302711 h 1314700"/>
                <a:gd name="connsiteX34" fmla="*/ 7864 w 1317646"/>
                <a:gd name="connsiteY34" fmla="*/ 1302711 h 1314700"/>
                <a:gd name="connsiteX35" fmla="*/ 7864 w 1317646"/>
                <a:gd name="connsiteY35" fmla="*/ 1301916 h 1314700"/>
                <a:gd name="connsiteX36" fmla="*/ 13617 w 1317646"/>
                <a:gd name="connsiteY36" fmla="*/ 1297239 h 1314700"/>
                <a:gd name="connsiteX37" fmla="*/ 26619 w 1317646"/>
                <a:gd name="connsiteY37" fmla="*/ 1277876 h 1314700"/>
                <a:gd name="connsiteX38" fmla="*/ 33213 w 1317646"/>
                <a:gd name="connsiteY38" fmla="*/ 1257204 h 1314700"/>
                <a:gd name="connsiteX39" fmla="*/ 36441 w 1317646"/>
                <a:gd name="connsiteY39" fmla="*/ 1247522 h 1314700"/>
                <a:gd name="connsiteX40" fmla="*/ 58516 w 1317646"/>
                <a:gd name="connsiteY40" fmla="*/ 1192007 h 1314700"/>
                <a:gd name="connsiteX41" fmla="*/ 90273 w 1317646"/>
                <a:gd name="connsiteY41" fmla="*/ 1142758 h 1314700"/>
                <a:gd name="connsiteX42" fmla="*/ 99954 w 1317646"/>
                <a:gd name="connsiteY42" fmla="*/ 1131861 h 1314700"/>
                <a:gd name="connsiteX43" fmla="*/ 110430 w 1317646"/>
                <a:gd name="connsiteY43" fmla="*/ 1121665 h 1314700"/>
                <a:gd name="connsiteX44" fmla="*/ 121281 w 1317646"/>
                <a:gd name="connsiteY44" fmla="*/ 1111890 h 1314700"/>
                <a:gd name="connsiteX45" fmla="*/ 132974 w 1317646"/>
                <a:gd name="connsiteY45" fmla="*/ 1103051 h 1314700"/>
                <a:gd name="connsiteX46" fmla="*/ 240544 w 1317646"/>
                <a:gd name="connsiteY46" fmla="*/ 1053334 h 1314700"/>
                <a:gd name="connsiteX47" fmla="*/ 358872 w 1317646"/>
                <a:gd name="connsiteY47" fmla="*/ 1014047 h 1314700"/>
                <a:gd name="connsiteX48" fmla="*/ 461765 w 1317646"/>
                <a:gd name="connsiteY48" fmla="*/ 938140 h 1314700"/>
                <a:gd name="connsiteX49" fmla="*/ 520368 w 1317646"/>
                <a:gd name="connsiteY49" fmla="*/ 825425 h 1314700"/>
                <a:gd name="connsiteX50" fmla="*/ 557410 w 1317646"/>
                <a:gd name="connsiteY50" fmla="*/ 708500 h 1314700"/>
                <a:gd name="connsiteX51" fmla="*/ 620690 w 1317646"/>
                <a:gd name="connsiteY51" fmla="*/ 609956 h 1314700"/>
                <a:gd name="connsiteX52" fmla="*/ 721946 w 1317646"/>
                <a:gd name="connsiteY52" fmla="*/ 550231 h 1314700"/>
                <a:gd name="connsiteX53" fmla="*/ 839339 w 1317646"/>
                <a:gd name="connsiteY53" fmla="*/ 512815 h 1314700"/>
                <a:gd name="connsiteX54" fmla="*/ 897473 w 1317646"/>
                <a:gd name="connsiteY54" fmla="*/ 487419 h 1314700"/>
                <a:gd name="connsiteX55" fmla="*/ 924553 w 1317646"/>
                <a:gd name="connsiteY55" fmla="*/ 470208 h 1314700"/>
                <a:gd name="connsiteX56" fmla="*/ 937555 w 1317646"/>
                <a:gd name="connsiteY56" fmla="*/ 460854 h 1314700"/>
                <a:gd name="connsiteX57" fmla="*/ 949575 w 1317646"/>
                <a:gd name="connsiteY57" fmla="*/ 450143 h 1314700"/>
                <a:gd name="connsiteX58" fmla="*/ 991387 w 1317646"/>
                <a:gd name="connsiteY58" fmla="*/ 401316 h 1314700"/>
                <a:gd name="connsiteX59" fmla="*/ 1020385 w 1317646"/>
                <a:gd name="connsiteY59" fmla="*/ 344537 h 1314700"/>
                <a:gd name="connsiteX60" fmla="*/ 1058175 w 1317646"/>
                <a:gd name="connsiteY60" fmla="*/ 226350 h 1314700"/>
                <a:gd name="connsiteX61" fmla="*/ 1110978 w 1317646"/>
                <a:gd name="connsiteY61" fmla="*/ 120042 h 1314700"/>
                <a:gd name="connsiteX62" fmla="*/ 1204097 w 1317646"/>
                <a:gd name="connsiteY62" fmla="*/ 48905 h 1314700"/>
                <a:gd name="connsiteX63" fmla="*/ 1260595 w 1317646"/>
                <a:gd name="connsiteY63" fmla="*/ 27859 h 1314700"/>
                <a:gd name="connsiteX64" fmla="*/ 1275140 w 1317646"/>
                <a:gd name="connsiteY64" fmla="*/ 23182 h 1314700"/>
                <a:gd name="connsiteX65" fmla="*/ 1289545 w 1317646"/>
                <a:gd name="connsiteY65" fmla="*/ 17663 h 1314700"/>
                <a:gd name="connsiteX66" fmla="*/ 1302547 w 1317646"/>
                <a:gd name="connsiteY66" fmla="*/ 7280 h 1314700"/>
                <a:gd name="connsiteX67" fmla="*/ 1316578 w 1317646"/>
                <a:gd name="connsiteY67" fmla="*/ -16 h 1314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317646" h="1314700">
                  <a:moveTo>
                    <a:pt x="1316578" y="-63"/>
                  </a:moveTo>
                  <a:cubicBezTo>
                    <a:pt x="1311480" y="1256"/>
                    <a:pt x="1306195" y="1775"/>
                    <a:pt x="1300957" y="1480"/>
                  </a:cubicBezTo>
                  <a:cubicBezTo>
                    <a:pt x="1295485" y="321"/>
                    <a:pt x="1289919" y="-260"/>
                    <a:pt x="1284353" y="-250"/>
                  </a:cubicBezTo>
                  <a:cubicBezTo>
                    <a:pt x="1279209" y="222"/>
                    <a:pt x="1274111" y="1321"/>
                    <a:pt x="1269200" y="3024"/>
                  </a:cubicBezTo>
                  <a:lnTo>
                    <a:pt x="1254281" y="7420"/>
                  </a:lnTo>
                  <a:cubicBezTo>
                    <a:pt x="1234216" y="13556"/>
                    <a:pt x="1214526" y="20913"/>
                    <a:pt x="1195351" y="29449"/>
                  </a:cubicBezTo>
                  <a:cubicBezTo>
                    <a:pt x="1155970" y="46641"/>
                    <a:pt x="1121267" y="73080"/>
                    <a:pt x="1094281" y="106525"/>
                  </a:cubicBezTo>
                  <a:cubicBezTo>
                    <a:pt x="1067482" y="140246"/>
                    <a:pt x="1049943" y="179954"/>
                    <a:pt x="1037456" y="219568"/>
                  </a:cubicBezTo>
                  <a:cubicBezTo>
                    <a:pt x="1024968" y="259182"/>
                    <a:pt x="1015100" y="299077"/>
                    <a:pt x="999665" y="336025"/>
                  </a:cubicBezTo>
                  <a:cubicBezTo>
                    <a:pt x="992323" y="354443"/>
                    <a:pt x="983296" y="372136"/>
                    <a:pt x="972679" y="388875"/>
                  </a:cubicBezTo>
                  <a:cubicBezTo>
                    <a:pt x="961688" y="405165"/>
                    <a:pt x="948827" y="420094"/>
                    <a:pt x="934328" y="433353"/>
                  </a:cubicBezTo>
                  <a:cubicBezTo>
                    <a:pt x="905518" y="460105"/>
                    <a:pt x="869832" y="478346"/>
                    <a:pt x="831808" y="491348"/>
                  </a:cubicBezTo>
                  <a:cubicBezTo>
                    <a:pt x="793784" y="504350"/>
                    <a:pt x="753609" y="514031"/>
                    <a:pt x="714089" y="528390"/>
                  </a:cubicBezTo>
                  <a:cubicBezTo>
                    <a:pt x="673446" y="541915"/>
                    <a:pt x="636170" y="563916"/>
                    <a:pt x="604648" y="592932"/>
                  </a:cubicBezTo>
                  <a:cubicBezTo>
                    <a:pt x="572797" y="622210"/>
                    <a:pt x="550862" y="660701"/>
                    <a:pt x="535381" y="699801"/>
                  </a:cubicBezTo>
                  <a:cubicBezTo>
                    <a:pt x="519901" y="738900"/>
                    <a:pt x="510500" y="779310"/>
                    <a:pt x="497685" y="817848"/>
                  </a:cubicBezTo>
                  <a:cubicBezTo>
                    <a:pt x="484870" y="856386"/>
                    <a:pt x="468594" y="892680"/>
                    <a:pt x="443245" y="922566"/>
                  </a:cubicBezTo>
                  <a:cubicBezTo>
                    <a:pt x="417521" y="952335"/>
                    <a:pt x="385297" y="975832"/>
                    <a:pt x="349097" y="991270"/>
                  </a:cubicBezTo>
                  <a:cubicBezTo>
                    <a:pt x="312617" y="1007172"/>
                    <a:pt x="273143" y="1017041"/>
                    <a:pt x="233389" y="1029388"/>
                  </a:cubicBezTo>
                  <a:cubicBezTo>
                    <a:pt x="213277" y="1035491"/>
                    <a:pt x="193494" y="1042624"/>
                    <a:pt x="174084" y="1050762"/>
                  </a:cubicBezTo>
                  <a:cubicBezTo>
                    <a:pt x="154394" y="1059358"/>
                    <a:pt x="135686" y="1070017"/>
                    <a:pt x="118288" y="1082565"/>
                  </a:cubicBezTo>
                  <a:cubicBezTo>
                    <a:pt x="113985" y="1085792"/>
                    <a:pt x="109448" y="1088739"/>
                    <a:pt x="105333" y="1092247"/>
                  </a:cubicBezTo>
                  <a:lnTo>
                    <a:pt x="93313" y="1103097"/>
                  </a:lnTo>
                  <a:cubicBezTo>
                    <a:pt x="89197" y="1106600"/>
                    <a:pt x="85315" y="1110365"/>
                    <a:pt x="81667" y="1114369"/>
                  </a:cubicBezTo>
                  <a:cubicBezTo>
                    <a:pt x="77879" y="1118251"/>
                    <a:pt x="74371" y="1122320"/>
                    <a:pt x="70910" y="1126482"/>
                  </a:cubicBezTo>
                  <a:cubicBezTo>
                    <a:pt x="57160" y="1143076"/>
                    <a:pt x="45374" y="1161223"/>
                    <a:pt x="35786" y="1180548"/>
                  </a:cubicBezTo>
                  <a:cubicBezTo>
                    <a:pt x="26479" y="1199569"/>
                    <a:pt x="18481" y="1219213"/>
                    <a:pt x="11887" y="1239338"/>
                  </a:cubicBezTo>
                  <a:cubicBezTo>
                    <a:pt x="10203" y="1244249"/>
                    <a:pt x="8753" y="1249300"/>
                    <a:pt x="7210" y="1254257"/>
                  </a:cubicBezTo>
                  <a:cubicBezTo>
                    <a:pt x="6789" y="1255614"/>
                    <a:pt x="6414" y="1256923"/>
                    <a:pt x="6040" y="1258233"/>
                  </a:cubicBezTo>
                  <a:lnTo>
                    <a:pt x="2159" y="1270346"/>
                  </a:lnTo>
                  <a:cubicBezTo>
                    <a:pt x="-554" y="1277263"/>
                    <a:pt x="-1162" y="1284826"/>
                    <a:pt x="381" y="1292094"/>
                  </a:cubicBezTo>
                  <a:cubicBezTo>
                    <a:pt x="2205" y="1299521"/>
                    <a:pt x="1691" y="1307322"/>
                    <a:pt x="-1069" y="1314450"/>
                  </a:cubicBezTo>
                  <a:lnTo>
                    <a:pt x="-1069" y="1314450"/>
                  </a:lnTo>
                  <a:cubicBezTo>
                    <a:pt x="1036" y="1310091"/>
                    <a:pt x="3889" y="1306125"/>
                    <a:pt x="7350" y="1302711"/>
                  </a:cubicBezTo>
                  <a:lnTo>
                    <a:pt x="7864" y="1302711"/>
                  </a:lnTo>
                  <a:cubicBezTo>
                    <a:pt x="7864" y="1302430"/>
                    <a:pt x="7864" y="1302196"/>
                    <a:pt x="7864" y="1301916"/>
                  </a:cubicBezTo>
                  <a:cubicBezTo>
                    <a:pt x="9642" y="1300218"/>
                    <a:pt x="11606" y="1298651"/>
                    <a:pt x="13617" y="1297239"/>
                  </a:cubicBezTo>
                  <a:cubicBezTo>
                    <a:pt x="19884" y="1292333"/>
                    <a:pt x="24467" y="1285551"/>
                    <a:pt x="26619" y="1277876"/>
                  </a:cubicBezTo>
                  <a:cubicBezTo>
                    <a:pt x="29285" y="1271150"/>
                    <a:pt x="31530" y="1264243"/>
                    <a:pt x="33213" y="1257204"/>
                  </a:cubicBezTo>
                  <a:lnTo>
                    <a:pt x="36441" y="1247522"/>
                  </a:lnTo>
                  <a:cubicBezTo>
                    <a:pt x="42427" y="1228496"/>
                    <a:pt x="49770" y="1209938"/>
                    <a:pt x="58516" y="1192007"/>
                  </a:cubicBezTo>
                  <a:cubicBezTo>
                    <a:pt x="67075" y="1174370"/>
                    <a:pt x="77738" y="1157837"/>
                    <a:pt x="90273" y="1142758"/>
                  </a:cubicBezTo>
                  <a:cubicBezTo>
                    <a:pt x="93360" y="1139017"/>
                    <a:pt x="96540" y="1135322"/>
                    <a:pt x="99954" y="1131861"/>
                  </a:cubicBezTo>
                  <a:cubicBezTo>
                    <a:pt x="103228" y="1128241"/>
                    <a:pt x="106736" y="1124836"/>
                    <a:pt x="110430" y="1121665"/>
                  </a:cubicBezTo>
                  <a:lnTo>
                    <a:pt x="121281" y="1111890"/>
                  </a:lnTo>
                  <a:cubicBezTo>
                    <a:pt x="124930" y="1108663"/>
                    <a:pt x="129092" y="1106044"/>
                    <a:pt x="132974" y="1103051"/>
                  </a:cubicBezTo>
                  <a:cubicBezTo>
                    <a:pt x="164403" y="1079666"/>
                    <a:pt x="201866" y="1065260"/>
                    <a:pt x="240544" y="1053334"/>
                  </a:cubicBezTo>
                  <a:cubicBezTo>
                    <a:pt x="279223" y="1041408"/>
                    <a:pt x="320053" y="1030978"/>
                    <a:pt x="358872" y="1014047"/>
                  </a:cubicBezTo>
                  <a:cubicBezTo>
                    <a:pt x="398673" y="997168"/>
                    <a:pt x="433891" y="971164"/>
                    <a:pt x="461765" y="938140"/>
                  </a:cubicBezTo>
                  <a:cubicBezTo>
                    <a:pt x="489827" y="905027"/>
                    <a:pt x="507179" y="864945"/>
                    <a:pt x="520368" y="825425"/>
                  </a:cubicBezTo>
                  <a:cubicBezTo>
                    <a:pt x="533558" y="785904"/>
                    <a:pt x="542771" y="745916"/>
                    <a:pt x="557410" y="708500"/>
                  </a:cubicBezTo>
                  <a:cubicBezTo>
                    <a:pt x="572049" y="671084"/>
                    <a:pt x="591739" y="636568"/>
                    <a:pt x="620690" y="609956"/>
                  </a:cubicBezTo>
                  <a:cubicBezTo>
                    <a:pt x="649827" y="583087"/>
                    <a:pt x="684344" y="562723"/>
                    <a:pt x="721946" y="550231"/>
                  </a:cubicBezTo>
                  <a:cubicBezTo>
                    <a:pt x="759736" y="536481"/>
                    <a:pt x="799771" y="526846"/>
                    <a:pt x="839339" y="512815"/>
                  </a:cubicBezTo>
                  <a:cubicBezTo>
                    <a:pt x="859356" y="505949"/>
                    <a:pt x="878812" y="497451"/>
                    <a:pt x="897473" y="487419"/>
                  </a:cubicBezTo>
                  <a:cubicBezTo>
                    <a:pt x="906827" y="482228"/>
                    <a:pt x="915901" y="476480"/>
                    <a:pt x="924553" y="470208"/>
                  </a:cubicBezTo>
                  <a:lnTo>
                    <a:pt x="937555" y="460854"/>
                  </a:lnTo>
                  <a:lnTo>
                    <a:pt x="949575" y="450143"/>
                  </a:lnTo>
                  <a:cubicBezTo>
                    <a:pt x="965383" y="435589"/>
                    <a:pt x="979461" y="419196"/>
                    <a:pt x="991387" y="401316"/>
                  </a:cubicBezTo>
                  <a:cubicBezTo>
                    <a:pt x="1002846" y="383356"/>
                    <a:pt x="1012527" y="364344"/>
                    <a:pt x="1020385" y="344537"/>
                  </a:cubicBezTo>
                  <a:cubicBezTo>
                    <a:pt x="1036193" y="305251"/>
                    <a:pt x="1045687" y="265029"/>
                    <a:pt x="1058175" y="226350"/>
                  </a:cubicBezTo>
                  <a:cubicBezTo>
                    <a:pt x="1070662" y="187671"/>
                    <a:pt x="1086704" y="151050"/>
                    <a:pt x="1110978" y="120042"/>
                  </a:cubicBezTo>
                  <a:cubicBezTo>
                    <a:pt x="1135953" y="89281"/>
                    <a:pt x="1167850" y="64900"/>
                    <a:pt x="1204097" y="48905"/>
                  </a:cubicBezTo>
                  <a:cubicBezTo>
                    <a:pt x="1222477" y="40683"/>
                    <a:pt x="1241325" y="33653"/>
                    <a:pt x="1260595" y="27859"/>
                  </a:cubicBezTo>
                  <a:lnTo>
                    <a:pt x="1275140" y="23182"/>
                  </a:lnTo>
                  <a:cubicBezTo>
                    <a:pt x="1280145" y="21891"/>
                    <a:pt x="1284961" y="20039"/>
                    <a:pt x="1289545" y="17663"/>
                  </a:cubicBezTo>
                  <a:cubicBezTo>
                    <a:pt x="1294222" y="14665"/>
                    <a:pt x="1298572" y="11185"/>
                    <a:pt x="1302547" y="7280"/>
                  </a:cubicBezTo>
                  <a:cubicBezTo>
                    <a:pt x="1306803" y="4142"/>
                    <a:pt x="1311574" y="1682"/>
                    <a:pt x="1316578" y="-1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04B54090-BA56-437E-8446-FD12D8049733}"/>
                </a:ext>
              </a:extLst>
            </p:cNvPr>
            <p:cNvSpPr/>
            <p:nvPr/>
          </p:nvSpPr>
          <p:spPr>
            <a:xfrm>
              <a:off x="9746360" y="4957255"/>
              <a:ext cx="1239166" cy="1204650"/>
            </a:xfrm>
            <a:custGeom>
              <a:avLst/>
              <a:gdLst>
                <a:gd name="connsiteX0" fmla="*/ 1238051 w 1239166"/>
                <a:gd name="connsiteY0" fmla="*/ -250 h 1204650"/>
                <a:gd name="connsiteX1" fmla="*/ 1223599 w 1239166"/>
                <a:gd name="connsiteY1" fmla="*/ 1480 h 1204650"/>
                <a:gd name="connsiteX2" fmla="*/ 1207978 w 1239166"/>
                <a:gd name="connsiteY2" fmla="*/ 30 h 1204650"/>
                <a:gd name="connsiteX3" fmla="*/ 1179917 w 1239166"/>
                <a:gd name="connsiteY3" fmla="*/ 8215 h 1204650"/>
                <a:gd name="connsiteX4" fmla="*/ 1126973 w 1239166"/>
                <a:gd name="connsiteY4" fmla="*/ 34453 h 1204650"/>
                <a:gd name="connsiteX5" fmla="*/ 1043068 w 1239166"/>
                <a:gd name="connsiteY5" fmla="*/ 118077 h 1204650"/>
                <a:gd name="connsiteX6" fmla="*/ 997655 w 1239166"/>
                <a:gd name="connsiteY6" fmla="*/ 225929 h 1204650"/>
                <a:gd name="connsiteX7" fmla="*/ 961782 w 1239166"/>
                <a:gd name="connsiteY7" fmla="*/ 333172 h 1204650"/>
                <a:gd name="connsiteX8" fmla="*/ 898643 w 1239166"/>
                <a:gd name="connsiteY8" fmla="*/ 421754 h 1204650"/>
                <a:gd name="connsiteX9" fmla="*/ 803607 w 1239166"/>
                <a:gd name="connsiteY9" fmla="*/ 475913 h 1204650"/>
                <a:gd name="connsiteX10" fmla="*/ 694586 w 1239166"/>
                <a:gd name="connsiteY10" fmla="*/ 509915 h 1204650"/>
                <a:gd name="connsiteX11" fmla="*/ 589447 w 1239166"/>
                <a:gd name="connsiteY11" fmla="*/ 563280 h 1204650"/>
                <a:gd name="connsiteX12" fmla="*/ 515270 w 1239166"/>
                <a:gd name="connsiteY12" fmla="*/ 655931 h 1204650"/>
                <a:gd name="connsiteX13" fmla="*/ 476030 w 1239166"/>
                <a:gd name="connsiteY13" fmla="*/ 765512 h 1204650"/>
                <a:gd name="connsiteX14" fmla="*/ 436276 w 1239166"/>
                <a:gd name="connsiteY14" fmla="*/ 869856 h 1204650"/>
                <a:gd name="connsiteX15" fmla="*/ 364344 w 1239166"/>
                <a:gd name="connsiteY15" fmla="*/ 950347 h 1204650"/>
                <a:gd name="connsiteX16" fmla="*/ 264303 w 1239166"/>
                <a:gd name="connsiteY16" fmla="*/ 996462 h 1204650"/>
                <a:gd name="connsiteX17" fmla="*/ 154394 w 1239166"/>
                <a:gd name="connsiteY17" fmla="*/ 1031539 h 1204650"/>
                <a:gd name="connsiteX18" fmla="*/ 53839 w 1239166"/>
                <a:gd name="connsiteY18" fmla="*/ 1094772 h 1204650"/>
                <a:gd name="connsiteX19" fmla="*/ 18294 w 1239166"/>
                <a:gd name="connsiteY19" fmla="*/ 1138642 h 1204650"/>
                <a:gd name="connsiteX20" fmla="*/ 18294 w 1239166"/>
                <a:gd name="connsiteY20" fmla="*/ 1138642 h 1204650"/>
                <a:gd name="connsiteX21" fmla="*/ 9735 w 1239166"/>
                <a:gd name="connsiteY21" fmla="*/ 1153188 h 1204650"/>
                <a:gd name="connsiteX22" fmla="*/ 8846 w 1239166"/>
                <a:gd name="connsiteY22" fmla="*/ 1154778 h 1204650"/>
                <a:gd name="connsiteX23" fmla="*/ 6040 w 1239166"/>
                <a:gd name="connsiteY23" fmla="*/ 1160577 h 1204650"/>
                <a:gd name="connsiteX24" fmla="*/ 1363 w 1239166"/>
                <a:gd name="connsiteY24" fmla="*/ 1181858 h 1204650"/>
                <a:gd name="connsiteX25" fmla="*/ -1069 w 1239166"/>
                <a:gd name="connsiteY25" fmla="*/ 1204400 h 1204650"/>
                <a:gd name="connsiteX26" fmla="*/ -1069 w 1239166"/>
                <a:gd name="connsiteY26" fmla="*/ 1204400 h 1204650"/>
                <a:gd name="connsiteX27" fmla="*/ 14225 w 1239166"/>
                <a:gd name="connsiteY27" fmla="*/ 1188031 h 1204650"/>
                <a:gd name="connsiteX28" fmla="*/ 28864 w 1239166"/>
                <a:gd name="connsiteY28" fmla="*/ 1171802 h 1204650"/>
                <a:gd name="connsiteX29" fmla="*/ 37516 w 1239166"/>
                <a:gd name="connsiteY29" fmla="*/ 1156181 h 1204650"/>
                <a:gd name="connsiteX30" fmla="*/ 37516 w 1239166"/>
                <a:gd name="connsiteY30" fmla="*/ 1156181 h 1204650"/>
                <a:gd name="connsiteX31" fmla="*/ 37984 w 1239166"/>
                <a:gd name="connsiteY31" fmla="*/ 1155479 h 1204650"/>
                <a:gd name="connsiteX32" fmla="*/ 71612 w 1239166"/>
                <a:gd name="connsiteY32" fmla="*/ 1113012 h 1204650"/>
                <a:gd name="connsiteX33" fmla="*/ 163795 w 1239166"/>
                <a:gd name="connsiteY33" fmla="*/ 1054877 h 1204650"/>
                <a:gd name="connsiteX34" fmla="*/ 271927 w 1239166"/>
                <a:gd name="connsiteY34" fmla="*/ 1020174 h 1204650"/>
                <a:gd name="connsiteX35" fmla="*/ 326881 w 1239166"/>
                <a:gd name="connsiteY35" fmla="*/ 999876 h 1204650"/>
                <a:gd name="connsiteX36" fmla="*/ 378936 w 1239166"/>
                <a:gd name="connsiteY36" fmla="*/ 970692 h 1204650"/>
                <a:gd name="connsiteX37" fmla="*/ 457837 w 1239166"/>
                <a:gd name="connsiteY37" fmla="*/ 881829 h 1204650"/>
                <a:gd name="connsiteX38" fmla="*/ 499322 w 1239166"/>
                <a:gd name="connsiteY38" fmla="*/ 772575 h 1204650"/>
                <a:gd name="connsiteX39" fmla="*/ 536738 w 1239166"/>
                <a:gd name="connsiteY39" fmla="*/ 666781 h 1204650"/>
                <a:gd name="connsiteX40" fmla="*/ 604227 w 1239166"/>
                <a:gd name="connsiteY40" fmla="*/ 582034 h 1204650"/>
                <a:gd name="connsiteX41" fmla="*/ 702209 w 1239166"/>
                <a:gd name="connsiteY41" fmla="*/ 532224 h 1204650"/>
                <a:gd name="connsiteX42" fmla="*/ 811698 w 1239166"/>
                <a:gd name="connsiteY42" fmla="*/ 497755 h 1204650"/>
                <a:gd name="connsiteX43" fmla="*/ 914030 w 1239166"/>
                <a:gd name="connsiteY43" fmla="*/ 438965 h 1204650"/>
                <a:gd name="connsiteX44" fmla="*/ 982594 w 1239166"/>
                <a:gd name="connsiteY44" fmla="*/ 342526 h 1204650"/>
                <a:gd name="connsiteX45" fmla="*/ 1018888 w 1239166"/>
                <a:gd name="connsiteY45" fmla="*/ 232570 h 1204650"/>
                <a:gd name="connsiteX46" fmla="*/ 1061682 w 1239166"/>
                <a:gd name="connsiteY46" fmla="*/ 129676 h 1204650"/>
                <a:gd name="connsiteX47" fmla="*/ 1138385 w 1239166"/>
                <a:gd name="connsiteY47" fmla="*/ 52787 h 1204650"/>
                <a:gd name="connsiteX48" fmla="*/ 1187867 w 1239166"/>
                <a:gd name="connsiteY48" fmla="*/ 28232 h 1204650"/>
                <a:gd name="connsiteX49" fmla="*/ 1200916 w 1239166"/>
                <a:gd name="connsiteY49" fmla="*/ 23135 h 1204650"/>
                <a:gd name="connsiteX50" fmla="*/ 1213637 w 1239166"/>
                <a:gd name="connsiteY50" fmla="*/ 16867 h 1204650"/>
                <a:gd name="connsiteX51" fmla="*/ 1225236 w 1239166"/>
                <a:gd name="connsiteY51" fmla="*/ 6578 h 1204650"/>
                <a:gd name="connsiteX52" fmla="*/ 1238098 w 1239166"/>
                <a:gd name="connsiteY52" fmla="*/ -110 h 1204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1239166" h="1204650">
                  <a:moveTo>
                    <a:pt x="1238051" y="-250"/>
                  </a:moveTo>
                  <a:cubicBezTo>
                    <a:pt x="1233328" y="970"/>
                    <a:pt x="1228464" y="1555"/>
                    <a:pt x="1223599" y="1480"/>
                  </a:cubicBezTo>
                  <a:cubicBezTo>
                    <a:pt x="1218408" y="676"/>
                    <a:pt x="1213217" y="194"/>
                    <a:pt x="1207978" y="30"/>
                  </a:cubicBezTo>
                  <a:cubicBezTo>
                    <a:pt x="1197923" y="498"/>
                    <a:pt x="1189271" y="5035"/>
                    <a:pt x="1179917" y="8215"/>
                  </a:cubicBezTo>
                  <a:cubicBezTo>
                    <a:pt x="1161583" y="15464"/>
                    <a:pt x="1143857" y="24243"/>
                    <a:pt x="1126973" y="34453"/>
                  </a:cubicBezTo>
                  <a:cubicBezTo>
                    <a:pt x="1092878" y="55420"/>
                    <a:pt x="1064161" y="84052"/>
                    <a:pt x="1043068" y="118077"/>
                  </a:cubicBezTo>
                  <a:cubicBezTo>
                    <a:pt x="1021975" y="151845"/>
                    <a:pt x="1008645" y="189214"/>
                    <a:pt x="997655" y="225929"/>
                  </a:cubicBezTo>
                  <a:cubicBezTo>
                    <a:pt x="986663" y="262643"/>
                    <a:pt x="976655" y="299217"/>
                    <a:pt x="961782" y="333172"/>
                  </a:cubicBezTo>
                  <a:cubicBezTo>
                    <a:pt x="947424" y="366935"/>
                    <a:pt x="925862" y="397162"/>
                    <a:pt x="898643" y="421754"/>
                  </a:cubicBezTo>
                  <a:cubicBezTo>
                    <a:pt x="870815" y="445868"/>
                    <a:pt x="838544" y="464268"/>
                    <a:pt x="803607" y="475913"/>
                  </a:cubicBezTo>
                  <a:cubicBezTo>
                    <a:pt x="768482" y="488635"/>
                    <a:pt x="731440" y="497568"/>
                    <a:pt x="694586" y="509915"/>
                  </a:cubicBezTo>
                  <a:cubicBezTo>
                    <a:pt x="657731" y="522262"/>
                    <a:pt x="621017" y="538538"/>
                    <a:pt x="589447" y="563280"/>
                  </a:cubicBezTo>
                  <a:cubicBezTo>
                    <a:pt x="557971" y="588105"/>
                    <a:pt x="532622" y="619796"/>
                    <a:pt x="515270" y="655931"/>
                  </a:cubicBezTo>
                  <a:cubicBezTo>
                    <a:pt x="497451" y="691382"/>
                    <a:pt x="486834" y="729125"/>
                    <a:pt x="476030" y="765512"/>
                  </a:cubicBezTo>
                  <a:cubicBezTo>
                    <a:pt x="465226" y="801899"/>
                    <a:pt x="454142" y="837865"/>
                    <a:pt x="436276" y="869856"/>
                  </a:cubicBezTo>
                  <a:cubicBezTo>
                    <a:pt x="418644" y="901748"/>
                    <a:pt x="394043" y="929263"/>
                    <a:pt x="364344" y="950347"/>
                  </a:cubicBezTo>
                  <a:cubicBezTo>
                    <a:pt x="334786" y="971580"/>
                    <a:pt x="300176" y="985331"/>
                    <a:pt x="264303" y="996462"/>
                  </a:cubicBezTo>
                  <a:cubicBezTo>
                    <a:pt x="228431" y="1007593"/>
                    <a:pt x="190969" y="1017040"/>
                    <a:pt x="154394" y="1031539"/>
                  </a:cubicBezTo>
                  <a:cubicBezTo>
                    <a:pt x="116932" y="1045589"/>
                    <a:pt x="82743" y="1067103"/>
                    <a:pt x="53839" y="1094772"/>
                  </a:cubicBezTo>
                  <a:cubicBezTo>
                    <a:pt x="40510" y="1108129"/>
                    <a:pt x="28583" y="1122834"/>
                    <a:pt x="18294" y="1138642"/>
                  </a:cubicBezTo>
                  <a:cubicBezTo>
                    <a:pt x="18294" y="1138642"/>
                    <a:pt x="18294" y="1138642"/>
                    <a:pt x="18294" y="1138642"/>
                  </a:cubicBezTo>
                  <a:cubicBezTo>
                    <a:pt x="15113" y="1143282"/>
                    <a:pt x="12261" y="1148141"/>
                    <a:pt x="9735" y="1153188"/>
                  </a:cubicBezTo>
                  <a:lnTo>
                    <a:pt x="8846" y="1154778"/>
                  </a:lnTo>
                  <a:cubicBezTo>
                    <a:pt x="7771" y="1156639"/>
                    <a:pt x="6835" y="1158580"/>
                    <a:pt x="6040" y="1160577"/>
                  </a:cubicBezTo>
                  <a:cubicBezTo>
                    <a:pt x="2345" y="1167031"/>
                    <a:pt x="709" y="1174454"/>
                    <a:pt x="1363" y="1181858"/>
                  </a:cubicBezTo>
                  <a:cubicBezTo>
                    <a:pt x="2579" y="1189453"/>
                    <a:pt x="1737" y="1197235"/>
                    <a:pt x="-1069" y="1204400"/>
                  </a:cubicBezTo>
                  <a:lnTo>
                    <a:pt x="-1069" y="1204400"/>
                  </a:lnTo>
                  <a:cubicBezTo>
                    <a:pt x="2252" y="1197525"/>
                    <a:pt x="7584" y="1191820"/>
                    <a:pt x="14225" y="1188031"/>
                  </a:cubicBezTo>
                  <a:cubicBezTo>
                    <a:pt x="20586" y="1184173"/>
                    <a:pt x="25684" y="1178527"/>
                    <a:pt x="28864" y="1171802"/>
                  </a:cubicBezTo>
                  <a:lnTo>
                    <a:pt x="37516" y="1156181"/>
                  </a:lnTo>
                  <a:lnTo>
                    <a:pt x="37516" y="1156181"/>
                  </a:lnTo>
                  <a:lnTo>
                    <a:pt x="37984" y="1155479"/>
                  </a:lnTo>
                  <a:cubicBezTo>
                    <a:pt x="47385" y="1139984"/>
                    <a:pt x="58703" y="1125719"/>
                    <a:pt x="71612" y="1113012"/>
                  </a:cubicBezTo>
                  <a:cubicBezTo>
                    <a:pt x="98083" y="1087569"/>
                    <a:pt x="129419" y="1067786"/>
                    <a:pt x="163795" y="1054877"/>
                  </a:cubicBezTo>
                  <a:cubicBezTo>
                    <a:pt x="198124" y="1040846"/>
                    <a:pt x="235119" y="1032007"/>
                    <a:pt x="271927" y="1020174"/>
                  </a:cubicBezTo>
                  <a:cubicBezTo>
                    <a:pt x="290588" y="1014328"/>
                    <a:pt x="308922" y="1007556"/>
                    <a:pt x="326881" y="999876"/>
                  </a:cubicBezTo>
                  <a:cubicBezTo>
                    <a:pt x="345122" y="991860"/>
                    <a:pt x="362567" y="982085"/>
                    <a:pt x="378936" y="970692"/>
                  </a:cubicBezTo>
                  <a:cubicBezTo>
                    <a:pt x="411581" y="947377"/>
                    <a:pt x="438568" y="917004"/>
                    <a:pt x="457837" y="881829"/>
                  </a:cubicBezTo>
                  <a:cubicBezTo>
                    <a:pt x="477106" y="846892"/>
                    <a:pt x="488471" y="809195"/>
                    <a:pt x="499322" y="772575"/>
                  </a:cubicBezTo>
                  <a:cubicBezTo>
                    <a:pt x="510173" y="735954"/>
                    <a:pt x="520555" y="699754"/>
                    <a:pt x="536738" y="666781"/>
                  </a:cubicBezTo>
                  <a:cubicBezTo>
                    <a:pt x="552452" y="633738"/>
                    <a:pt x="575557" y="604741"/>
                    <a:pt x="604227" y="582034"/>
                  </a:cubicBezTo>
                  <a:cubicBezTo>
                    <a:pt x="632850" y="559491"/>
                    <a:pt x="666711" y="544057"/>
                    <a:pt x="702209" y="532224"/>
                  </a:cubicBezTo>
                  <a:cubicBezTo>
                    <a:pt x="737707" y="520391"/>
                    <a:pt x="775030" y="511178"/>
                    <a:pt x="811698" y="497755"/>
                  </a:cubicBezTo>
                  <a:cubicBezTo>
                    <a:pt x="849347" y="485099"/>
                    <a:pt x="884144" y="465119"/>
                    <a:pt x="914030" y="438965"/>
                  </a:cubicBezTo>
                  <a:cubicBezTo>
                    <a:pt x="943588" y="412133"/>
                    <a:pt x="966973" y="379235"/>
                    <a:pt x="982594" y="342526"/>
                  </a:cubicBezTo>
                  <a:cubicBezTo>
                    <a:pt x="998263" y="306326"/>
                    <a:pt x="1008037" y="268817"/>
                    <a:pt x="1018888" y="232570"/>
                  </a:cubicBezTo>
                  <a:cubicBezTo>
                    <a:pt x="1029739" y="196323"/>
                    <a:pt x="1042273" y="161059"/>
                    <a:pt x="1061682" y="129676"/>
                  </a:cubicBezTo>
                  <a:cubicBezTo>
                    <a:pt x="1080858" y="98383"/>
                    <a:pt x="1107142" y="72042"/>
                    <a:pt x="1138385" y="52787"/>
                  </a:cubicBezTo>
                  <a:cubicBezTo>
                    <a:pt x="1154100" y="43082"/>
                    <a:pt x="1170656" y="34865"/>
                    <a:pt x="1187867" y="28232"/>
                  </a:cubicBezTo>
                  <a:cubicBezTo>
                    <a:pt x="1192170" y="26455"/>
                    <a:pt x="1196520" y="24818"/>
                    <a:pt x="1200916" y="23135"/>
                  </a:cubicBezTo>
                  <a:cubicBezTo>
                    <a:pt x="1205406" y="21647"/>
                    <a:pt x="1209709" y="19538"/>
                    <a:pt x="1213637" y="16867"/>
                  </a:cubicBezTo>
                  <a:cubicBezTo>
                    <a:pt x="1217660" y="14155"/>
                    <a:pt x="1221214" y="9712"/>
                    <a:pt x="1225236" y="6578"/>
                  </a:cubicBezTo>
                  <a:cubicBezTo>
                    <a:pt x="1229212" y="3758"/>
                    <a:pt x="1233515" y="1508"/>
                    <a:pt x="1238098" y="-11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6467ABE1-B7A3-452D-A452-4850B2F35A4A}"/>
                </a:ext>
              </a:extLst>
            </p:cNvPr>
            <p:cNvSpPr/>
            <p:nvPr/>
          </p:nvSpPr>
          <p:spPr>
            <a:xfrm>
              <a:off x="10320689" y="5548459"/>
              <a:ext cx="257566" cy="254160"/>
            </a:xfrm>
            <a:custGeom>
              <a:avLst/>
              <a:gdLst>
                <a:gd name="connsiteX0" fmla="*/ 256451 w 257566"/>
                <a:gd name="connsiteY0" fmla="*/ 651 h 254160"/>
                <a:gd name="connsiteX1" fmla="*/ 244431 w 257566"/>
                <a:gd name="connsiteY1" fmla="*/ 2101 h 254160"/>
                <a:gd name="connsiteX2" fmla="*/ 231288 w 257566"/>
                <a:gd name="connsiteY2" fmla="*/ 43 h 254160"/>
                <a:gd name="connsiteX3" fmla="*/ 207109 w 257566"/>
                <a:gd name="connsiteY3" fmla="*/ 3645 h 254160"/>
                <a:gd name="connsiteX4" fmla="*/ 161321 w 257566"/>
                <a:gd name="connsiteY4" fmla="*/ 21183 h 254160"/>
                <a:gd name="connsiteX5" fmla="*/ 22414 w 257566"/>
                <a:gd name="connsiteY5" fmla="*/ 158219 h 254160"/>
                <a:gd name="connsiteX6" fmla="*/ 9646 w 257566"/>
                <a:gd name="connsiteY6" fmla="*/ 189134 h 254160"/>
                <a:gd name="connsiteX7" fmla="*/ 9646 w 257566"/>
                <a:gd name="connsiteY7" fmla="*/ 189134 h 254160"/>
                <a:gd name="connsiteX8" fmla="*/ 1649 w 257566"/>
                <a:gd name="connsiteY8" fmla="*/ 210274 h 254160"/>
                <a:gd name="connsiteX9" fmla="*/ -35 w 257566"/>
                <a:gd name="connsiteY9" fmla="*/ 232443 h 254160"/>
                <a:gd name="connsiteX10" fmla="*/ 947 w 257566"/>
                <a:gd name="connsiteY10" fmla="*/ 253910 h 254160"/>
                <a:gd name="connsiteX11" fmla="*/ 947 w 257566"/>
                <a:gd name="connsiteY11" fmla="*/ 253910 h 254160"/>
                <a:gd name="connsiteX12" fmla="*/ 13154 w 257566"/>
                <a:gd name="connsiteY12" fmla="*/ 235950 h 254160"/>
                <a:gd name="connsiteX13" fmla="*/ 24706 w 257566"/>
                <a:gd name="connsiteY13" fmla="*/ 218271 h 254160"/>
                <a:gd name="connsiteX14" fmla="*/ 24706 w 257566"/>
                <a:gd name="connsiteY14" fmla="*/ 217804 h 254160"/>
                <a:gd name="connsiteX15" fmla="*/ 24706 w 257566"/>
                <a:gd name="connsiteY15" fmla="*/ 217804 h 254160"/>
                <a:gd name="connsiteX16" fmla="*/ 25782 w 257566"/>
                <a:gd name="connsiteY16" fmla="*/ 214576 h 254160"/>
                <a:gd name="connsiteX17" fmla="*/ 30459 w 257566"/>
                <a:gd name="connsiteY17" fmla="*/ 202042 h 254160"/>
                <a:gd name="connsiteX18" fmla="*/ 44022 w 257566"/>
                <a:gd name="connsiteY18" fmla="*/ 168274 h 254160"/>
                <a:gd name="connsiteX19" fmla="*/ 170955 w 257566"/>
                <a:gd name="connsiteY19" fmla="*/ 42744 h 254160"/>
                <a:gd name="connsiteX20" fmla="*/ 214404 w 257566"/>
                <a:gd name="connsiteY20" fmla="*/ 25954 h 254160"/>
                <a:gd name="connsiteX21" fmla="*/ 235778 w 257566"/>
                <a:gd name="connsiteY21" fmla="*/ 15150 h 254160"/>
                <a:gd name="connsiteX22" fmla="*/ 245600 w 257566"/>
                <a:gd name="connsiteY22" fmla="*/ 6264 h 254160"/>
                <a:gd name="connsiteX23" fmla="*/ 256497 w 257566"/>
                <a:gd name="connsiteY23" fmla="*/ 979 h 25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57566" h="254160">
                  <a:moveTo>
                    <a:pt x="256451" y="651"/>
                  </a:moveTo>
                  <a:cubicBezTo>
                    <a:pt x="252522" y="1568"/>
                    <a:pt x="248500" y="2054"/>
                    <a:pt x="244431" y="2101"/>
                  </a:cubicBezTo>
                  <a:cubicBezTo>
                    <a:pt x="239987" y="1760"/>
                    <a:pt x="235591" y="1072"/>
                    <a:pt x="231288" y="43"/>
                  </a:cubicBezTo>
                  <a:cubicBezTo>
                    <a:pt x="223057" y="-873"/>
                    <a:pt x="214732" y="366"/>
                    <a:pt x="207109" y="3645"/>
                  </a:cubicBezTo>
                  <a:cubicBezTo>
                    <a:pt x="191534" y="8649"/>
                    <a:pt x="176240" y="14504"/>
                    <a:pt x="161321" y="21183"/>
                  </a:cubicBezTo>
                  <a:cubicBezTo>
                    <a:pt x="99398" y="47748"/>
                    <a:pt x="49822" y="96684"/>
                    <a:pt x="22414" y="158219"/>
                  </a:cubicBezTo>
                  <a:cubicBezTo>
                    <a:pt x="17737" y="168415"/>
                    <a:pt x="13481" y="178704"/>
                    <a:pt x="9646" y="189134"/>
                  </a:cubicBezTo>
                  <a:lnTo>
                    <a:pt x="9646" y="189134"/>
                  </a:lnTo>
                  <a:cubicBezTo>
                    <a:pt x="6419" y="195943"/>
                    <a:pt x="3706" y="203015"/>
                    <a:pt x="1649" y="210274"/>
                  </a:cubicBezTo>
                  <a:cubicBezTo>
                    <a:pt x="-1251" y="217299"/>
                    <a:pt x="-1859" y="225062"/>
                    <a:pt x="-35" y="232443"/>
                  </a:cubicBezTo>
                  <a:cubicBezTo>
                    <a:pt x="2210" y="239379"/>
                    <a:pt x="2584" y="246796"/>
                    <a:pt x="947" y="253910"/>
                  </a:cubicBezTo>
                  <a:lnTo>
                    <a:pt x="947" y="253910"/>
                  </a:lnTo>
                  <a:cubicBezTo>
                    <a:pt x="3192" y="246857"/>
                    <a:pt x="7401" y="240613"/>
                    <a:pt x="13154" y="235950"/>
                  </a:cubicBezTo>
                  <a:cubicBezTo>
                    <a:pt x="18626" y="231287"/>
                    <a:pt x="22648" y="225151"/>
                    <a:pt x="24706" y="218271"/>
                  </a:cubicBezTo>
                  <a:lnTo>
                    <a:pt x="24706" y="217804"/>
                  </a:lnTo>
                  <a:lnTo>
                    <a:pt x="24706" y="217804"/>
                  </a:lnTo>
                  <a:cubicBezTo>
                    <a:pt x="25080" y="216728"/>
                    <a:pt x="25454" y="215652"/>
                    <a:pt x="25782" y="214576"/>
                  </a:cubicBezTo>
                  <a:cubicBezTo>
                    <a:pt x="25782" y="214576"/>
                    <a:pt x="30459" y="202042"/>
                    <a:pt x="30459" y="202042"/>
                  </a:cubicBezTo>
                  <a:cubicBezTo>
                    <a:pt x="34387" y="190565"/>
                    <a:pt x="38924" y="179293"/>
                    <a:pt x="44022" y="168274"/>
                  </a:cubicBezTo>
                  <a:cubicBezTo>
                    <a:pt x="68810" y="111800"/>
                    <a:pt x="114223" y="66910"/>
                    <a:pt x="170955" y="42744"/>
                  </a:cubicBezTo>
                  <a:cubicBezTo>
                    <a:pt x="184986" y="36196"/>
                    <a:pt x="199625" y="31192"/>
                    <a:pt x="214404" y="25954"/>
                  </a:cubicBezTo>
                  <a:cubicBezTo>
                    <a:pt x="222309" y="24111"/>
                    <a:pt x="229605" y="20407"/>
                    <a:pt x="235778" y="15150"/>
                  </a:cubicBezTo>
                  <a:cubicBezTo>
                    <a:pt x="238818" y="11927"/>
                    <a:pt x="242092" y="8958"/>
                    <a:pt x="245600" y="6264"/>
                  </a:cubicBezTo>
                  <a:cubicBezTo>
                    <a:pt x="249014" y="4094"/>
                    <a:pt x="252662" y="2321"/>
                    <a:pt x="256497" y="979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874765A9-F48C-4BE9-ACC2-1E1D2ECB1F3F}"/>
                </a:ext>
              </a:extLst>
            </p:cNvPr>
            <p:cNvSpPr/>
            <p:nvPr/>
          </p:nvSpPr>
          <p:spPr>
            <a:xfrm>
              <a:off x="10235759" y="5456990"/>
              <a:ext cx="425699" cy="421957"/>
            </a:xfrm>
            <a:custGeom>
              <a:avLst/>
              <a:gdLst>
                <a:gd name="connsiteX0" fmla="*/ 424630 w 425699"/>
                <a:gd name="connsiteY0" fmla="*/ -250 h 421957"/>
                <a:gd name="connsiteX1" fmla="*/ 404472 w 425699"/>
                <a:gd name="connsiteY1" fmla="*/ 4707 h 421957"/>
                <a:gd name="connsiteX2" fmla="*/ 384362 w 425699"/>
                <a:gd name="connsiteY2" fmla="*/ 8121 h 421957"/>
                <a:gd name="connsiteX3" fmla="*/ 347741 w 425699"/>
                <a:gd name="connsiteY3" fmla="*/ 22152 h 421957"/>
                <a:gd name="connsiteX4" fmla="*/ 271085 w 425699"/>
                <a:gd name="connsiteY4" fmla="*/ 45537 h 421957"/>
                <a:gd name="connsiteX5" fmla="*/ 194055 w 425699"/>
                <a:gd name="connsiteY5" fmla="*/ 74488 h 421957"/>
                <a:gd name="connsiteX6" fmla="*/ 125023 w 425699"/>
                <a:gd name="connsiteY6" fmla="*/ 121866 h 421957"/>
                <a:gd name="connsiteX7" fmla="*/ 74137 w 425699"/>
                <a:gd name="connsiteY7" fmla="*/ 188513 h 421957"/>
                <a:gd name="connsiteX8" fmla="*/ 42708 w 425699"/>
                <a:gd name="connsiteY8" fmla="*/ 264935 h 421957"/>
                <a:gd name="connsiteX9" fmla="*/ 19323 w 425699"/>
                <a:gd name="connsiteY9" fmla="*/ 341965 h 421957"/>
                <a:gd name="connsiteX10" fmla="*/ 11372 w 425699"/>
                <a:gd name="connsiteY10" fmla="*/ 364741 h 421957"/>
                <a:gd name="connsiteX11" fmla="*/ 5479 w 425699"/>
                <a:gd name="connsiteY11" fmla="*/ 379334 h 421957"/>
                <a:gd name="connsiteX12" fmla="*/ 2065 w 425699"/>
                <a:gd name="connsiteY12" fmla="*/ 400193 h 421957"/>
                <a:gd name="connsiteX13" fmla="*/ -1069 w 425699"/>
                <a:gd name="connsiteY13" fmla="*/ 421707 h 421957"/>
                <a:gd name="connsiteX14" fmla="*/ -1069 w 425699"/>
                <a:gd name="connsiteY14" fmla="*/ 421707 h 421957"/>
                <a:gd name="connsiteX15" fmla="*/ 14131 w 425699"/>
                <a:gd name="connsiteY15" fmla="*/ 406507 h 421957"/>
                <a:gd name="connsiteX16" fmla="*/ 27835 w 425699"/>
                <a:gd name="connsiteY16" fmla="*/ 389015 h 421957"/>
                <a:gd name="connsiteX17" fmla="*/ 36207 w 425699"/>
                <a:gd name="connsiteY17" fmla="*/ 368015 h 421957"/>
                <a:gd name="connsiteX18" fmla="*/ 36207 w 425699"/>
                <a:gd name="connsiteY18" fmla="*/ 368015 h 421957"/>
                <a:gd name="connsiteX19" fmla="*/ 65719 w 425699"/>
                <a:gd name="connsiteY19" fmla="*/ 272044 h 421957"/>
                <a:gd name="connsiteX20" fmla="*/ 95183 w 425699"/>
                <a:gd name="connsiteY20" fmla="*/ 199691 h 421957"/>
                <a:gd name="connsiteX21" fmla="*/ 141439 w 425699"/>
                <a:gd name="connsiteY21" fmla="*/ 138890 h 421957"/>
                <a:gd name="connsiteX22" fmla="*/ 204531 w 425699"/>
                <a:gd name="connsiteY22" fmla="*/ 95394 h 421957"/>
                <a:gd name="connsiteX23" fmla="*/ 277726 w 425699"/>
                <a:gd name="connsiteY23" fmla="*/ 67800 h 421957"/>
                <a:gd name="connsiteX24" fmla="*/ 355084 w 425699"/>
                <a:gd name="connsiteY24" fmla="*/ 44041 h 421957"/>
                <a:gd name="connsiteX25" fmla="*/ 374493 w 425699"/>
                <a:gd name="connsiteY25" fmla="*/ 37072 h 421957"/>
                <a:gd name="connsiteX26" fmla="*/ 393482 w 425699"/>
                <a:gd name="connsiteY26" fmla="*/ 28840 h 421957"/>
                <a:gd name="connsiteX27" fmla="*/ 409617 w 425699"/>
                <a:gd name="connsiteY27" fmla="*/ 14810 h 421957"/>
                <a:gd name="connsiteX28" fmla="*/ 424490 w 425699"/>
                <a:gd name="connsiteY28" fmla="*/ -110 h 421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25699" h="421957">
                  <a:moveTo>
                    <a:pt x="424630" y="-250"/>
                  </a:moveTo>
                  <a:cubicBezTo>
                    <a:pt x="418457" y="3098"/>
                    <a:pt x="411488" y="4806"/>
                    <a:pt x="404472" y="4707"/>
                  </a:cubicBezTo>
                  <a:cubicBezTo>
                    <a:pt x="397597" y="4053"/>
                    <a:pt x="390629" y="5231"/>
                    <a:pt x="384362" y="8121"/>
                  </a:cubicBezTo>
                  <a:cubicBezTo>
                    <a:pt x="372342" y="13126"/>
                    <a:pt x="360181" y="17850"/>
                    <a:pt x="347741" y="22152"/>
                  </a:cubicBezTo>
                  <a:cubicBezTo>
                    <a:pt x="322859" y="30711"/>
                    <a:pt x="297042" y="37680"/>
                    <a:pt x="271085" y="45537"/>
                  </a:cubicBezTo>
                  <a:cubicBezTo>
                    <a:pt x="244660" y="53105"/>
                    <a:pt x="218937" y="62786"/>
                    <a:pt x="194055" y="74488"/>
                  </a:cubicBezTo>
                  <a:cubicBezTo>
                    <a:pt x="168705" y="86587"/>
                    <a:pt x="145414" y="102573"/>
                    <a:pt x="125023" y="121866"/>
                  </a:cubicBezTo>
                  <a:cubicBezTo>
                    <a:pt x="104584" y="141215"/>
                    <a:pt x="87420" y="163720"/>
                    <a:pt x="74137" y="188513"/>
                  </a:cubicBezTo>
                  <a:cubicBezTo>
                    <a:pt x="61182" y="212903"/>
                    <a:pt x="50658" y="238500"/>
                    <a:pt x="42708" y="264935"/>
                  </a:cubicBezTo>
                  <a:cubicBezTo>
                    <a:pt x="34476" y="290892"/>
                    <a:pt x="27367" y="316802"/>
                    <a:pt x="19323" y="341965"/>
                  </a:cubicBezTo>
                  <a:cubicBezTo>
                    <a:pt x="16844" y="349635"/>
                    <a:pt x="14131" y="357212"/>
                    <a:pt x="11372" y="364741"/>
                  </a:cubicBezTo>
                  <a:lnTo>
                    <a:pt x="5479" y="379334"/>
                  </a:lnTo>
                  <a:cubicBezTo>
                    <a:pt x="2345" y="385816"/>
                    <a:pt x="1176" y="393056"/>
                    <a:pt x="2065" y="400193"/>
                  </a:cubicBezTo>
                  <a:cubicBezTo>
                    <a:pt x="3188" y="407517"/>
                    <a:pt x="2065" y="415005"/>
                    <a:pt x="-1069" y="421707"/>
                  </a:cubicBezTo>
                  <a:lnTo>
                    <a:pt x="-1069" y="421707"/>
                  </a:lnTo>
                  <a:cubicBezTo>
                    <a:pt x="2533" y="415360"/>
                    <a:pt x="7771" y="410108"/>
                    <a:pt x="14131" y="406507"/>
                  </a:cubicBezTo>
                  <a:cubicBezTo>
                    <a:pt x="20445" y="402288"/>
                    <a:pt x="25263" y="396162"/>
                    <a:pt x="27835" y="389015"/>
                  </a:cubicBezTo>
                  <a:cubicBezTo>
                    <a:pt x="31203" y="382262"/>
                    <a:pt x="34009" y="375237"/>
                    <a:pt x="36207" y="368015"/>
                  </a:cubicBezTo>
                  <a:lnTo>
                    <a:pt x="36207" y="368015"/>
                  </a:lnTo>
                  <a:cubicBezTo>
                    <a:pt x="36207" y="368015"/>
                    <a:pt x="57627" y="297253"/>
                    <a:pt x="65719" y="272044"/>
                  </a:cubicBezTo>
                  <a:cubicBezTo>
                    <a:pt x="73295" y="247064"/>
                    <a:pt x="83117" y="222842"/>
                    <a:pt x="95183" y="199691"/>
                  </a:cubicBezTo>
                  <a:cubicBezTo>
                    <a:pt x="107343" y="177124"/>
                    <a:pt x="122918" y="156611"/>
                    <a:pt x="141439" y="138890"/>
                  </a:cubicBezTo>
                  <a:cubicBezTo>
                    <a:pt x="160100" y="121206"/>
                    <a:pt x="181380" y="106535"/>
                    <a:pt x="204531" y="95394"/>
                  </a:cubicBezTo>
                  <a:cubicBezTo>
                    <a:pt x="228150" y="84249"/>
                    <a:pt x="252611" y="75021"/>
                    <a:pt x="277726" y="67800"/>
                  </a:cubicBezTo>
                  <a:cubicBezTo>
                    <a:pt x="303169" y="59989"/>
                    <a:pt x="329173" y="52927"/>
                    <a:pt x="355084" y="44041"/>
                  </a:cubicBezTo>
                  <a:lnTo>
                    <a:pt x="374493" y="37072"/>
                  </a:lnTo>
                  <a:lnTo>
                    <a:pt x="393482" y="28840"/>
                  </a:lnTo>
                  <a:cubicBezTo>
                    <a:pt x="400029" y="25712"/>
                    <a:pt x="405595" y="20862"/>
                    <a:pt x="409617" y="14810"/>
                  </a:cubicBezTo>
                  <a:cubicBezTo>
                    <a:pt x="413312" y="8706"/>
                    <a:pt x="418410" y="3585"/>
                    <a:pt x="424490" y="-11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FBDF7EC2-80C0-4E8C-8A72-52322897A769}"/>
                </a:ext>
              </a:extLst>
            </p:cNvPr>
            <p:cNvSpPr/>
            <p:nvPr/>
          </p:nvSpPr>
          <p:spPr>
            <a:xfrm>
              <a:off x="9426875" y="4399899"/>
              <a:ext cx="1713179" cy="1867846"/>
            </a:xfrm>
            <a:custGeom>
              <a:avLst/>
              <a:gdLst>
                <a:gd name="connsiteX0" fmla="*/ 1712111 w 1713179"/>
                <a:gd name="connsiteY0" fmla="*/ -250 h 1867846"/>
                <a:gd name="connsiteX1" fmla="*/ 1697098 w 1713179"/>
                <a:gd name="connsiteY1" fmla="*/ 15698 h 1867846"/>
                <a:gd name="connsiteX2" fmla="*/ 1683722 w 1713179"/>
                <a:gd name="connsiteY2" fmla="*/ 33237 h 1867846"/>
                <a:gd name="connsiteX3" fmla="*/ 1675443 w 1713179"/>
                <a:gd name="connsiteY3" fmla="*/ 53161 h 1867846"/>
                <a:gd name="connsiteX4" fmla="*/ 1668381 w 1713179"/>
                <a:gd name="connsiteY4" fmla="*/ 73412 h 1867846"/>
                <a:gd name="connsiteX5" fmla="*/ 1643640 w 1713179"/>
                <a:gd name="connsiteY5" fmla="*/ 154231 h 1867846"/>
                <a:gd name="connsiteX6" fmla="*/ 1612772 w 1713179"/>
                <a:gd name="connsiteY6" fmla="*/ 230372 h 1867846"/>
                <a:gd name="connsiteX7" fmla="*/ 1563663 w 1713179"/>
                <a:gd name="connsiteY7" fmla="*/ 293932 h 1867846"/>
                <a:gd name="connsiteX8" fmla="*/ 1496221 w 1713179"/>
                <a:gd name="connsiteY8" fmla="*/ 338270 h 1867846"/>
                <a:gd name="connsiteX9" fmla="*/ 1418303 w 1713179"/>
                <a:gd name="connsiteY9" fmla="*/ 366051 h 1867846"/>
                <a:gd name="connsiteX10" fmla="*/ 1337204 w 1713179"/>
                <a:gd name="connsiteY10" fmla="*/ 391541 h 1867846"/>
                <a:gd name="connsiteX11" fmla="*/ 1260174 w 1713179"/>
                <a:gd name="connsiteY11" fmla="*/ 431763 h 1867846"/>
                <a:gd name="connsiteX12" fmla="*/ 1198859 w 1713179"/>
                <a:gd name="connsiteY12" fmla="*/ 494434 h 1867846"/>
                <a:gd name="connsiteX13" fmla="*/ 1159900 w 1713179"/>
                <a:gd name="connsiteY13" fmla="*/ 572026 h 1867846"/>
                <a:gd name="connsiteX14" fmla="*/ 1105740 w 1713179"/>
                <a:gd name="connsiteY14" fmla="*/ 730295 h 1867846"/>
                <a:gd name="connsiteX15" fmla="*/ 1060233 w 1713179"/>
                <a:gd name="connsiteY15" fmla="*/ 796567 h 1867846"/>
                <a:gd name="connsiteX16" fmla="*/ 995597 w 1713179"/>
                <a:gd name="connsiteY16" fmla="*/ 844039 h 1867846"/>
                <a:gd name="connsiteX17" fmla="*/ 838029 w 1713179"/>
                <a:gd name="connsiteY17" fmla="*/ 898526 h 1867846"/>
                <a:gd name="connsiteX18" fmla="*/ 759222 w 1713179"/>
                <a:gd name="connsiteY18" fmla="*/ 935006 h 1867846"/>
                <a:gd name="connsiteX19" fmla="*/ 694306 w 1713179"/>
                <a:gd name="connsiteY19" fmla="*/ 994123 h 1867846"/>
                <a:gd name="connsiteX20" fmla="*/ 651698 w 1713179"/>
                <a:gd name="connsiteY20" fmla="*/ 1070311 h 1867846"/>
                <a:gd name="connsiteX21" fmla="*/ 625086 w 1713179"/>
                <a:gd name="connsiteY21" fmla="*/ 1151457 h 1867846"/>
                <a:gd name="connsiteX22" fmla="*/ 598240 w 1713179"/>
                <a:gd name="connsiteY22" fmla="*/ 1229750 h 1867846"/>
                <a:gd name="connsiteX23" fmla="*/ 556147 w 1713179"/>
                <a:gd name="connsiteY23" fmla="*/ 1298174 h 1867846"/>
                <a:gd name="connsiteX24" fmla="*/ 494552 w 1713179"/>
                <a:gd name="connsiteY24" fmla="*/ 1348873 h 1867846"/>
                <a:gd name="connsiteX25" fmla="*/ 419720 w 1713179"/>
                <a:gd name="connsiteY25" fmla="*/ 1380957 h 1867846"/>
                <a:gd name="connsiteX26" fmla="*/ 259159 w 1713179"/>
                <a:gd name="connsiteY26" fmla="*/ 1439045 h 1867846"/>
                <a:gd name="connsiteX27" fmla="*/ 143965 w 1713179"/>
                <a:gd name="connsiteY27" fmla="*/ 1568784 h 1867846"/>
                <a:gd name="connsiteX28" fmla="*/ 90132 w 1713179"/>
                <a:gd name="connsiteY28" fmla="*/ 1729018 h 1867846"/>
                <a:gd name="connsiteX29" fmla="*/ 51594 w 1713179"/>
                <a:gd name="connsiteY29" fmla="*/ 1799547 h 1867846"/>
                <a:gd name="connsiteX30" fmla="*/ 38686 w 1713179"/>
                <a:gd name="connsiteY30" fmla="*/ 1814794 h 1867846"/>
                <a:gd name="connsiteX31" fmla="*/ 32092 w 1713179"/>
                <a:gd name="connsiteY31" fmla="*/ 1822137 h 1867846"/>
                <a:gd name="connsiteX32" fmla="*/ 23065 w 1713179"/>
                <a:gd name="connsiteY32" fmla="*/ 1830696 h 1867846"/>
                <a:gd name="connsiteX33" fmla="*/ 10998 w 1713179"/>
                <a:gd name="connsiteY33" fmla="*/ 1848889 h 1867846"/>
                <a:gd name="connsiteX34" fmla="*/ -1069 w 1713179"/>
                <a:gd name="connsiteY34" fmla="*/ 1867597 h 1867846"/>
                <a:gd name="connsiteX35" fmla="*/ -1069 w 1713179"/>
                <a:gd name="connsiteY35" fmla="*/ 1867597 h 1867846"/>
                <a:gd name="connsiteX36" fmla="*/ 20259 w 1713179"/>
                <a:gd name="connsiteY36" fmla="*/ 1860114 h 1867846"/>
                <a:gd name="connsiteX37" fmla="*/ 37142 w 1713179"/>
                <a:gd name="connsiteY37" fmla="*/ 1852677 h 1867846"/>
                <a:gd name="connsiteX38" fmla="*/ 37142 w 1713179"/>
                <a:gd name="connsiteY38" fmla="*/ 1852677 h 1867846"/>
                <a:gd name="connsiteX39" fmla="*/ 42662 w 1713179"/>
                <a:gd name="connsiteY39" fmla="*/ 1848328 h 1867846"/>
                <a:gd name="connsiteX40" fmla="*/ 51314 w 1713179"/>
                <a:gd name="connsiteY40" fmla="*/ 1839956 h 1867846"/>
                <a:gd name="connsiteX41" fmla="*/ 57955 w 1713179"/>
                <a:gd name="connsiteY41" fmla="*/ 1832987 h 1867846"/>
                <a:gd name="connsiteX42" fmla="*/ 57628 w 1713179"/>
                <a:gd name="connsiteY42" fmla="*/ 1832987 h 1867846"/>
                <a:gd name="connsiteX43" fmla="*/ 72313 w 1713179"/>
                <a:gd name="connsiteY43" fmla="*/ 1815402 h 1867846"/>
                <a:gd name="connsiteX44" fmla="*/ 114406 w 1713179"/>
                <a:gd name="connsiteY44" fmla="*/ 1738559 h 1867846"/>
                <a:gd name="connsiteX45" fmla="*/ 167443 w 1713179"/>
                <a:gd name="connsiteY45" fmla="*/ 1579167 h 1867846"/>
                <a:gd name="connsiteX46" fmla="*/ 209957 w 1713179"/>
                <a:gd name="connsiteY46" fmla="*/ 1511304 h 1867846"/>
                <a:gd name="connsiteX47" fmla="*/ 223661 w 1713179"/>
                <a:gd name="connsiteY47" fmla="*/ 1496806 h 1867846"/>
                <a:gd name="connsiteX48" fmla="*/ 238487 w 1713179"/>
                <a:gd name="connsiteY48" fmla="*/ 1483383 h 1867846"/>
                <a:gd name="connsiteX49" fmla="*/ 254669 w 1713179"/>
                <a:gd name="connsiteY49" fmla="*/ 1471550 h 1867846"/>
                <a:gd name="connsiteX50" fmla="*/ 271740 w 1713179"/>
                <a:gd name="connsiteY50" fmla="*/ 1461027 h 1867846"/>
                <a:gd name="connsiteX51" fmla="*/ 427483 w 1713179"/>
                <a:gd name="connsiteY51" fmla="*/ 1404903 h 1867846"/>
                <a:gd name="connsiteX52" fmla="*/ 506992 w 1713179"/>
                <a:gd name="connsiteY52" fmla="*/ 1370480 h 1867846"/>
                <a:gd name="connsiteX53" fmla="*/ 574575 w 1713179"/>
                <a:gd name="connsiteY53" fmla="*/ 1314356 h 1867846"/>
                <a:gd name="connsiteX54" fmla="*/ 620316 w 1713179"/>
                <a:gd name="connsiteY54" fmla="*/ 1239525 h 1867846"/>
                <a:gd name="connsiteX55" fmla="*/ 648003 w 1713179"/>
                <a:gd name="connsiteY55" fmla="*/ 1158426 h 1867846"/>
                <a:gd name="connsiteX56" fmla="*/ 712826 w 1713179"/>
                <a:gd name="connsiteY56" fmla="*/ 1008762 h 1867846"/>
                <a:gd name="connsiteX57" fmla="*/ 771803 w 1713179"/>
                <a:gd name="connsiteY57" fmla="*/ 954837 h 1867846"/>
                <a:gd name="connsiteX58" fmla="*/ 845559 w 1713179"/>
                <a:gd name="connsiteY58" fmla="*/ 920507 h 1867846"/>
                <a:gd name="connsiteX59" fmla="*/ 925723 w 1713179"/>
                <a:gd name="connsiteY59" fmla="*/ 895719 h 1867846"/>
                <a:gd name="connsiteX60" fmla="*/ 1006027 w 1713179"/>
                <a:gd name="connsiteY60" fmla="*/ 864290 h 1867846"/>
                <a:gd name="connsiteX61" fmla="*/ 1076181 w 1713179"/>
                <a:gd name="connsiteY61" fmla="*/ 812235 h 1867846"/>
                <a:gd name="connsiteX62" fmla="*/ 1125617 w 1713179"/>
                <a:gd name="connsiteY62" fmla="*/ 740116 h 1867846"/>
                <a:gd name="connsiteX63" fmla="*/ 1180244 w 1713179"/>
                <a:gd name="connsiteY63" fmla="*/ 579555 h 1867846"/>
                <a:gd name="connsiteX64" fmla="*/ 1216257 w 1713179"/>
                <a:gd name="connsiteY64" fmla="*/ 506735 h 1867846"/>
                <a:gd name="connsiteX65" fmla="*/ 1272381 w 1713179"/>
                <a:gd name="connsiteY65" fmla="*/ 449395 h 1867846"/>
                <a:gd name="connsiteX66" fmla="*/ 1344266 w 1713179"/>
                <a:gd name="connsiteY66" fmla="*/ 411698 h 1867846"/>
                <a:gd name="connsiteX67" fmla="*/ 1423775 w 1713179"/>
                <a:gd name="connsiteY67" fmla="*/ 386443 h 1867846"/>
                <a:gd name="connsiteX68" fmla="*/ 1504406 w 1713179"/>
                <a:gd name="connsiteY68" fmla="*/ 357399 h 1867846"/>
                <a:gd name="connsiteX69" fmla="*/ 1630684 w 1713179"/>
                <a:gd name="connsiteY69" fmla="*/ 240474 h 1867846"/>
                <a:gd name="connsiteX70" fmla="*/ 1662862 w 1713179"/>
                <a:gd name="connsiteY70" fmla="*/ 160638 h 1867846"/>
                <a:gd name="connsiteX71" fmla="*/ 1687322 w 1713179"/>
                <a:gd name="connsiteY71" fmla="*/ 80147 h 1867846"/>
                <a:gd name="connsiteX72" fmla="*/ 1701822 w 1713179"/>
                <a:gd name="connsiteY72" fmla="*/ 41515 h 1867846"/>
                <a:gd name="connsiteX73" fmla="*/ 1706499 w 1713179"/>
                <a:gd name="connsiteY73" fmla="*/ 20936 h 1867846"/>
                <a:gd name="connsiteX74" fmla="*/ 1712064 w 1713179"/>
                <a:gd name="connsiteY74" fmla="*/ 124 h 186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1713179" h="1867846">
                  <a:moveTo>
                    <a:pt x="1712111" y="-250"/>
                  </a:moveTo>
                  <a:cubicBezTo>
                    <a:pt x="1708323" y="6101"/>
                    <a:pt x="1703224" y="11545"/>
                    <a:pt x="1697098" y="15698"/>
                  </a:cubicBezTo>
                  <a:cubicBezTo>
                    <a:pt x="1691252" y="20361"/>
                    <a:pt x="1686668" y="26381"/>
                    <a:pt x="1683722" y="33237"/>
                  </a:cubicBezTo>
                  <a:cubicBezTo>
                    <a:pt x="1681009" y="39878"/>
                    <a:pt x="1677969" y="46426"/>
                    <a:pt x="1675443" y="53161"/>
                  </a:cubicBezTo>
                  <a:lnTo>
                    <a:pt x="1668381" y="73412"/>
                  </a:lnTo>
                  <a:cubicBezTo>
                    <a:pt x="1659307" y="100492"/>
                    <a:pt x="1652152" y="127712"/>
                    <a:pt x="1643640" y="154231"/>
                  </a:cubicBezTo>
                  <a:cubicBezTo>
                    <a:pt x="1635783" y="180534"/>
                    <a:pt x="1625446" y="206033"/>
                    <a:pt x="1612772" y="230372"/>
                  </a:cubicBezTo>
                  <a:cubicBezTo>
                    <a:pt x="1600144" y="254196"/>
                    <a:pt x="1583540" y="275692"/>
                    <a:pt x="1563663" y="293932"/>
                  </a:cubicBezTo>
                  <a:cubicBezTo>
                    <a:pt x="1543786" y="312331"/>
                    <a:pt x="1521009" y="327316"/>
                    <a:pt x="1496221" y="338270"/>
                  </a:cubicBezTo>
                  <a:cubicBezTo>
                    <a:pt x="1470919" y="349350"/>
                    <a:pt x="1444915" y="358633"/>
                    <a:pt x="1418303" y="366051"/>
                  </a:cubicBezTo>
                  <a:cubicBezTo>
                    <a:pt x="1391503" y="374002"/>
                    <a:pt x="1364190" y="381579"/>
                    <a:pt x="1337204" y="391541"/>
                  </a:cubicBezTo>
                  <a:cubicBezTo>
                    <a:pt x="1309843" y="401479"/>
                    <a:pt x="1283979" y="415005"/>
                    <a:pt x="1260174" y="431763"/>
                  </a:cubicBezTo>
                  <a:cubicBezTo>
                    <a:pt x="1236228" y="448899"/>
                    <a:pt x="1215462" y="470114"/>
                    <a:pt x="1198859" y="494434"/>
                  </a:cubicBezTo>
                  <a:cubicBezTo>
                    <a:pt x="1182676" y="518558"/>
                    <a:pt x="1169581" y="544628"/>
                    <a:pt x="1159900" y="572026"/>
                  </a:cubicBezTo>
                  <a:cubicBezTo>
                    <a:pt x="1140349" y="625998"/>
                    <a:pt x="1129920" y="681467"/>
                    <a:pt x="1105740" y="730295"/>
                  </a:cubicBezTo>
                  <a:cubicBezTo>
                    <a:pt x="1094281" y="754723"/>
                    <a:pt x="1078894" y="777107"/>
                    <a:pt x="1060233" y="796567"/>
                  </a:cubicBezTo>
                  <a:cubicBezTo>
                    <a:pt x="1041291" y="815678"/>
                    <a:pt x="1019496" y="831696"/>
                    <a:pt x="995597" y="844039"/>
                  </a:cubicBezTo>
                  <a:cubicBezTo>
                    <a:pt x="947471" y="869248"/>
                    <a:pt x="892095" y="879911"/>
                    <a:pt x="838029" y="898526"/>
                  </a:cubicBezTo>
                  <a:cubicBezTo>
                    <a:pt x="810388" y="907445"/>
                    <a:pt x="783917" y="919694"/>
                    <a:pt x="759222" y="935006"/>
                  </a:cubicBezTo>
                  <a:cubicBezTo>
                    <a:pt x="734527" y="951058"/>
                    <a:pt x="712593" y="971024"/>
                    <a:pt x="694306" y="994123"/>
                  </a:cubicBezTo>
                  <a:cubicBezTo>
                    <a:pt x="676440" y="1017284"/>
                    <a:pt x="662081" y="1042956"/>
                    <a:pt x="651698" y="1070311"/>
                  </a:cubicBezTo>
                  <a:cubicBezTo>
                    <a:pt x="640894" y="1097110"/>
                    <a:pt x="632990" y="1124564"/>
                    <a:pt x="625086" y="1151457"/>
                  </a:cubicBezTo>
                  <a:cubicBezTo>
                    <a:pt x="617790" y="1178097"/>
                    <a:pt x="608857" y="1204246"/>
                    <a:pt x="598240" y="1229750"/>
                  </a:cubicBezTo>
                  <a:cubicBezTo>
                    <a:pt x="587670" y="1254519"/>
                    <a:pt x="573499" y="1277581"/>
                    <a:pt x="556147" y="1298174"/>
                  </a:cubicBezTo>
                  <a:cubicBezTo>
                    <a:pt x="538749" y="1318547"/>
                    <a:pt x="517890" y="1335702"/>
                    <a:pt x="494552" y="1348873"/>
                  </a:cubicBezTo>
                  <a:cubicBezTo>
                    <a:pt x="470792" y="1362136"/>
                    <a:pt x="445724" y="1372889"/>
                    <a:pt x="419720" y="1380957"/>
                  </a:cubicBezTo>
                  <a:cubicBezTo>
                    <a:pt x="367337" y="1397887"/>
                    <a:pt x="310513" y="1409860"/>
                    <a:pt x="259159" y="1439045"/>
                  </a:cubicBezTo>
                  <a:cubicBezTo>
                    <a:pt x="207198" y="1467107"/>
                    <a:pt x="167210" y="1515560"/>
                    <a:pt x="143965" y="1568784"/>
                  </a:cubicBezTo>
                  <a:cubicBezTo>
                    <a:pt x="120720" y="1622009"/>
                    <a:pt x="110244" y="1678272"/>
                    <a:pt x="90132" y="1729018"/>
                  </a:cubicBezTo>
                  <a:cubicBezTo>
                    <a:pt x="80825" y="1754287"/>
                    <a:pt x="67824" y="1778051"/>
                    <a:pt x="51594" y="1799547"/>
                  </a:cubicBezTo>
                  <a:cubicBezTo>
                    <a:pt x="47712" y="1804963"/>
                    <a:pt x="43363" y="1810060"/>
                    <a:pt x="38686" y="1814794"/>
                  </a:cubicBezTo>
                  <a:cubicBezTo>
                    <a:pt x="36441" y="1817179"/>
                    <a:pt x="34290" y="1819704"/>
                    <a:pt x="32092" y="1822137"/>
                  </a:cubicBezTo>
                  <a:lnTo>
                    <a:pt x="23065" y="1830696"/>
                  </a:lnTo>
                  <a:cubicBezTo>
                    <a:pt x="17312" y="1835433"/>
                    <a:pt x="13150" y="1841766"/>
                    <a:pt x="10998" y="1848889"/>
                  </a:cubicBezTo>
                  <a:cubicBezTo>
                    <a:pt x="8987" y="1856204"/>
                    <a:pt x="4778" y="1862728"/>
                    <a:pt x="-1069" y="1867597"/>
                  </a:cubicBezTo>
                  <a:lnTo>
                    <a:pt x="-1069" y="1867597"/>
                  </a:lnTo>
                  <a:cubicBezTo>
                    <a:pt x="5246" y="1863261"/>
                    <a:pt x="12635" y="1860679"/>
                    <a:pt x="20259" y="1860114"/>
                  </a:cubicBezTo>
                  <a:cubicBezTo>
                    <a:pt x="26432" y="1859197"/>
                    <a:pt x="32278" y="1856629"/>
                    <a:pt x="37142" y="1852677"/>
                  </a:cubicBezTo>
                  <a:cubicBezTo>
                    <a:pt x="37142" y="1852677"/>
                    <a:pt x="37142" y="1852677"/>
                    <a:pt x="37142" y="1852677"/>
                  </a:cubicBezTo>
                  <a:cubicBezTo>
                    <a:pt x="39107" y="1851372"/>
                    <a:pt x="40931" y="1849918"/>
                    <a:pt x="42662" y="1848328"/>
                  </a:cubicBezTo>
                  <a:cubicBezTo>
                    <a:pt x="45655" y="1845662"/>
                    <a:pt x="48508" y="1842856"/>
                    <a:pt x="51314" y="1839956"/>
                  </a:cubicBezTo>
                  <a:cubicBezTo>
                    <a:pt x="53465" y="1837851"/>
                    <a:pt x="55617" y="1835606"/>
                    <a:pt x="57955" y="1832987"/>
                  </a:cubicBezTo>
                  <a:cubicBezTo>
                    <a:pt x="57862" y="1832964"/>
                    <a:pt x="57721" y="1832964"/>
                    <a:pt x="57628" y="1832987"/>
                  </a:cubicBezTo>
                  <a:cubicBezTo>
                    <a:pt x="62819" y="1827398"/>
                    <a:pt x="67730" y="1821524"/>
                    <a:pt x="72313" y="1815402"/>
                  </a:cubicBezTo>
                  <a:cubicBezTo>
                    <a:pt x="90039" y="1791993"/>
                    <a:pt x="104210" y="1766102"/>
                    <a:pt x="114406" y="1738559"/>
                  </a:cubicBezTo>
                  <a:cubicBezTo>
                    <a:pt x="135219" y="1684540"/>
                    <a:pt x="145789" y="1628977"/>
                    <a:pt x="167443" y="1579167"/>
                  </a:cubicBezTo>
                  <a:cubicBezTo>
                    <a:pt x="178060" y="1554501"/>
                    <a:pt x="192372" y="1531616"/>
                    <a:pt x="209957" y="1511304"/>
                  </a:cubicBezTo>
                  <a:cubicBezTo>
                    <a:pt x="214260" y="1506225"/>
                    <a:pt x="218843" y="1501384"/>
                    <a:pt x="223661" y="1496806"/>
                  </a:cubicBezTo>
                  <a:lnTo>
                    <a:pt x="238487" y="1483383"/>
                  </a:lnTo>
                  <a:lnTo>
                    <a:pt x="254669" y="1471550"/>
                  </a:lnTo>
                  <a:cubicBezTo>
                    <a:pt x="260001" y="1467621"/>
                    <a:pt x="266081" y="1464581"/>
                    <a:pt x="271740" y="1461027"/>
                  </a:cubicBezTo>
                  <a:cubicBezTo>
                    <a:pt x="318510" y="1434041"/>
                    <a:pt x="373230" y="1422161"/>
                    <a:pt x="427483" y="1404903"/>
                  </a:cubicBezTo>
                  <a:cubicBezTo>
                    <a:pt x="455171" y="1396325"/>
                    <a:pt x="481830" y="1384787"/>
                    <a:pt x="506992" y="1370480"/>
                  </a:cubicBezTo>
                  <a:cubicBezTo>
                    <a:pt x="532622" y="1355874"/>
                    <a:pt x="555492" y="1336881"/>
                    <a:pt x="574575" y="1314356"/>
                  </a:cubicBezTo>
                  <a:cubicBezTo>
                    <a:pt x="593470" y="1291837"/>
                    <a:pt x="608904" y="1266614"/>
                    <a:pt x="620316" y="1239525"/>
                  </a:cubicBezTo>
                  <a:cubicBezTo>
                    <a:pt x="631260" y="1213104"/>
                    <a:pt x="640473" y="1186015"/>
                    <a:pt x="648003" y="1158426"/>
                  </a:cubicBezTo>
                  <a:cubicBezTo>
                    <a:pt x="663811" y="1104687"/>
                    <a:pt x="679339" y="1051089"/>
                    <a:pt x="712826" y="1008762"/>
                  </a:cubicBezTo>
                  <a:cubicBezTo>
                    <a:pt x="729477" y="987739"/>
                    <a:pt x="749401" y="969532"/>
                    <a:pt x="771803" y="954837"/>
                  </a:cubicBezTo>
                  <a:cubicBezTo>
                    <a:pt x="794861" y="940403"/>
                    <a:pt x="819649" y="928870"/>
                    <a:pt x="845559" y="920507"/>
                  </a:cubicBezTo>
                  <a:cubicBezTo>
                    <a:pt x="871610" y="911434"/>
                    <a:pt x="898596" y="904091"/>
                    <a:pt x="925723" y="895719"/>
                  </a:cubicBezTo>
                  <a:cubicBezTo>
                    <a:pt x="953411" y="887811"/>
                    <a:pt x="980303" y="877288"/>
                    <a:pt x="1006027" y="864290"/>
                  </a:cubicBezTo>
                  <a:cubicBezTo>
                    <a:pt x="1032030" y="850792"/>
                    <a:pt x="1055743" y="833221"/>
                    <a:pt x="1076181" y="812235"/>
                  </a:cubicBezTo>
                  <a:cubicBezTo>
                    <a:pt x="1096526" y="791095"/>
                    <a:pt x="1113223" y="766724"/>
                    <a:pt x="1125617" y="740116"/>
                  </a:cubicBezTo>
                  <a:cubicBezTo>
                    <a:pt x="1150873" y="687500"/>
                    <a:pt x="1161349" y="631142"/>
                    <a:pt x="1180244" y="579555"/>
                  </a:cubicBezTo>
                  <a:cubicBezTo>
                    <a:pt x="1189131" y="553855"/>
                    <a:pt x="1201197" y="529386"/>
                    <a:pt x="1216257" y="506735"/>
                  </a:cubicBezTo>
                  <a:cubicBezTo>
                    <a:pt x="1231457" y="484472"/>
                    <a:pt x="1250446" y="465063"/>
                    <a:pt x="1272381" y="449395"/>
                  </a:cubicBezTo>
                  <a:cubicBezTo>
                    <a:pt x="1294503" y="433629"/>
                    <a:pt x="1318730" y="420950"/>
                    <a:pt x="1344266" y="411698"/>
                  </a:cubicBezTo>
                  <a:cubicBezTo>
                    <a:pt x="1369942" y="401923"/>
                    <a:pt x="1396882" y="394627"/>
                    <a:pt x="1423775" y="386443"/>
                  </a:cubicBezTo>
                  <a:cubicBezTo>
                    <a:pt x="1451322" y="378665"/>
                    <a:pt x="1478262" y="368960"/>
                    <a:pt x="1504406" y="357399"/>
                  </a:cubicBezTo>
                  <a:cubicBezTo>
                    <a:pt x="1558285" y="333504"/>
                    <a:pt x="1602716" y="292375"/>
                    <a:pt x="1630684" y="240474"/>
                  </a:cubicBezTo>
                  <a:cubicBezTo>
                    <a:pt x="1644014" y="214985"/>
                    <a:pt x="1654771" y="188242"/>
                    <a:pt x="1662862" y="160638"/>
                  </a:cubicBezTo>
                  <a:cubicBezTo>
                    <a:pt x="1671281" y="133511"/>
                    <a:pt x="1678577" y="106385"/>
                    <a:pt x="1687322" y="80147"/>
                  </a:cubicBezTo>
                  <a:cubicBezTo>
                    <a:pt x="1691672" y="67005"/>
                    <a:pt x="1696676" y="54237"/>
                    <a:pt x="1701822" y="41515"/>
                  </a:cubicBezTo>
                  <a:cubicBezTo>
                    <a:pt x="1705002" y="35131"/>
                    <a:pt x="1706592" y="28074"/>
                    <a:pt x="1706499" y="20936"/>
                  </a:cubicBezTo>
                  <a:cubicBezTo>
                    <a:pt x="1706685" y="13659"/>
                    <a:pt x="1708603" y="6536"/>
                    <a:pt x="1712064" y="124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DB511830-FB56-44DC-AA52-E208148C460C}"/>
                </a:ext>
              </a:extLst>
            </p:cNvPr>
            <p:cNvSpPr/>
            <p:nvPr/>
          </p:nvSpPr>
          <p:spPr>
            <a:xfrm>
              <a:off x="10136841" y="4211697"/>
              <a:ext cx="1038945" cy="1031789"/>
            </a:xfrm>
            <a:custGeom>
              <a:avLst/>
              <a:gdLst>
                <a:gd name="connsiteX0" fmla="*/ 1037877 w 1038945"/>
                <a:gd name="connsiteY0" fmla="*/ -203 h 1031789"/>
                <a:gd name="connsiteX1" fmla="*/ 1020431 w 1038945"/>
                <a:gd name="connsiteY1" fmla="*/ 2042 h 1031789"/>
                <a:gd name="connsiteX2" fmla="*/ 1002940 w 1038945"/>
                <a:gd name="connsiteY2" fmla="*/ 6719 h 1031789"/>
                <a:gd name="connsiteX3" fmla="*/ 1000695 w 1038945"/>
                <a:gd name="connsiteY3" fmla="*/ 7841 h 1031789"/>
                <a:gd name="connsiteX4" fmla="*/ 1000695 w 1038945"/>
                <a:gd name="connsiteY4" fmla="*/ 7841 h 1031789"/>
                <a:gd name="connsiteX5" fmla="*/ 999151 w 1038945"/>
                <a:gd name="connsiteY5" fmla="*/ 8823 h 1031789"/>
                <a:gd name="connsiteX6" fmla="*/ 987272 w 1038945"/>
                <a:gd name="connsiteY6" fmla="*/ 16119 h 1031789"/>
                <a:gd name="connsiteX7" fmla="*/ 987552 w 1038945"/>
                <a:gd name="connsiteY7" fmla="*/ 16119 h 1031789"/>
                <a:gd name="connsiteX8" fmla="*/ 984044 w 1038945"/>
                <a:gd name="connsiteY8" fmla="*/ 18317 h 1031789"/>
                <a:gd name="connsiteX9" fmla="*/ 945319 w 1038945"/>
                <a:gd name="connsiteY9" fmla="*/ 50635 h 1031789"/>
                <a:gd name="connsiteX10" fmla="*/ 889476 w 1038945"/>
                <a:gd name="connsiteY10" fmla="*/ 133839 h 1031789"/>
                <a:gd name="connsiteX11" fmla="*/ 825775 w 1038945"/>
                <a:gd name="connsiteY11" fmla="*/ 317083 h 1031789"/>
                <a:gd name="connsiteX12" fmla="*/ 694820 w 1038945"/>
                <a:gd name="connsiteY12" fmla="*/ 444157 h 1031789"/>
                <a:gd name="connsiteX13" fmla="*/ 511014 w 1038945"/>
                <a:gd name="connsiteY13" fmla="*/ 507811 h 1031789"/>
                <a:gd name="connsiteX14" fmla="*/ 428933 w 1038945"/>
                <a:gd name="connsiteY14" fmla="*/ 565712 h 1031789"/>
                <a:gd name="connsiteX15" fmla="*/ 374353 w 1038945"/>
                <a:gd name="connsiteY15" fmla="*/ 649897 h 1031789"/>
                <a:gd name="connsiteX16" fmla="*/ 310465 w 1038945"/>
                <a:gd name="connsiteY16" fmla="*/ 832721 h 1031789"/>
                <a:gd name="connsiteX17" fmla="*/ 177779 w 1038945"/>
                <a:gd name="connsiteY17" fmla="*/ 957128 h 1031789"/>
                <a:gd name="connsiteX18" fmla="*/ 86859 w 1038945"/>
                <a:gd name="connsiteY18" fmla="*/ 987248 h 1031789"/>
                <a:gd name="connsiteX19" fmla="*/ 40089 w 1038945"/>
                <a:gd name="connsiteY19" fmla="*/ 1002074 h 1031789"/>
                <a:gd name="connsiteX20" fmla="*/ 28490 w 1038945"/>
                <a:gd name="connsiteY20" fmla="*/ 1006751 h 1031789"/>
                <a:gd name="connsiteX21" fmla="*/ 18154 w 1038945"/>
                <a:gd name="connsiteY21" fmla="*/ 1014422 h 1031789"/>
                <a:gd name="connsiteX22" fmla="*/ 9127 w 1038945"/>
                <a:gd name="connsiteY22" fmla="*/ 1024617 h 1031789"/>
                <a:gd name="connsiteX23" fmla="*/ -1069 w 1038945"/>
                <a:gd name="connsiteY23" fmla="*/ 1031539 h 1031789"/>
                <a:gd name="connsiteX24" fmla="*/ -1069 w 1038945"/>
                <a:gd name="connsiteY24" fmla="*/ 1031539 h 1031789"/>
                <a:gd name="connsiteX25" fmla="*/ 10811 w 1038945"/>
                <a:gd name="connsiteY25" fmla="*/ 1028359 h 1031789"/>
                <a:gd name="connsiteX26" fmla="*/ 24140 w 1038945"/>
                <a:gd name="connsiteY26" fmla="*/ 1028967 h 1031789"/>
                <a:gd name="connsiteX27" fmla="*/ 47525 w 1038945"/>
                <a:gd name="connsiteY27" fmla="*/ 1023962 h 1031789"/>
                <a:gd name="connsiteX28" fmla="*/ 93313 w 1038945"/>
                <a:gd name="connsiteY28" fmla="*/ 1009464 h 1031789"/>
                <a:gd name="connsiteX29" fmla="*/ 186853 w 1038945"/>
                <a:gd name="connsiteY29" fmla="*/ 978269 h 1031789"/>
                <a:gd name="connsiteX30" fmla="*/ 271647 w 1038945"/>
                <a:gd name="connsiteY30" fmla="*/ 924203 h 1031789"/>
                <a:gd name="connsiteX31" fmla="*/ 330530 w 1038945"/>
                <a:gd name="connsiteY31" fmla="*/ 842542 h 1031789"/>
                <a:gd name="connsiteX32" fmla="*/ 394277 w 1038945"/>
                <a:gd name="connsiteY32" fmla="*/ 658596 h 1031789"/>
                <a:gd name="connsiteX33" fmla="*/ 444648 w 1038945"/>
                <a:gd name="connsiteY33" fmla="*/ 580584 h 1031789"/>
                <a:gd name="connsiteX34" fmla="*/ 520088 w 1038945"/>
                <a:gd name="connsiteY34" fmla="*/ 526799 h 1031789"/>
                <a:gd name="connsiteX35" fmla="*/ 703191 w 1038945"/>
                <a:gd name="connsiteY35" fmla="*/ 463052 h 1031789"/>
                <a:gd name="connsiteX36" fmla="*/ 844343 w 1038945"/>
                <a:gd name="connsiteY36" fmla="*/ 325315 h 1031789"/>
                <a:gd name="connsiteX37" fmla="*/ 907716 w 1038945"/>
                <a:gd name="connsiteY37" fmla="*/ 141556 h 1031789"/>
                <a:gd name="connsiteX38" fmla="*/ 959163 w 1038945"/>
                <a:gd name="connsiteY38" fmla="*/ 64058 h 1031789"/>
                <a:gd name="connsiteX39" fmla="*/ 994895 w 1038945"/>
                <a:gd name="connsiteY39" fmla="*/ 34172 h 1031789"/>
                <a:gd name="connsiteX40" fmla="*/ 1000975 w 1038945"/>
                <a:gd name="connsiteY40" fmla="*/ 30010 h 1031789"/>
                <a:gd name="connsiteX41" fmla="*/ 1000975 w 1038945"/>
                <a:gd name="connsiteY41" fmla="*/ 30478 h 1031789"/>
                <a:gd name="connsiteX42" fmla="*/ 1012948 w 1038945"/>
                <a:gd name="connsiteY42" fmla="*/ 23462 h 1031789"/>
                <a:gd name="connsiteX43" fmla="*/ 1025249 w 1038945"/>
                <a:gd name="connsiteY43" fmla="*/ 11863 h 1031789"/>
                <a:gd name="connsiteX44" fmla="*/ 1037642 w 1038945"/>
                <a:gd name="connsiteY44" fmla="*/ -250 h 1031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038945" h="1031789">
                  <a:moveTo>
                    <a:pt x="1037877" y="-203"/>
                  </a:moveTo>
                  <a:cubicBezTo>
                    <a:pt x="1032357" y="2060"/>
                    <a:pt x="1026325" y="2837"/>
                    <a:pt x="1020431" y="2042"/>
                  </a:cubicBezTo>
                  <a:cubicBezTo>
                    <a:pt x="1014258" y="1709"/>
                    <a:pt x="1008131" y="3346"/>
                    <a:pt x="1002940" y="6719"/>
                  </a:cubicBezTo>
                  <a:lnTo>
                    <a:pt x="1000695" y="7841"/>
                  </a:lnTo>
                  <a:lnTo>
                    <a:pt x="1000695" y="7841"/>
                  </a:lnTo>
                  <a:cubicBezTo>
                    <a:pt x="1000180" y="8168"/>
                    <a:pt x="999665" y="8543"/>
                    <a:pt x="999151" y="8823"/>
                  </a:cubicBezTo>
                  <a:cubicBezTo>
                    <a:pt x="995035" y="10984"/>
                    <a:pt x="991060" y="13421"/>
                    <a:pt x="987272" y="16119"/>
                  </a:cubicBezTo>
                  <a:lnTo>
                    <a:pt x="987552" y="16119"/>
                  </a:lnTo>
                  <a:cubicBezTo>
                    <a:pt x="986383" y="16868"/>
                    <a:pt x="985214" y="17663"/>
                    <a:pt x="984044" y="18317"/>
                  </a:cubicBezTo>
                  <a:cubicBezTo>
                    <a:pt x="970060" y="27760"/>
                    <a:pt x="957105" y="38588"/>
                    <a:pt x="945319" y="50635"/>
                  </a:cubicBezTo>
                  <a:cubicBezTo>
                    <a:pt x="921747" y="74684"/>
                    <a:pt x="902805" y="102896"/>
                    <a:pt x="889476" y="133839"/>
                  </a:cubicBezTo>
                  <a:cubicBezTo>
                    <a:pt x="862302" y="194874"/>
                    <a:pt x="852715" y="260118"/>
                    <a:pt x="825775" y="317083"/>
                  </a:cubicBezTo>
                  <a:cubicBezTo>
                    <a:pt x="800099" y="374704"/>
                    <a:pt x="753189" y="420215"/>
                    <a:pt x="694820" y="444157"/>
                  </a:cubicBezTo>
                  <a:cubicBezTo>
                    <a:pt x="637106" y="469553"/>
                    <a:pt x="571721" y="479141"/>
                    <a:pt x="511014" y="507811"/>
                  </a:cubicBezTo>
                  <a:cubicBezTo>
                    <a:pt x="480333" y="521926"/>
                    <a:pt x="452505" y="541550"/>
                    <a:pt x="428933" y="565712"/>
                  </a:cubicBezTo>
                  <a:cubicBezTo>
                    <a:pt x="405829" y="590270"/>
                    <a:pt x="387355" y="618791"/>
                    <a:pt x="374353" y="649897"/>
                  </a:cubicBezTo>
                  <a:cubicBezTo>
                    <a:pt x="347787" y="711166"/>
                    <a:pt x="338059" y="776176"/>
                    <a:pt x="310465" y="832721"/>
                  </a:cubicBezTo>
                  <a:cubicBezTo>
                    <a:pt x="283807" y="889663"/>
                    <a:pt x="236335" y="934197"/>
                    <a:pt x="177779" y="957128"/>
                  </a:cubicBezTo>
                  <a:cubicBezTo>
                    <a:pt x="148080" y="968947"/>
                    <a:pt x="117727" y="979007"/>
                    <a:pt x="86859" y="987248"/>
                  </a:cubicBezTo>
                  <a:cubicBezTo>
                    <a:pt x="71284" y="991925"/>
                    <a:pt x="55476" y="996275"/>
                    <a:pt x="40089" y="1002074"/>
                  </a:cubicBezTo>
                  <a:cubicBezTo>
                    <a:pt x="36207" y="1003618"/>
                    <a:pt x="32231" y="1004740"/>
                    <a:pt x="28490" y="1006751"/>
                  </a:cubicBezTo>
                  <a:cubicBezTo>
                    <a:pt x="24608" y="1008692"/>
                    <a:pt x="21147" y="1011288"/>
                    <a:pt x="18154" y="1014422"/>
                  </a:cubicBezTo>
                  <a:cubicBezTo>
                    <a:pt x="15020" y="1017695"/>
                    <a:pt x="12307" y="1021764"/>
                    <a:pt x="9127" y="1024617"/>
                  </a:cubicBezTo>
                  <a:cubicBezTo>
                    <a:pt x="5994" y="1027293"/>
                    <a:pt x="2579" y="1029612"/>
                    <a:pt x="-1069" y="1031539"/>
                  </a:cubicBezTo>
                  <a:lnTo>
                    <a:pt x="-1069" y="1031539"/>
                  </a:lnTo>
                  <a:cubicBezTo>
                    <a:pt x="2767" y="1030010"/>
                    <a:pt x="6742" y="1028939"/>
                    <a:pt x="10811" y="1028359"/>
                  </a:cubicBezTo>
                  <a:cubicBezTo>
                    <a:pt x="15254" y="1028055"/>
                    <a:pt x="19744" y="1028261"/>
                    <a:pt x="24140" y="1028967"/>
                  </a:cubicBezTo>
                  <a:cubicBezTo>
                    <a:pt x="32185" y="1028948"/>
                    <a:pt x="40183" y="1027246"/>
                    <a:pt x="47525" y="1023962"/>
                  </a:cubicBezTo>
                  <a:cubicBezTo>
                    <a:pt x="62585" y="1018958"/>
                    <a:pt x="77832" y="1013954"/>
                    <a:pt x="93313" y="1009464"/>
                  </a:cubicBezTo>
                  <a:cubicBezTo>
                    <a:pt x="124228" y="1000110"/>
                    <a:pt x="155984" y="991504"/>
                    <a:pt x="186853" y="978269"/>
                  </a:cubicBezTo>
                  <a:cubicBezTo>
                    <a:pt x="218142" y="965500"/>
                    <a:pt x="246858" y="947185"/>
                    <a:pt x="271647" y="924203"/>
                  </a:cubicBezTo>
                  <a:cubicBezTo>
                    <a:pt x="296201" y="900911"/>
                    <a:pt x="316171" y="873209"/>
                    <a:pt x="330530" y="842542"/>
                  </a:cubicBezTo>
                  <a:cubicBezTo>
                    <a:pt x="359620" y="781742"/>
                    <a:pt x="369348" y="716264"/>
                    <a:pt x="394277" y="658596"/>
                  </a:cubicBezTo>
                  <a:cubicBezTo>
                    <a:pt x="406203" y="629744"/>
                    <a:pt x="423274" y="603310"/>
                    <a:pt x="444648" y="580584"/>
                  </a:cubicBezTo>
                  <a:cubicBezTo>
                    <a:pt x="466209" y="558116"/>
                    <a:pt x="491792" y="539876"/>
                    <a:pt x="520088" y="526799"/>
                  </a:cubicBezTo>
                  <a:cubicBezTo>
                    <a:pt x="576820" y="499579"/>
                    <a:pt x="641970" y="489804"/>
                    <a:pt x="703191" y="463052"/>
                  </a:cubicBezTo>
                  <a:cubicBezTo>
                    <a:pt x="766097" y="436819"/>
                    <a:pt x="816562" y="387547"/>
                    <a:pt x="844343" y="325315"/>
                  </a:cubicBezTo>
                  <a:cubicBezTo>
                    <a:pt x="872405" y="264514"/>
                    <a:pt x="882086" y="199036"/>
                    <a:pt x="907716" y="141556"/>
                  </a:cubicBezTo>
                  <a:cubicBezTo>
                    <a:pt x="919970" y="112788"/>
                    <a:pt x="937415" y="86517"/>
                    <a:pt x="959163" y="64058"/>
                  </a:cubicBezTo>
                  <a:cubicBezTo>
                    <a:pt x="970013" y="52899"/>
                    <a:pt x="981987" y="42886"/>
                    <a:pt x="994895" y="34172"/>
                  </a:cubicBezTo>
                  <a:cubicBezTo>
                    <a:pt x="996859" y="32685"/>
                    <a:pt x="998871" y="31296"/>
                    <a:pt x="1000975" y="30010"/>
                  </a:cubicBezTo>
                  <a:cubicBezTo>
                    <a:pt x="1000975" y="30164"/>
                    <a:pt x="1000975" y="30323"/>
                    <a:pt x="1000975" y="30478"/>
                  </a:cubicBezTo>
                  <a:lnTo>
                    <a:pt x="1012948" y="23462"/>
                  </a:lnTo>
                  <a:cubicBezTo>
                    <a:pt x="1018093" y="20909"/>
                    <a:pt x="1022395" y="16872"/>
                    <a:pt x="1025249" y="11863"/>
                  </a:cubicBezTo>
                  <a:cubicBezTo>
                    <a:pt x="1028055" y="6658"/>
                    <a:pt x="1032357" y="2434"/>
                    <a:pt x="1037642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4FC47E99-7000-4087-89A9-8DE022CB0421}"/>
                </a:ext>
              </a:extLst>
            </p:cNvPr>
            <p:cNvSpPr/>
            <p:nvPr/>
          </p:nvSpPr>
          <p:spPr>
            <a:xfrm>
              <a:off x="10200074" y="4152544"/>
              <a:ext cx="978238" cy="1011160"/>
            </a:xfrm>
            <a:custGeom>
              <a:avLst/>
              <a:gdLst>
                <a:gd name="connsiteX0" fmla="*/ 976982 w 978238"/>
                <a:gd name="connsiteY0" fmla="*/ 1001 h 1011160"/>
                <a:gd name="connsiteX1" fmla="*/ 959724 w 978238"/>
                <a:gd name="connsiteY1" fmla="*/ 487 h 1011160"/>
                <a:gd name="connsiteX2" fmla="*/ 942092 w 978238"/>
                <a:gd name="connsiteY2" fmla="*/ 2030 h 1011160"/>
                <a:gd name="connsiteX3" fmla="*/ 939099 w 978238"/>
                <a:gd name="connsiteY3" fmla="*/ 3012 h 1011160"/>
                <a:gd name="connsiteX4" fmla="*/ 921326 w 978238"/>
                <a:gd name="connsiteY4" fmla="*/ 10308 h 1011160"/>
                <a:gd name="connsiteX5" fmla="*/ 879233 w 978238"/>
                <a:gd name="connsiteY5" fmla="*/ 33693 h 1011160"/>
                <a:gd name="connsiteX6" fmla="*/ 841817 w 978238"/>
                <a:gd name="connsiteY6" fmla="*/ 64140 h 1011160"/>
                <a:gd name="connsiteX7" fmla="*/ 825541 w 978238"/>
                <a:gd name="connsiteY7" fmla="*/ 82006 h 1011160"/>
                <a:gd name="connsiteX8" fmla="*/ 810856 w 978238"/>
                <a:gd name="connsiteY8" fmla="*/ 101182 h 1011160"/>
                <a:gd name="connsiteX9" fmla="*/ 769090 w 978238"/>
                <a:gd name="connsiteY9" fmla="*/ 187005 h 1011160"/>
                <a:gd name="connsiteX10" fmla="*/ 741543 w 978238"/>
                <a:gd name="connsiteY10" fmla="*/ 276101 h 1011160"/>
                <a:gd name="connsiteX11" fmla="*/ 705904 w 978238"/>
                <a:gd name="connsiteY11" fmla="*/ 359258 h 1011160"/>
                <a:gd name="connsiteX12" fmla="*/ 647442 w 978238"/>
                <a:gd name="connsiteY12" fmla="*/ 425952 h 1011160"/>
                <a:gd name="connsiteX13" fmla="*/ 568634 w 978238"/>
                <a:gd name="connsiteY13" fmla="*/ 468513 h 1011160"/>
                <a:gd name="connsiteX14" fmla="*/ 480520 w 978238"/>
                <a:gd name="connsiteY14" fmla="*/ 496013 h 1011160"/>
                <a:gd name="connsiteX15" fmla="*/ 391938 w 978238"/>
                <a:gd name="connsiteY15" fmla="*/ 530295 h 1011160"/>
                <a:gd name="connsiteX16" fmla="*/ 316124 w 978238"/>
                <a:gd name="connsiteY16" fmla="*/ 589740 h 1011160"/>
                <a:gd name="connsiteX17" fmla="*/ 266127 w 978238"/>
                <a:gd name="connsiteY17" fmla="*/ 671634 h 1011160"/>
                <a:gd name="connsiteX18" fmla="*/ 236429 w 978238"/>
                <a:gd name="connsiteY18" fmla="*/ 760964 h 1011160"/>
                <a:gd name="connsiteX19" fmla="*/ 205654 w 978238"/>
                <a:gd name="connsiteY19" fmla="*/ 846880 h 1011160"/>
                <a:gd name="connsiteX20" fmla="*/ 154955 w 978238"/>
                <a:gd name="connsiteY20" fmla="*/ 919514 h 1011160"/>
                <a:gd name="connsiteX21" fmla="*/ 81574 w 978238"/>
                <a:gd name="connsiteY21" fmla="*/ 969184 h 1011160"/>
                <a:gd name="connsiteX22" fmla="*/ 39481 w 978238"/>
                <a:gd name="connsiteY22" fmla="*/ 985693 h 1011160"/>
                <a:gd name="connsiteX23" fmla="*/ 18855 w 978238"/>
                <a:gd name="connsiteY23" fmla="*/ 996684 h 1011160"/>
                <a:gd name="connsiteX24" fmla="*/ 9501 w 978238"/>
                <a:gd name="connsiteY24" fmla="*/ 1005150 h 1011160"/>
                <a:gd name="connsiteX25" fmla="*/ -1069 w 978238"/>
                <a:gd name="connsiteY25" fmla="*/ 1010248 h 1011160"/>
                <a:gd name="connsiteX26" fmla="*/ -1069 w 978238"/>
                <a:gd name="connsiteY26" fmla="*/ 1010248 h 1011160"/>
                <a:gd name="connsiteX27" fmla="*/ 10624 w 978238"/>
                <a:gd name="connsiteY27" fmla="*/ 1008751 h 1011160"/>
                <a:gd name="connsiteX28" fmla="*/ 23345 w 978238"/>
                <a:gd name="connsiteY28" fmla="*/ 1010528 h 1011160"/>
                <a:gd name="connsiteX29" fmla="*/ 47011 w 978238"/>
                <a:gd name="connsiteY29" fmla="*/ 1007254 h 1011160"/>
                <a:gd name="connsiteX30" fmla="*/ 91395 w 978238"/>
                <a:gd name="connsiteY30" fmla="*/ 989809 h 1011160"/>
                <a:gd name="connsiteX31" fmla="*/ 225952 w 978238"/>
                <a:gd name="connsiteY31" fmla="*/ 856141 h 1011160"/>
                <a:gd name="connsiteX32" fmla="*/ 257802 w 978238"/>
                <a:gd name="connsiteY32" fmla="*/ 766998 h 1011160"/>
                <a:gd name="connsiteX33" fmla="*/ 286519 w 978238"/>
                <a:gd name="connsiteY33" fmla="*/ 679772 h 1011160"/>
                <a:gd name="connsiteX34" fmla="*/ 332120 w 978238"/>
                <a:gd name="connsiteY34" fmla="*/ 603818 h 1011160"/>
                <a:gd name="connsiteX35" fmla="*/ 401713 w 978238"/>
                <a:gd name="connsiteY35" fmla="*/ 549004 h 1011160"/>
                <a:gd name="connsiteX36" fmla="*/ 486413 w 978238"/>
                <a:gd name="connsiteY36" fmla="*/ 516264 h 1011160"/>
                <a:gd name="connsiteX37" fmla="*/ 575790 w 978238"/>
                <a:gd name="connsiteY37" fmla="*/ 488203 h 1011160"/>
                <a:gd name="connsiteX38" fmla="*/ 659976 w 978238"/>
                <a:gd name="connsiteY38" fmla="*/ 442415 h 1011160"/>
                <a:gd name="connsiteX39" fmla="*/ 723349 w 978238"/>
                <a:gd name="connsiteY39" fmla="*/ 369968 h 1011160"/>
                <a:gd name="connsiteX40" fmla="*/ 760765 w 978238"/>
                <a:gd name="connsiteY40" fmla="*/ 282462 h 1011160"/>
                <a:gd name="connsiteX41" fmla="*/ 788032 w 978238"/>
                <a:gd name="connsiteY41" fmla="*/ 193599 h 1011160"/>
                <a:gd name="connsiteX42" fmla="*/ 827178 w 978238"/>
                <a:gd name="connsiteY42" fmla="*/ 112547 h 1011160"/>
                <a:gd name="connsiteX43" fmla="*/ 890224 w 978238"/>
                <a:gd name="connsiteY43" fmla="*/ 49969 h 1011160"/>
                <a:gd name="connsiteX44" fmla="*/ 929464 w 978238"/>
                <a:gd name="connsiteY44" fmla="*/ 28081 h 1011160"/>
                <a:gd name="connsiteX45" fmla="*/ 936854 w 978238"/>
                <a:gd name="connsiteY45" fmla="*/ 24901 h 1011160"/>
                <a:gd name="connsiteX46" fmla="*/ 949528 w 978238"/>
                <a:gd name="connsiteY46" fmla="*/ 20224 h 1011160"/>
                <a:gd name="connsiteX47" fmla="*/ 963138 w 978238"/>
                <a:gd name="connsiteY47" fmla="*/ 10870 h 1011160"/>
                <a:gd name="connsiteX48" fmla="*/ 977169 w 978238"/>
                <a:gd name="connsiteY48" fmla="*/ 1095 h 1011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978238" h="1011160">
                  <a:moveTo>
                    <a:pt x="976982" y="1001"/>
                  </a:moveTo>
                  <a:cubicBezTo>
                    <a:pt x="971276" y="2339"/>
                    <a:pt x="965336" y="2161"/>
                    <a:pt x="959724" y="487"/>
                  </a:cubicBezTo>
                  <a:cubicBezTo>
                    <a:pt x="953831" y="-879"/>
                    <a:pt x="947657" y="-336"/>
                    <a:pt x="942092" y="2030"/>
                  </a:cubicBezTo>
                  <a:lnTo>
                    <a:pt x="939099" y="3012"/>
                  </a:lnTo>
                  <a:cubicBezTo>
                    <a:pt x="939099" y="3012"/>
                    <a:pt x="927125" y="7455"/>
                    <a:pt x="921326" y="10308"/>
                  </a:cubicBezTo>
                  <a:cubicBezTo>
                    <a:pt x="906687" y="16954"/>
                    <a:pt x="892609" y="24774"/>
                    <a:pt x="879233" y="33693"/>
                  </a:cubicBezTo>
                  <a:cubicBezTo>
                    <a:pt x="865857" y="42659"/>
                    <a:pt x="853322" y="52855"/>
                    <a:pt x="841817" y="64140"/>
                  </a:cubicBezTo>
                  <a:cubicBezTo>
                    <a:pt x="836252" y="69940"/>
                    <a:pt x="830967" y="76020"/>
                    <a:pt x="825541" y="82006"/>
                  </a:cubicBezTo>
                  <a:cubicBezTo>
                    <a:pt x="820116" y="87993"/>
                    <a:pt x="815813" y="94822"/>
                    <a:pt x="810856" y="101182"/>
                  </a:cubicBezTo>
                  <a:cubicBezTo>
                    <a:pt x="793130" y="127766"/>
                    <a:pt x="779052" y="156637"/>
                    <a:pt x="769090" y="187005"/>
                  </a:cubicBezTo>
                  <a:cubicBezTo>
                    <a:pt x="758660" y="216750"/>
                    <a:pt x="750897" y="246917"/>
                    <a:pt x="741543" y="276101"/>
                  </a:cubicBezTo>
                  <a:cubicBezTo>
                    <a:pt x="732937" y="305103"/>
                    <a:pt x="720964" y="333011"/>
                    <a:pt x="705904" y="359258"/>
                  </a:cubicBezTo>
                  <a:cubicBezTo>
                    <a:pt x="690657" y="384883"/>
                    <a:pt x="670874" y="407492"/>
                    <a:pt x="647442" y="425952"/>
                  </a:cubicBezTo>
                  <a:cubicBezTo>
                    <a:pt x="623496" y="444052"/>
                    <a:pt x="596930" y="458406"/>
                    <a:pt x="568634" y="468513"/>
                  </a:cubicBezTo>
                  <a:cubicBezTo>
                    <a:pt x="540199" y="479129"/>
                    <a:pt x="510453" y="487220"/>
                    <a:pt x="480520" y="496013"/>
                  </a:cubicBezTo>
                  <a:cubicBezTo>
                    <a:pt x="449979" y="504577"/>
                    <a:pt x="420281" y="516054"/>
                    <a:pt x="391938" y="530295"/>
                  </a:cubicBezTo>
                  <a:cubicBezTo>
                    <a:pt x="363222" y="545295"/>
                    <a:pt x="337545" y="565443"/>
                    <a:pt x="316124" y="589740"/>
                  </a:cubicBezTo>
                  <a:cubicBezTo>
                    <a:pt x="295078" y="614121"/>
                    <a:pt x="278194" y="641785"/>
                    <a:pt x="266127" y="671634"/>
                  </a:cubicBezTo>
                  <a:cubicBezTo>
                    <a:pt x="254668" y="700865"/>
                    <a:pt x="244753" y="730685"/>
                    <a:pt x="236429" y="760964"/>
                  </a:cubicBezTo>
                  <a:cubicBezTo>
                    <a:pt x="228431" y="790359"/>
                    <a:pt x="218142" y="819085"/>
                    <a:pt x="205654" y="846880"/>
                  </a:cubicBezTo>
                  <a:cubicBezTo>
                    <a:pt x="192979" y="873787"/>
                    <a:pt x="175861" y="898346"/>
                    <a:pt x="154955" y="919514"/>
                  </a:cubicBezTo>
                  <a:cubicBezTo>
                    <a:pt x="133582" y="940247"/>
                    <a:pt x="108747" y="957061"/>
                    <a:pt x="81574" y="969184"/>
                  </a:cubicBezTo>
                  <a:cubicBezTo>
                    <a:pt x="67964" y="975591"/>
                    <a:pt x="53512" y="980455"/>
                    <a:pt x="39481" y="985693"/>
                  </a:cubicBezTo>
                  <a:cubicBezTo>
                    <a:pt x="31811" y="987592"/>
                    <a:pt x="24702" y="991371"/>
                    <a:pt x="18855" y="996684"/>
                  </a:cubicBezTo>
                  <a:cubicBezTo>
                    <a:pt x="16002" y="999771"/>
                    <a:pt x="12869" y="1002601"/>
                    <a:pt x="9501" y="1005150"/>
                  </a:cubicBezTo>
                  <a:cubicBezTo>
                    <a:pt x="6181" y="1007212"/>
                    <a:pt x="2626" y="1008924"/>
                    <a:pt x="-1069" y="1010248"/>
                  </a:cubicBezTo>
                  <a:lnTo>
                    <a:pt x="-1069" y="1010248"/>
                  </a:lnTo>
                  <a:cubicBezTo>
                    <a:pt x="2766" y="1009340"/>
                    <a:pt x="6695" y="1008840"/>
                    <a:pt x="10624" y="1008751"/>
                  </a:cubicBezTo>
                  <a:cubicBezTo>
                    <a:pt x="14927" y="1008971"/>
                    <a:pt x="19182" y="1009565"/>
                    <a:pt x="23345" y="1010528"/>
                  </a:cubicBezTo>
                  <a:cubicBezTo>
                    <a:pt x="31389" y="1011580"/>
                    <a:pt x="39574" y="1010453"/>
                    <a:pt x="47011" y="1007254"/>
                  </a:cubicBezTo>
                  <a:cubicBezTo>
                    <a:pt x="62164" y="1002334"/>
                    <a:pt x="76943" y="996506"/>
                    <a:pt x="91395" y="989809"/>
                  </a:cubicBezTo>
                  <a:cubicBezTo>
                    <a:pt x="151260" y="963482"/>
                    <a:pt x="199246" y="915843"/>
                    <a:pt x="225952" y="856141"/>
                  </a:cubicBezTo>
                  <a:cubicBezTo>
                    <a:pt x="238814" y="827284"/>
                    <a:pt x="249477" y="797482"/>
                    <a:pt x="257802" y="766998"/>
                  </a:cubicBezTo>
                  <a:cubicBezTo>
                    <a:pt x="265847" y="737434"/>
                    <a:pt x="275388" y="708320"/>
                    <a:pt x="286519" y="679772"/>
                  </a:cubicBezTo>
                  <a:cubicBezTo>
                    <a:pt x="297416" y="652098"/>
                    <a:pt x="312804" y="626426"/>
                    <a:pt x="332120" y="603818"/>
                  </a:cubicBezTo>
                  <a:cubicBezTo>
                    <a:pt x="351716" y="581401"/>
                    <a:pt x="375335" y="562814"/>
                    <a:pt x="401713" y="549004"/>
                  </a:cubicBezTo>
                  <a:cubicBezTo>
                    <a:pt x="428793" y="535309"/>
                    <a:pt x="457182" y="524342"/>
                    <a:pt x="486413" y="516264"/>
                  </a:cubicBezTo>
                  <a:cubicBezTo>
                    <a:pt x="515832" y="507285"/>
                    <a:pt x="546092" y="499287"/>
                    <a:pt x="575790" y="488203"/>
                  </a:cubicBezTo>
                  <a:cubicBezTo>
                    <a:pt x="606097" y="477488"/>
                    <a:pt x="634534" y="462030"/>
                    <a:pt x="659976" y="442415"/>
                  </a:cubicBezTo>
                  <a:cubicBezTo>
                    <a:pt x="685372" y="422346"/>
                    <a:pt x="706840" y="397792"/>
                    <a:pt x="723349" y="369968"/>
                  </a:cubicBezTo>
                  <a:cubicBezTo>
                    <a:pt x="739158" y="342351"/>
                    <a:pt x="751738" y="312984"/>
                    <a:pt x="760765" y="282462"/>
                  </a:cubicBezTo>
                  <a:cubicBezTo>
                    <a:pt x="770119" y="252576"/>
                    <a:pt x="778117" y="222643"/>
                    <a:pt x="788032" y="193599"/>
                  </a:cubicBezTo>
                  <a:cubicBezTo>
                    <a:pt x="797245" y="164901"/>
                    <a:pt x="810435" y="137621"/>
                    <a:pt x="827178" y="112547"/>
                  </a:cubicBezTo>
                  <a:cubicBezTo>
                    <a:pt x="844015" y="87853"/>
                    <a:pt x="865389" y="66610"/>
                    <a:pt x="890224" y="49969"/>
                  </a:cubicBezTo>
                  <a:cubicBezTo>
                    <a:pt x="902712" y="41630"/>
                    <a:pt x="915807" y="34311"/>
                    <a:pt x="929464" y="28081"/>
                  </a:cubicBezTo>
                  <a:lnTo>
                    <a:pt x="936854" y="24901"/>
                  </a:lnTo>
                  <a:cubicBezTo>
                    <a:pt x="936854" y="24901"/>
                    <a:pt x="949528" y="20224"/>
                    <a:pt x="949528" y="20224"/>
                  </a:cubicBezTo>
                  <a:cubicBezTo>
                    <a:pt x="954907" y="18540"/>
                    <a:pt x="959631" y="15280"/>
                    <a:pt x="963138" y="10870"/>
                  </a:cubicBezTo>
                  <a:cubicBezTo>
                    <a:pt x="966693" y="6244"/>
                    <a:pt x="971603" y="2830"/>
                    <a:pt x="977169" y="1095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3B42350E-E940-4A53-8975-89FB0F331912}"/>
                </a:ext>
              </a:extLst>
            </p:cNvPr>
            <p:cNvSpPr/>
            <p:nvPr/>
          </p:nvSpPr>
          <p:spPr>
            <a:xfrm>
              <a:off x="10496267" y="4095423"/>
              <a:ext cx="681951" cy="596599"/>
            </a:xfrm>
            <a:custGeom>
              <a:avLst/>
              <a:gdLst>
                <a:gd name="connsiteX0" fmla="*/ 680883 w 681951"/>
                <a:gd name="connsiteY0" fmla="*/ 3074 h 596599"/>
                <a:gd name="connsiteX1" fmla="*/ 663718 w 681951"/>
                <a:gd name="connsiteY1" fmla="*/ 1156 h 596599"/>
                <a:gd name="connsiteX2" fmla="*/ 646039 w 681951"/>
                <a:gd name="connsiteY2" fmla="*/ 1156 h 596599"/>
                <a:gd name="connsiteX3" fmla="*/ 629202 w 681951"/>
                <a:gd name="connsiteY3" fmla="*/ 6348 h 596599"/>
                <a:gd name="connsiteX4" fmla="*/ 612271 w 681951"/>
                <a:gd name="connsiteY4" fmla="*/ 12334 h 596599"/>
                <a:gd name="connsiteX5" fmla="*/ 556615 w 681951"/>
                <a:gd name="connsiteY5" fmla="*/ 37871 h 596599"/>
                <a:gd name="connsiteX6" fmla="*/ 467238 w 681951"/>
                <a:gd name="connsiteY6" fmla="*/ 122056 h 596599"/>
                <a:gd name="connsiteX7" fmla="*/ 419486 w 681951"/>
                <a:gd name="connsiteY7" fmla="*/ 234304 h 596599"/>
                <a:gd name="connsiteX8" fmla="*/ 381649 w 681951"/>
                <a:gd name="connsiteY8" fmla="*/ 345944 h 596599"/>
                <a:gd name="connsiteX9" fmla="*/ 313131 w 681951"/>
                <a:gd name="connsiteY9" fmla="*/ 436724 h 596599"/>
                <a:gd name="connsiteX10" fmla="*/ 210939 w 681951"/>
                <a:gd name="connsiteY10" fmla="*/ 489387 h 596599"/>
                <a:gd name="connsiteX11" fmla="*/ 96634 w 681951"/>
                <a:gd name="connsiteY11" fmla="*/ 525213 h 596599"/>
                <a:gd name="connsiteX12" fmla="*/ 68572 w 681951"/>
                <a:gd name="connsiteY12" fmla="*/ 537139 h 596599"/>
                <a:gd name="connsiteX13" fmla="*/ 54541 w 681951"/>
                <a:gd name="connsiteY13" fmla="*/ 543733 h 596599"/>
                <a:gd name="connsiteX14" fmla="*/ 41024 w 681951"/>
                <a:gd name="connsiteY14" fmla="*/ 551357 h 596599"/>
                <a:gd name="connsiteX15" fmla="*/ 27976 w 681951"/>
                <a:gd name="connsiteY15" fmla="*/ 559682 h 596599"/>
                <a:gd name="connsiteX16" fmla="*/ 16143 w 681951"/>
                <a:gd name="connsiteY16" fmla="*/ 569784 h 596599"/>
                <a:gd name="connsiteX17" fmla="*/ 8285 w 681951"/>
                <a:gd name="connsiteY17" fmla="*/ 584423 h 596599"/>
                <a:gd name="connsiteX18" fmla="*/ -1069 w 681951"/>
                <a:gd name="connsiteY18" fmla="*/ 596349 h 596599"/>
                <a:gd name="connsiteX19" fmla="*/ -1069 w 681951"/>
                <a:gd name="connsiteY19" fmla="*/ 596349 h 596599"/>
                <a:gd name="connsiteX20" fmla="*/ 12027 w 681951"/>
                <a:gd name="connsiteY20" fmla="*/ 588726 h 596599"/>
                <a:gd name="connsiteX21" fmla="*/ 27227 w 681951"/>
                <a:gd name="connsiteY21" fmla="*/ 584376 h 596599"/>
                <a:gd name="connsiteX22" fmla="*/ 39761 w 681951"/>
                <a:gd name="connsiteY22" fmla="*/ 577221 h 596599"/>
                <a:gd name="connsiteX23" fmla="*/ 52015 w 681951"/>
                <a:gd name="connsiteY23" fmla="*/ 569784 h 596599"/>
                <a:gd name="connsiteX24" fmla="*/ 64362 w 681951"/>
                <a:gd name="connsiteY24" fmla="*/ 562535 h 596599"/>
                <a:gd name="connsiteX25" fmla="*/ 77364 w 681951"/>
                <a:gd name="connsiteY25" fmla="*/ 556268 h 596599"/>
                <a:gd name="connsiteX26" fmla="*/ 104117 w 681951"/>
                <a:gd name="connsiteY26" fmla="*/ 544949 h 596599"/>
                <a:gd name="connsiteX27" fmla="*/ 217580 w 681951"/>
                <a:gd name="connsiteY27" fmla="*/ 509124 h 596599"/>
                <a:gd name="connsiteX28" fmla="*/ 326180 w 681951"/>
                <a:gd name="connsiteY28" fmla="*/ 452579 h 596599"/>
                <a:gd name="connsiteX29" fmla="*/ 400170 w 681951"/>
                <a:gd name="connsiteY29" fmla="*/ 354362 h 596599"/>
                <a:gd name="connsiteX30" fmla="*/ 438802 w 681951"/>
                <a:gd name="connsiteY30" fmla="*/ 240057 h 596599"/>
                <a:gd name="connsiteX31" fmla="*/ 483982 w 681951"/>
                <a:gd name="connsiteY31" fmla="*/ 133001 h 596599"/>
                <a:gd name="connsiteX32" fmla="*/ 566390 w 681951"/>
                <a:gd name="connsiteY32" fmla="*/ 54801 h 596599"/>
                <a:gd name="connsiteX33" fmla="*/ 619053 w 681951"/>
                <a:gd name="connsiteY33" fmla="*/ 30621 h 596599"/>
                <a:gd name="connsiteX34" fmla="*/ 642438 w 681951"/>
                <a:gd name="connsiteY34" fmla="*/ 22577 h 596599"/>
                <a:gd name="connsiteX35" fmla="*/ 651792 w 681951"/>
                <a:gd name="connsiteY35" fmla="*/ 19771 h 596599"/>
                <a:gd name="connsiteX36" fmla="*/ 666150 w 681951"/>
                <a:gd name="connsiteY36" fmla="*/ 11633 h 596599"/>
                <a:gd name="connsiteX37" fmla="*/ 680742 w 681951"/>
                <a:gd name="connsiteY37" fmla="*/ 3027 h 596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81951" h="596599">
                  <a:moveTo>
                    <a:pt x="680883" y="3074"/>
                  </a:moveTo>
                  <a:cubicBezTo>
                    <a:pt x="675083" y="3949"/>
                    <a:pt x="669190" y="3289"/>
                    <a:pt x="663718" y="1156"/>
                  </a:cubicBezTo>
                  <a:cubicBezTo>
                    <a:pt x="657965" y="-719"/>
                    <a:pt x="651792" y="-719"/>
                    <a:pt x="646039" y="1156"/>
                  </a:cubicBezTo>
                  <a:cubicBezTo>
                    <a:pt x="640053" y="2560"/>
                    <a:pt x="629155" y="6301"/>
                    <a:pt x="629202" y="6348"/>
                  </a:cubicBezTo>
                  <a:cubicBezTo>
                    <a:pt x="623590" y="8312"/>
                    <a:pt x="617977" y="10464"/>
                    <a:pt x="612271" y="12334"/>
                  </a:cubicBezTo>
                  <a:cubicBezTo>
                    <a:pt x="593049" y="19326"/>
                    <a:pt x="574434" y="27867"/>
                    <a:pt x="556615" y="37871"/>
                  </a:cubicBezTo>
                  <a:cubicBezTo>
                    <a:pt x="520509" y="58389"/>
                    <a:pt x="489875" y="87255"/>
                    <a:pt x="467238" y="122056"/>
                  </a:cubicBezTo>
                  <a:cubicBezTo>
                    <a:pt x="444882" y="156947"/>
                    <a:pt x="431038" y="195859"/>
                    <a:pt x="419486" y="234304"/>
                  </a:cubicBezTo>
                  <a:cubicBezTo>
                    <a:pt x="407934" y="272749"/>
                    <a:pt x="398019" y="310866"/>
                    <a:pt x="381649" y="345944"/>
                  </a:cubicBezTo>
                  <a:cubicBezTo>
                    <a:pt x="365888" y="380960"/>
                    <a:pt x="342503" y="411987"/>
                    <a:pt x="313131" y="436724"/>
                  </a:cubicBezTo>
                  <a:cubicBezTo>
                    <a:pt x="283479" y="460857"/>
                    <a:pt x="247654" y="476853"/>
                    <a:pt x="210939" y="489387"/>
                  </a:cubicBezTo>
                  <a:cubicBezTo>
                    <a:pt x="174225" y="501921"/>
                    <a:pt x="134798" y="511041"/>
                    <a:pt x="96634" y="525213"/>
                  </a:cubicBezTo>
                  <a:cubicBezTo>
                    <a:pt x="87280" y="529235"/>
                    <a:pt x="77598" y="532415"/>
                    <a:pt x="68572" y="537139"/>
                  </a:cubicBezTo>
                  <a:lnTo>
                    <a:pt x="54541" y="543733"/>
                  </a:lnTo>
                  <a:lnTo>
                    <a:pt x="41024" y="551357"/>
                  </a:lnTo>
                  <a:cubicBezTo>
                    <a:pt x="36488" y="553868"/>
                    <a:pt x="32138" y="556646"/>
                    <a:pt x="27976" y="559682"/>
                  </a:cubicBezTo>
                  <a:cubicBezTo>
                    <a:pt x="23626" y="562530"/>
                    <a:pt x="19651" y="565926"/>
                    <a:pt x="16143" y="569784"/>
                  </a:cubicBezTo>
                  <a:cubicBezTo>
                    <a:pt x="12869" y="574288"/>
                    <a:pt x="10250" y="579213"/>
                    <a:pt x="8285" y="584423"/>
                  </a:cubicBezTo>
                  <a:cubicBezTo>
                    <a:pt x="5760" y="588843"/>
                    <a:pt x="2626" y="592865"/>
                    <a:pt x="-1069" y="596349"/>
                  </a:cubicBezTo>
                  <a:lnTo>
                    <a:pt x="-1069" y="596349"/>
                  </a:lnTo>
                  <a:cubicBezTo>
                    <a:pt x="2907" y="593164"/>
                    <a:pt x="7303" y="590597"/>
                    <a:pt x="12027" y="588726"/>
                  </a:cubicBezTo>
                  <a:cubicBezTo>
                    <a:pt x="17172" y="587136"/>
                    <a:pt x="22503" y="586060"/>
                    <a:pt x="27227" y="584376"/>
                  </a:cubicBezTo>
                  <a:cubicBezTo>
                    <a:pt x="31717" y="582599"/>
                    <a:pt x="35926" y="580190"/>
                    <a:pt x="39761" y="577221"/>
                  </a:cubicBezTo>
                  <a:cubicBezTo>
                    <a:pt x="43690" y="574489"/>
                    <a:pt x="47759" y="572006"/>
                    <a:pt x="52015" y="569784"/>
                  </a:cubicBezTo>
                  <a:cubicBezTo>
                    <a:pt x="56131" y="567399"/>
                    <a:pt x="60200" y="564827"/>
                    <a:pt x="64362" y="562535"/>
                  </a:cubicBezTo>
                  <a:lnTo>
                    <a:pt x="77364" y="556268"/>
                  </a:lnTo>
                  <a:cubicBezTo>
                    <a:pt x="85923" y="551825"/>
                    <a:pt x="95231" y="548738"/>
                    <a:pt x="104117" y="544949"/>
                  </a:cubicBezTo>
                  <a:cubicBezTo>
                    <a:pt x="140597" y="531339"/>
                    <a:pt x="179229" y="521845"/>
                    <a:pt x="217580" y="509124"/>
                  </a:cubicBezTo>
                  <a:cubicBezTo>
                    <a:pt x="255932" y="496402"/>
                    <a:pt x="294096" y="479097"/>
                    <a:pt x="326180" y="452579"/>
                  </a:cubicBezTo>
                  <a:cubicBezTo>
                    <a:pt x="357983" y="425864"/>
                    <a:pt x="383239" y="392283"/>
                    <a:pt x="400170" y="354362"/>
                  </a:cubicBezTo>
                  <a:cubicBezTo>
                    <a:pt x="417288" y="316946"/>
                    <a:pt x="427343" y="277894"/>
                    <a:pt x="438802" y="240057"/>
                  </a:cubicBezTo>
                  <a:cubicBezTo>
                    <a:pt x="450260" y="202220"/>
                    <a:pt x="463309" y="165225"/>
                    <a:pt x="483982" y="133001"/>
                  </a:cubicBezTo>
                  <a:cubicBezTo>
                    <a:pt x="504747" y="100678"/>
                    <a:pt x="533043" y="73851"/>
                    <a:pt x="566390" y="54801"/>
                  </a:cubicBezTo>
                  <a:cubicBezTo>
                    <a:pt x="583180" y="45176"/>
                    <a:pt x="600813" y="37080"/>
                    <a:pt x="619053" y="30621"/>
                  </a:cubicBezTo>
                  <a:cubicBezTo>
                    <a:pt x="626723" y="27441"/>
                    <a:pt x="634674" y="25243"/>
                    <a:pt x="642438" y="22577"/>
                  </a:cubicBezTo>
                  <a:lnTo>
                    <a:pt x="651792" y="19771"/>
                  </a:lnTo>
                  <a:cubicBezTo>
                    <a:pt x="657264" y="18559"/>
                    <a:pt x="662268" y="15725"/>
                    <a:pt x="666150" y="11633"/>
                  </a:cubicBezTo>
                  <a:cubicBezTo>
                    <a:pt x="670032" y="7330"/>
                    <a:pt x="675130" y="4323"/>
                    <a:pt x="680742" y="302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AB6AB620-9586-419C-867C-35AEB8AA6995}"/>
                </a:ext>
              </a:extLst>
            </p:cNvPr>
            <p:cNvSpPr/>
            <p:nvPr/>
          </p:nvSpPr>
          <p:spPr>
            <a:xfrm>
              <a:off x="10533496" y="4039698"/>
              <a:ext cx="645189" cy="557148"/>
            </a:xfrm>
            <a:custGeom>
              <a:avLst/>
              <a:gdLst>
                <a:gd name="connsiteX0" fmla="*/ 644121 w 645189"/>
                <a:gd name="connsiteY0" fmla="*/ 3097 h 557148"/>
                <a:gd name="connsiteX1" fmla="*/ 644121 w 645189"/>
                <a:gd name="connsiteY1" fmla="*/ 3097 h 557148"/>
                <a:gd name="connsiteX2" fmla="*/ 627144 w 645189"/>
                <a:gd name="connsiteY2" fmla="*/ 1086 h 557148"/>
                <a:gd name="connsiteX3" fmla="*/ 612131 w 645189"/>
                <a:gd name="connsiteY3" fmla="*/ 571 h 557148"/>
                <a:gd name="connsiteX4" fmla="*/ 612131 w 645189"/>
                <a:gd name="connsiteY4" fmla="*/ 571 h 557148"/>
                <a:gd name="connsiteX5" fmla="*/ 611195 w 645189"/>
                <a:gd name="connsiteY5" fmla="*/ 899 h 557148"/>
                <a:gd name="connsiteX6" fmla="*/ 609605 w 645189"/>
                <a:gd name="connsiteY6" fmla="*/ 1226 h 557148"/>
                <a:gd name="connsiteX7" fmla="*/ 592019 w 645189"/>
                <a:gd name="connsiteY7" fmla="*/ 6464 h 557148"/>
                <a:gd name="connsiteX8" fmla="*/ 578316 w 645189"/>
                <a:gd name="connsiteY8" fmla="*/ 10627 h 557148"/>
                <a:gd name="connsiteX9" fmla="*/ 524016 w 645189"/>
                <a:gd name="connsiteY9" fmla="*/ 28727 h 557148"/>
                <a:gd name="connsiteX10" fmla="*/ 425191 w 645189"/>
                <a:gd name="connsiteY10" fmla="*/ 89527 h 557148"/>
                <a:gd name="connsiteX11" fmla="*/ 405221 w 645189"/>
                <a:gd name="connsiteY11" fmla="*/ 111042 h 557148"/>
                <a:gd name="connsiteX12" fmla="*/ 387775 w 645189"/>
                <a:gd name="connsiteY12" fmla="*/ 134427 h 557148"/>
                <a:gd name="connsiteX13" fmla="*/ 360976 w 645189"/>
                <a:gd name="connsiteY13" fmla="*/ 185873 h 557148"/>
                <a:gd name="connsiteX14" fmla="*/ 325478 w 645189"/>
                <a:gd name="connsiteY14" fmla="*/ 294099 h 557148"/>
                <a:gd name="connsiteX15" fmla="*/ 281936 w 645189"/>
                <a:gd name="connsiteY15" fmla="*/ 394841 h 557148"/>
                <a:gd name="connsiteX16" fmla="*/ 204719 w 645189"/>
                <a:gd name="connsiteY16" fmla="*/ 469673 h 557148"/>
                <a:gd name="connsiteX17" fmla="*/ 102901 w 645189"/>
                <a:gd name="connsiteY17" fmla="*/ 511204 h 557148"/>
                <a:gd name="connsiteX18" fmla="*/ 48741 w 645189"/>
                <a:gd name="connsiteY18" fmla="*/ 527246 h 557148"/>
                <a:gd name="connsiteX19" fmla="*/ 35131 w 645189"/>
                <a:gd name="connsiteY19" fmla="*/ 531923 h 557148"/>
                <a:gd name="connsiteX20" fmla="*/ 22223 w 645189"/>
                <a:gd name="connsiteY20" fmla="*/ 538378 h 557148"/>
                <a:gd name="connsiteX21" fmla="*/ 11045 w 645189"/>
                <a:gd name="connsiteY21" fmla="*/ 549135 h 557148"/>
                <a:gd name="connsiteX22" fmla="*/ -1069 w 645189"/>
                <a:gd name="connsiteY22" fmla="*/ 556898 h 557148"/>
                <a:gd name="connsiteX23" fmla="*/ -1069 w 645189"/>
                <a:gd name="connsiteY23" fmla="*/ 556898 h 557148"/>
                <a:gd name="connsiteX24" fmla="*/ 12962 w 645189"/>
                <a:gd name="connsiteY24" fmla="*/ 553812 h 557148"/>
                <a:gd name="connsiteX25" fmla="*/ 28162 w 645189"/>
                <a:gd name="connsiteY25" fmla="*/ 554607 h 557148"/>
                <a:gd name="connsiteX26" fmla="*/ 55148 w 645189"/>
                <a:gd name="connsiteY26" fmla="*/ 547498 h 557148"/>
                <a:gd name="connsiteX27" fmla="*/ 109074 w 645189"/>
                <a:gd name="connsiteY27" fmla="*/ 531222 h 557148"/>
                <a:gd name="connsiteX28" fmla="*/ 215616 w 645189"/>
                <a:gd name="connsiteY28" fmla="*/ 487352 h 557148"/>
                <a:gd name="connsiteX29" fmla="*/ 299287 w 645189"/>
                <a:gd name="connsiteY29" fmla="*/ 406159 h 557148"/>
                <a:gd name="connsiteX30" fmla="*/ 344888 w 645189"/>
                <a:gd name="connsiteY30" fmla="*/ 300179 h 557148"/>
                <a:gd name="connsiteX31" fmla="*/ 379404 w 645189"/>
                <a:gd name="connsiteY31" fmla="*/ 193731 h 557148"/>
                <a:gd name="connsiteX32" fmla="*/ 404472 w 645189"/>
                <a:gd name="connsiteY32" fmla="*/ 145230 h 557148"/>
                <a:gd name="connsiteX33" fmla="*/ 420561 w 645189"/>
                <a:gd name="connsiteY33" fmla="*/ 123436 h 557148"/>
                <a:gd name="connsiteX34" fmla="*/ 438989 w 645189"/>
                <a:gd name="connsiteY34" fmla="*/ 103558 h 557148"/>
                <a:gd name="connsiteX35" fmla="*/ 531172 w 645189"/>
                <a:gd name="connsiteY35" fmla="*/ 46639 h 557148"/>
                <a:gd name="connsiteX36" fmla="*/ 583928 w 645189"/>
                <a:gd name="connsiteY36" fmla="*/ 28914 h 557148"/>
                <a:gd name="connsiteX37" fmla="*/ 610961 w 645189"/>
                <a:gd name="connsiteY37" fmla="*/ 20916 h 557148"/>
                <a:gd name="connsiteX38" fmla="*/ 616901 w 645189"/>
                <a:gd name="connsiteY38" fmla="*/ 19232 h 557148"/>
                <a:gd name="connsiteX39" fmla="*/ 616901 w 645189"/>
                <a:gd name="connsiteY39" fmla="*/ 19232 h 557148"/>
                <a:gd name="connsiteX40" fmla="*/ 629903 w 645189"/>
                <a:gd name="connsiteY40" fmla="*/ 11656 h 557148"/>
                <a:gd name="connsiteX41" fmla="*/ 644121 w 645189"/>
                <a:gd name="connsiteY41" fmla="*/ 3097 h 557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645189" h="557148">
                  <a:moveTo>
                    <a:pt x="644121" y="3097"/>
                  </a:moveTo>
                  <a:lnTo>
                    <a:pt x="644121" y="3097"/>
                  </a:lnTo>
                  <a:cubicBezTo>
                    <a:pt x="638368" y="3943"/>
                    <a:pt x="632522" y="3246"/>
                    <a:pt x="627144" y="1086"/>
                  </a:cubicBezTo>
                  <a:cubicBezTo>
                    <a:pt x="622279" y="-500"/>
                    <a:pt x="617088" y="-678"/>
                    <a:pt x="612131" y="571"/>
                  </a:cubicBezTo>
                  <a:lnTo>
                    <a:pt x="612131" y="571"/>
                  </a:lnTo>
                  <a:lnTo>
                    <a:pt x="611195" y="899"/>
                  </a:lnTo>
                  <a:lnTo>
                    <a:pt x="609605" y="1226"/>
                  </a:lnTo>
                  <a:cubicBezTo>
                    <a:pt x="603712" y="2629"/>
                    <a:pt x="591926" y="6418"/>
                    <a:pt x="592019" y="6464"/>
                  </a:cubicBezTo>
                  <a:lnTo>
                    <a:pt x="578316" y="10627"/>
                  </a:lnTo>
                  <a:cubicBezTo>
                    <a:pt x="560123" y="15958"/>
                    <a:pt x="541929" y="21758"/>
                    <a:pt x="524016" y="28727"/>
                  </a:cubicBezTo>
                  <a:cubicBezTo>
                    <a:pt x="487348" y="42173"/>
                    <a:pt x="453721" y="62845"/>
                    <a:pt x="425191" y="89527"/>
                  </a:cubicBezTo>
                  <a:cubicBezTo>
                    <a:pt x="418036" y="96216"/>
                    <a:pt x="411862" y="103886"/>
                    <a:pt x="405221" y="111042"/>
                  </a:cubicBezTo>
                  <a:cubicBezTo>
                    <a:pt x="398579" y="118197"/>
                    <a:pt x="393482" y="126709"/>
                    <a:pt x="387775" y="134427"/>
                  </a:cubicBezTo>
                  <a:cubicBezTo>
                    <a:pt x="377392" y="150791"/>
                    <a:pt x="368460" y="168003"/>
                    <a:pt x="360976" y="185873"/>
                  </a:cubicBezTo>
                  <a:cubicBezTo>
                    <a:pt x="345963" y="221512"/>
                    <a:pt x="336375" y="258460"/>
                    <a:pt x="325478" y="294099"/>
                  </a:cubicBezTo>
                  <a:cubicBezTo>
                    <a:pt x="314581" y="329737"/>
                    <a:pt x="301579" y="364253"/>
                    <a:pt x="281936" y="394841"/>
                  </a:cubicBezTo>
                  <a:cubicBezTo>
                    <a:pt x="262245" y="425349"/>
                    <a:pt x="235820" y="450946"/>
                    <a:pt x="204719" y="469673"/>
                  </a:cubicBezTo>
                  <a:cubicBezTo>
                    <a:pt x="173710" y="488381"/>
                    <a:pt x="138726" y="500494"/>
                    <a:pt x="102901" y="511204"/>
                  </a:cubicBezTo>
                  <a:lnTo>
                    <a:pt x="48741" y="527246"/>
                  </a:lnTo>
                  <a:cubicBezTo>
                    <a:pt x="44064" y="528649"/>
                    <a:pt x="39668" y="530333"/>
                    <a:pt x="35131" y="531923"/>
                  </a:cubicBezTo>
                  <a:cubicBezTo>
                    <a:pt x="30501" y="533312"/>
                    <a:pt x="26104" y="535492"/>
                    <a:pt x="22223" y="538378"/>
                  </a:cubicBezTo>
                  <a:cubicBezTo>
                    <a:pt x="18294" y="541731"/>
                    <a:pt x="14552" y="545328"/>
                    <a:pt x="11045" y="549135"/>
                  </a:cubicBezTo>
                  <a:cubicBezTo>
                    <a:pt x="7350" y="552240"/>
                    <a:pt x="3281" y="554850"/>
                    <a:pt x="-1069" y="556898"/>
                  </a:cubicBezTo>
                  <a:lnTo>
                    <a:pt x="-1069" y="556898"/>
                  </a:lnTo>
                  <a:cubicBezTo>
                    <a:pt x="3468" y="555243"/>
                    <a:pt x="8145" y="554205"/>
                    <a:pt x="12962" y="553812"/>
                  </a:cubicBezTo>
                  <a:cubicBezTo>
                    <a:pt x="17639" y="553531"/>
                    <a:pt x="23392" y="554981"/>
                    <a:pt x="28162" y="554607"/>
                  </a:cubicBezTo>
                  <a:cubicBezTo>
                    <a:pt x="37516" y="553952"/>
                    <a:pt x="46169" y="549930"/>
                    <a:pt x="55148" y="547498"/>
                  </a:cubicBezTo>
                  <a:cubicBezTo>
                    <a:pt x="72780" y="541651"/>
                    <a:pt x="90974" y="536741"/>
                    <a:pt x="109074" y="531222"/>
                  </a:cubicBezTo>
                  <a:cubicBezTo>
                    <a:pt x="145274" y="520558"/>
                    <a:pt x="182128" y="507837"/>
                    <a:pt x="215616" y="487352"/>
                  </a:cubicBezTo>
                  <a:cubicBezTo>
                    <a:pt x="249243" y="466918"/>
                    <a:pt x="277866" y="439165"/>
                    <a:pt x="299287" y="406159"/>
                  </a:cubicBezTo>
                  <a:cubicBezTo>
                    <a:pt x="320474" y="373140"/>
                    <a:pt x="333756" y="336379"/>
                    <a:pt x="344888" y="300179"/>
                  </a:cubicBezTo>
                  <a:cubicBezTo>
                    <a:pt x="356019" y="263979"/>
                    <a:pt x="365326" y="227686"/>
                    <a:pt x="379404" y="193731"/>
                  </a:cubicBezTo>
                  <a:cubicBezTo>
                    <a:pt x="386326" y="176861"/>
                    <a:pt x="394698" y="160632"/>
                    <a:pt x="404472" y="145230"/>
                  </a:cubicBezTo>
                  <a:cubicBezTo>
                    <a:pt x="409757" y="137934"/>
                    <a:pt x="414902" y="130451"/>
                    <a:pt x="420561" y="123436"/>
                  </a:cubicBezTo>
                  <a:cubicBezTo>
                    <a:pt x="426220" y="116420"/>
                    <a:pt x="432394" y="109732"/>
                    <a:pt x="438989" y="103558"/>
                  </a:cubicBezTo>
                  <a:cubicBezTo>
                    <a:pt x="465460" y="78448"/>
                    <a:pt x="496843" y="59071"/>
                    <a:pt x="531172" y="46639"/>
                  </a:cubicBezTo>
                  <a:cubicBezTo>
                    <a:pt x="548336" y="39951"/>
                    <a:pt x="566062" y="34339"/>
                    <a:pt x="583928" y="28914"/>
                  </a:cubicBezTo>
                  <a:lnTo>
                    <a:pt x="610961" y="20916"/>
                  </a:lnTo>
                  <a:cubicBezTo>
                    <a:pt x="612925" y="20261"/>
                    <a:pt x="614890" y="19747"/>
                    <a:pt x="616901" y="19232"/>
                  </a:cubicBezTo>
                  <a:lnTo>
                    <a:pt x="616901" y="19232"/>
                  </a:lnTo>
                  <a:cubicBezTo>
                    <a:pt x="621859" y="17984"/>
                    <a:pt x="626348" y="15355"/>
                    <a:pt x="629903" y="11656"/>
                  </a:cubicBezTo>
                  <a:cubicBezTo>
                    <a:pt x="633645" y="7400"/>
                    <a:pt x="638602" y="4411"/>
                    <a:pt x="644121" y="309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F6F68204-8F48-4392-8DD7-66811E08F386}"/>
                </a:ext>
              </a:extLst>
            </p:cNvPr>
            <p:cNvSpPr/>
            <p:nvPr/>
          </p:nvSpPr>
          <p:spPr>
            <a:xfrm>
              <a:off x="10543365" y="3983273"/>
              <a:ext cx="633450" cy="551556"/>
            </a:xfrm>
            <a:custGeom>
              <a:avLst/>
              <a:gdLst>
                <a:gd name="connsiteX0" fmla="*/ 632195 w 633450"/>
                <a:gd name="connsiteY0" fmla="*/ -250 h 551556"/>
                <a:gd name="connsiteX1" fmla="*/ 615498 w 633450"/>
                <a:gd name="connsiteY1" fmla="*/ 685 h 551556"/>
                <a:gd name="connsiteX2" fmla="*/ 599269 w 633450"/>
                <a:gd name="connsiteY2" fmla="*/ 1854 h 551556"/>
                <a:gd name="connsiteX3" fmla="*/ 593610 w 633450"/>
                <a:gd name="connsiteY3" fmla="*/ 3632 h 551556"/>
                <a:gd name="connsiteX4" fmla="*/ 593610 w 633450"/>
                <a:gd name="connsiteY4" fmla="*/ 3632 h 551556"/>
                <a:gd name="connsiteX5" fmla="*/ 590523 w 633450"/>
                <a:gd name="connsiteY5" fmla="*/ 4614 h 551556"/>
                <a:gd name="connsiteX6" fmla="*/ 586548 w 633450"/>
                <a:gd name="connsiteY6" fmla="*/ 5877 h 551556"/>
                <a:gd name="connsiteX7" fmla="*/ 586548 w 633450"/>
                <a:gd name="connsiteY7" fmla="*/ 5877 h 551556"/>
                <a:gd name="connsiteX8" fmla="*/ 569897 w 633450"/>
                <a:gd name="connsiteY8" fmla="*/ 11162 h 551556"/>
                <a:gd name="connsiteX9" fmla="*/ 516393 w 633450"/>
                <a:gd name="connsiteY9" fmla="*/ 27110 h 551556"/>
                <a:gd name="connsiteX10" fmla="*/ 411815 w 633450"/>
                <a:gd name="connsiteY10" fmla="*/ 72290 h 551556"/>
                <a:gd name="connsiteX11" fmla="*/ 331512 w 633450"/>
                <a:gd name="connsiteY11" fmla="*/ 154511 h 551556"/>
                <a:gd name="connsiteX12" fmla="*/ 287501 w 633450"/>
                <a:gd name="connsiteY12" fmla="*/ 259509 h 551556"/>
                <a:gd name="connsiteX13" fmla="*/ 252844 w 633450"/>
                <a:gd name="connsiteY13" fmla="*/ 364321 h 551556"/>
                <a:gd name="connsiteX14" fmla="*/ 192979 w 633450"/>
                <a:gd name="connsiteY14" fmla="*/ 452529 h 551556"/>
                <a:gd name="connsiteX15" fmla="*/ 101544 w 633450"/>
                <a:gd name="connsiteY15" fmla="*/ 507904 h 551556"/>
                <a:gd name="connsiteX16" fmla="*/ 49396 w 633450"/>
                <a:gd name="connsiteY16" fmla="*/ 525256 h 551556"/>
                <a:gd name="connsiteX17" fmla="*/ 23251 w 633450"/>
                <a:gd name="connsiteY17" fmla="*/ 535031 h 551556"/>
                <a:gd name="connsiteX18" fmla="*/ 11559 w 633450"/>
                <a:gd name="connsiteY18" fmla="*/ 544806 h 551556"/>
                <a:gd name="connsiteX19" fmla="*/ -1069 w 633450"/>
                <a:gd name="connsiteY19" fmla="*/ 551260 h 551556"/>
                <a:gd name="connsiteX20" fmla="*/ -1069 w 633450"/>
                <a:gd name="connsiteY20" fmla="*/ 551260 h 551556"/>
                <a:gd name="connsiteX21" fmla="*/ 12962 w 633450"/>
                <a:gd name="connsiteY21" fmla="*/ 549529 h 551556"/>
                <a:gd name="connsiteX22" fmla="*/ 28022 w 633450"/>
                <a:gd name="connsiteY22" fmla="*/ 551306 h 551556"/>
                <a:gd name="connsiteX23" fmla="*/ 55429 w 633450"/>
                <a:gd name="connsiteY23" fmla="*/ 545320 h 551556"/>
                <a:gd name="connsiteX24" fmla="*/ 109074 w 633450"/>
                <a:gd name="connsiteY24" fmla="*/ 527360 h 551556"/>
                <a:gd name="connsiteX25" fmla="*/ 207291 w 633450"/>
                <a:gd name="connsiteY25" fmla="*/ 467495 h 551556"/>
                <a:gd name="connsiteX26" fmla="*/ 227168 w 633450"/>
                <a:gd name="connsiteY26" fmla="*/ 446308 h 551556"/>
                <a:gd name="connsiteX27" fmla="*/ 244660 w 633450"/>
                <a:gd name="connsiteY27" fmla="*/ 423157 h 551556"/>
                <a:gd name="connsiteX28" fmla="*/ 259439 w 633450"/>
                <a:gd name="connsiteY28" fmla="*/ 398322 h 551556"/>
                <a:gd name="connsiteX29" fmla="*/ 271693 w 633450"/>
                <a:gd name="connsiteY29" fmla="*/ 372318 h 551556"/>
                <a:gd name="connsiteX30" fmla="*/ 306864 w 633450"/>
                <a:gd name="connsiteY30" fmla="*/ 265262 h 551556"/>
                <a:gd name="connsiteX31" fmla="*/ 348536 w 633450"/>
                <a:gd name="connsiteY31" fmla="*/ 164894 h 551556"/>
                <a:gd name="connsiteX32" fmla="*/ 422572 w 633450"/>
                <a:gd name="connsiteY32" fmla="*/ 88566 h 551556"/>
                <a:gd name="connsiteX33" fmla="*/ 522239 w 633450"/>
                <a:gd name="connsiteY33" fmla="*/ 45537 h 551556"/>
                <a:gd name="connsiteX34" fmla="*/ 575697 w 633450"/>
                <a:gd name="connsiteY34" fmla="*/ 29542 h 551556"/>
                <a:gd name="connsiteX35" fmla="*/ 604741 w 633450"/>
                <a:gd name="connsiteY35" fmla="*/ 20516 h 551556"/>
                <a:gd name="connsiteX36" fmla="*/ 619380 w 633450"/>
                <a:gd name="connsiteY36" fmla="*/ 10881 h 551556"/>
                <a:gd name="connsiteX37" fmla="*/ 632382 w 633450"/>
                <a:gd name="connsiteY37" fmla="*/ -157 h 551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33450" h="551556">
                  <a:moveTo>
                    <a:pt x="632195" y="-250"/>
                  </a:moveTo>
                  <a:cubicBezTo>
                    <a:pt x="626863" y="1770"/>
                    <a:pt x="621017" y="2098"/>
                    <a:pt x="615498" y="685"/>
                  </a:cubicBezTo>
                  <a:cubicBezTo>
                    <a:pt x="610072" y="-536"/>
                    <a:pt x="604460" y="-129"/>
                    <a:pt x="599269" y="1854"/>
                  </a:cubicBezTo>
                  <a:lnTo>
                    <a:pt x="593610" y="3632"/>
                  </a:lnTo>
                  <a:lnTo>
                    <a:pt x="593610" y="3632"/>
                  </a:lnTo>
                  <a:lnTo>
                    <a:pt x="590523" y="4614"/>
                  </a:lnTo>
                  <a:lnTo>
                    <a:pt x="586548" y="5877"/>
                  </a:lnTo>
                  <a:lnTo>
                    <a:pt x="586548" y="5877"/>
                  </a:lnTo>
                  <a:cubicBezTo>
                    <a:pt x="581029" y="7654"/>
                    <a:pt x="575463" y="9338"/>
                    <a:pt x="569897" y="11162"/>
                  </a:cubicBezTo>
                  <a:lnTo>
                    <a:pt x="516393" y="27110"/>
                  </a:lnTo>
                  <a:cubicBezTo>
                    <a:pt x="480567" y="37867"/>
                    <a:pt x="444367" y="51337"/>
                    <a:pt x="411815" y="72290"/>
                  </a:cubicBezTo>
                  <a:cubicBezTo>
                    <a:pt x="379217" y="93318"/>
                    <a:pt x="351763" y="121422"/>
                    <a:pt x="331512" y="154511"/>
                  </a:cubicBezTo>
                  <a:cubicBezTo>
                    <a:pt x="311167" y="187250"/>
                    <a:pt x="298398" y="223731"/>
                    <a:pt x="287501" y="259509"/>
                  </a:cubicBezTo>
                  <a:cubicBezTo>
                    <a:pt x="276604" y="295288"/>
                    <a:pt x="267250" y="331021"/>
                    <a:pt x="252844" y="364321"/>
                  </a:cubicBezTo>
                  <a:cubicBezTo>
                    <a:pt x="239328" y="397602"/>
                    <a:pt x="218889" y="427656"/>
                    <a:pt x="192979" y="452529"/>
                  </a:cubicBezTo>
                  <a:cubicBezTo>
                    <a:pt x="166507" y="476905"/>
                    <a:pt x="135405" y="495735"/>
                    <a:pt x="101544" y="507904"/>
                  </a:cubicBezTo>
                  <a:cubicBezTo>
                    <a:pt x="84613" y="514405"/>
                    <a:pt x="67168" y="520158"/>
                    <a:pt x="49396" y="525256"/>
                  </a:cubicBezTo>
                  <a:cubicBezTo>
                    <a:pt x="40650" y="528249"/>
                    <a:pt x="31389" y="529699"/>
                    <a:pt x="23251" y="535031"/>
                  </a:cubicBezTo>
                  <a:cubicBezTo>
                    <a:pt x="19182" y="537743"/>
                    <a:pt x="15534" y="541859"/>
                    <a:pt x="11559" y="544806"/>
                  </a:cubicBezTo>
                  <a:cubicBezTo>
                    <a:pt x="7630" y="547476"/>
                    <a:pt x="3374" y="549646"/>
                    <a:pt x="-1069" y="551260"/>
                  </a:cubicBezTo>
                  <a:lnTo>
                    <a:pt x="-1069" y="551260"/>
                  </a:lnTo>
                  <a:cubicBezTo>
                    <a:pt x="3515" y="550067"/>
                    <a:pt x="8238" y="549483"/>
                    <a:pt x="12962" y="549529"/>
                  </a:cubicBezTo>
                  <a:cubicBezTo>
                    <a:pt x="17920" y="549763"/>
                    <a:pt x="23205" y="551260"/>
                    <a:pt x="28022" y="551306"/>
                  </a:cubicBezTo>
                  <a:cubicBezTo>
                    <a:pt x="37750" y="551306"/>
                    <a:pt x="46356" y="547658"/>
                    <a:pt x="55429" y="545320"/>
                  </a:cubicBezTo>
                  <a:cubicBezTo>
                    <a:pt x="73295" y="539801"/>
                    <a:pt x="91349" y="534329"/>
                    <a:pt x="109074" y="527360"/>
                  </a:cubicBezTo>
                  <a:cubicBezTo>
                    <a:pt x="145461" y="514096"/>
                    <a:pt x="178855" y="493747"/>
                    <a:pt x="207291" y="467495"/>
                  </a:cubicBezTo>
                  <a:cubicBezTo>
                    <a:pt x="214634" y="461134"/>
                    <a:pt x="220480" y="453464"/>
                    <a:pt x="227168" y="446308"/>
                  </a:cubicBezTo>
                  <a:cubicBezTo>
                    <a:pt x="233856" y="439152"/>
                    <a:pt x="238813" y="430874"/>
                    <a:pt x="244660" y="423157"/>
                  </a:cubicBezTo>
                  <a:cubicBezTo>
                    <a:pt x="249805" y="415019"/>
                    <a:pt x="254715" y="406694"/>
                    <a:pt x="259439" y="398322"/>
                  </a:cubicBezTo>
                  <a:cubicBezTo>
                    <a:pt x="264163" y="389951"/>
                    <a:pt x="268232" y="381205"/>
                    <a:pt x="271693" y="372318"/>
                  </a:cubicBezTo>
                  <a:cubicBezTo>
                    <a:pt x="286519" y="337054"/>
                    <a:pt x="296341" y="300667"/>
                    <a:pt x="306864" y="265262"/>
                  </a:cubicBezTo>
                  <a:cubicBezTo>
                    <a:pt x="317387" y="229857"/>
                    <a:pt x="329781" y="195528"/>
                    <a:pt x="348536" y="164894"/>
                  </a:cubicBezTo>
                  <a:cubicBezTo>
                    <a:pt x="367150" y="134213"/>
                    <a:pt x="392453" y="108125"/>
                    <a:pt x="422572" y="88566"/>
                  </a:cubicBezTo>
                  <a:cubicBezTo>
                    <a:pt x="452739" y="69156"/>
                    <a:pt x="486974" y="56294"/>
                    <a:pt x="522239" y="45537"/>
                  </a:cubicBezTo>
                  <a:lnTo>
                    <a:pt x="575697" y="29542"/>
                  </a:lnTo>
                  <a:cubicBezTo>
                    <a:pt x="579766" y="28326"/>
                    <a:pt x="599082" y="22667"/>
                    <a:pt x="604741" y="20516"/>
                  </a:cubicBezTo>
                  <a:cubicBezTo>
                    <a:pt x="610541" y="18949"/>
                    <a:pt x="615638" y="15572"/>
                    <a:pt x="619380" y="10881"/>
                  </a:cubicBezTo>
                  <a:cubicBezTo>
                    <a:pt x="622654" y="6120"/>
                    <a:pt x="627144" y="2308"/>
                    <a:pt x="632382" y="-15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DF30C4EB-8027-4229-B232-28B751B409D5}"/>
                </a:ext>
              </a:extLst>
            </p:cNvPr>
            <p:cNvSpPr/>
            <p:nvPr/>
          </p:nvSpPr>
          <p:spPr>
            <a:xfrm>
              <a:off x="10572876" y="3917000"/>
              <a:ext cx="604921" cy="553801"/>
            </a:xfrm>
            <a:custGeom>
              <a:avLst/>
              <a:gdLst>
                <a:gd name="connsiteX0" fmla="*/ 603853 w 604921"/>
                <a:gd name="connsiteY0" fmla="*/ -157 h 553801"/>
                <a:gd name="connsiteX1" fmla="*/ 587483 w 604921"/>
                <a:gd name="connsiteY1" fmla="*/ 3211 h 553801"/>
                <a:gd name="connsiteX2" fmla="*/ 571582 w 604921"/>
                <a:gd name="connsiteY2" fmla="*/ 6718 h 553801"/>
                <a:gd name="connsiteX3" fmla="*/ 561292 w 604921"/>
                <a:gd name="connsiteY3" fmla="*/ 11676 h 553801"/>
                <a:gd name="connsiteX4" fmla="*/ 543659 w 604921"/>
                <a:gd name="connsiteY4" fmla="*/ 19112 h 553801"/>
                <a:gd name="connsiteX5" fmla="*/ 493195 w 604921"/>
                <a:gd name="connsiteY5" fmla="*/ 36230 h 553801"/>
                <a:gd name="connsiteX6" fmla="*/ 389506 w 604921"/>
                <a:gd name="connsiteY6" fmla="*/ 69998 h 553801"/>
                <a:gd name="connsiteX7" fmla="*/ 296387 w 604921"/>
                <a:gd name="connsiteY7" fmla="*/ 130799 h 553801"/>
                <a:gd name="connsiteX8" fmla="*/ 236008 w 604921"/>
                <a:gd name="connsiteY8" fmla="*/ 224338 h 553801"/>
                <a:gd name="connsiteX9" fmla="*/ 161691 w 604921"/>
                <a:gd name="connsiteY9" fmla="*/ 425449 h 553801"/>
                <a:gd name="connsiteX10" fmla="*/ 147145 w 604921"/>
                <a:gd name="connsiteY10" fmla="*/ 446963 h 553801"/>
                <a:gd name="connsiteX11" fmla="*/ 130401 w 604921"/>
                <a:gd name="connsiteY11" fmla="*/ 466700 h 553801"/>
                <a:gd name="connsiteX12" fmla="*/ 91208 w 604921"/>
                <a:gd name="connsiteY12" fmla="*/ 500374 h 553801"/>
                <a:gd name="connsiteX13" fmla="*/ 45421 w 604921"/>
                <a:gd name="connsiteY13" fmla="*/ 525302 h 553801"/>
                <a:gd name="connsiteX14" fmla="*/ 21708 w 604921"/>
                <a:gd name="connsiteY14" fmla="*/ 537182 h 553801"/>
                <a:gd name="connsiteX15" fmla="*/ 11045 w 604921"/>
                <a:gd name="connsiteY15" fmla="*/ 547191 h 553801"/>
                <a:gd name="connsiteX16" fmla="*/ -1069 w 604921"/>
                <a:gd name="connsiteY16" fmla="*/ 553551 h 553801"/>
                <a:gd name="connsiteX17" fmla="*/ -1069 w 604921"/>
                <a:gd name="connsiteY17" fmla="*/ 553551 h 553801"/>
                <a:gd name="connsiteX18" fmla="*/ 12495 w 604921"/>
                <a:gd name="connsiteY18" fmla="*/ 551494 h 553801"/>
                <a:gd name="connsiteX19" fmla="*/ 27368 w 604921"/>
                <a:gd name="connsiteY19" fmla="*/ 552523 h 553801"/>
                <a:gd name="connsiteX20" fmla="*/ 53839 w 604921"/>
                <a:gd name="connsiteY20" fmla="*/ 544338 h 553801"/>
                <a:gd name="connsiteX21" fmla="*/ 102761 w 604921"/>
                <a:gd name="connsiteY21" fmla="*/ 517352 h 553801"/>
                <a:gd name="connsiteX22" fmla="*/ 179136 w 604921"/>
                <a:gd name="connsiteY22" fmla="*/ 435458 h 553801"/>
                <a:gd name="connsiteX23" fmla="*/ 221228 w 604921"/>
                <a:gd name="connsiteY23" fmla="*/ 333499 h 553801"/>
                <a:gd name="connsiteX24" fmla="*/ 253967 w 604921"/>
                <a:gd name="connsiteY24" fmla="*/ 231635 h 553801"/>
                <a:gd name="connsiteX25" fmla="*/ 310091 w 604921"/>
                <a:gd name="connsiteY25" fmla="*/ 144409 h 553801"/>
                <a:gd name="connsiteX26" fmla="*/ 396849 w 604921"/>
                <a:gd name="connsiteY26" fmla="*/ 87770 h 553801"/>
                <a:gd name="connsiteX27" fmla="*/ 498621 w 604921"/>
                <a:gd name="connsiteY27" fmla="*/ 54377 h 553801"/>
                <a:gd name="connsiteX28" fmla="*/ 550535 w 604921"/>
                <a:gd name="connsiteY28" fmla="*/ 36791 h 553801"/>
                <a:gd name="connsiteX29" fmla="*/ 563583 w 604921"/>
                <a:gd name="connsiteY29" fmla="*/ 31553 h 553801"/>
                <a:gd name="connsiteX30" fmla="*/ 579392 w 604921"/>
                <a:gd name="connsiteY30" fmla="*/ 24257 h 553801"/>
                <a:gd name="connsiteX31" fmla="*/ 592441 w 604921"/>
                <a:gd name="connsiteY31" fmla="*/ 12565 h 553801"/>
                <a:gd name="connsiteX32" fmla="*/ 603712 w 604921"/>
                <a:gd name="connsiteY32" fmla="*/ -250 h 553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604921" h="553801">
                  <a:moveTo>
                    <a:pt x="603853" y="-157"/>
                  </a:moveTo>
                  <a:cubicBezTo>
                    <a:pt x="598848" y="2621"/>
                    <a:pt x="593142" y="3795"/>
                    <a:pt x="587483" y="3211"/>
                  </a:cubicBezTo>
                  <a:cubicBezTo>
                    <a:pt x="581964" y="2780"/>
                    <a:pt x="576398" y="4001"/>
                    <a:pt x="571582" y="6718"/>
                  </a:cubicBezTo>
                  <a:lnTo>
                    <a:pt x="561292" y="11676"/>
                  </a:lnTo>
                  <a:cubicBezTo>
                    <a:pt x="555492" y="14295"/>
                    <a:pt x="549646" y="16821"/>
                    <a:pt x="543659" y="19112"/>
                  </a:cubicBezTo>
                  <a:cubicBezTo>
                    <a:pt x="527290" y="25567"/>
                    <a:pt x="510359" y="31085"/>
                    <a:pt x="493195" y="36230"/>
                  </a:cubicBezTo>
                  <a:cubicBezTo>
                    <a:pt x="458959" y="46566"/>
                    <a:pt x="423648" y="55874"/>
                    <a:pt x="389506" y="69998"/>
                  </a:cubicBezTo>
                  <a:cubicBezTo>
                    <a:pt x="354803" y="84001"/>
                    <a:pt x="323187" y="104654"/>
                    <a:pt x="296387" y="130799"/>
                  </a:cubicBezTo>
                  <a:cubicBezTo>
                    <a:pt x="270196" y="157635"/>
                    <a:pt x="249664" y="189439"/>
                    <a:pt x="236008" y="224338"/>
                  </a:cubicBezTo>
                  <a:cubicBezTo>
                    <a:pt x="207665" y="292576"/>
                    <a:pt x="198311" y="365630"/>
                    <a:pt x="161691" y="425449"/>
                  </a:cubicBezTo>
                  <a:cubicBezTo>
                    <a:pt x="157341" y="432951"/>
                    <a:pt x="152477" y="440139"/>
                    <a:pt x="147145" y="446963"/>
                  </a:cubicBezTo>
                  <a:cubicBezTo>
                    <a:pt x="142001" y="453908"/>
                    <a:pt x="136435" y="460503"/>
                    <a:pt x="130401" y="466700"/>
                  </a:cubicBezTo>
                  <a:cubicBezTo>
                    <a:pt x="118756" y="479477"/>
                    <a:pt x="105614" y="490786"/>
                    <a:pt x="91208" y="500374"/>
                  </a:cubicBezTo>
                  <a:cubicBezTo>
                    <a:pt x="76756" y="510074"/>
                    <a:pt x="61416" y="518423"/>
                    <a:pt x="45421" y="525302"/>
                  </a:cubicBezTo>
                  <a:cubicBezTo>
                    <a:pt x="37563" y="529184"/>
                    <a:pt x="28958" y="531242"/>
                    <a:pt x="21708" y="537182"/>
                  </a:cubicBezTo>
                  <a:cubicBezTo>
                    <a:pt x="18107" y="540175"/>
                    <a:pt x="14786" y="544244"/>
                    <a:pt x="11045" y="547191"/>
                  </a:cubicBezTo>
                  <a:cubicBezTo>
                    <a:pt x="7303" y="549828"/>
                    <a:pt x="3234" y="551966"/>
                    <a:pt x="-1069" y="553551"/>
                  </a:cubicBezTo>
                  <a:lnTo>
                    <a:pt x="-1069" y="553551"/>
                  </a:lnTo>
                  <a:cubicBezTo>
                    <a:pt x="3375" y="552340"/>
                    <a:pt x="7911" y="551648"/>
                    <a:pt x="12495" y="551494"/>
                  </a:cubicBezTo>
                  <a:cubicBezTo>
                    <a:pt x="17172" y="551494"/>
                    <a:pt x="22503" y="552569"/>
                    <a:pt x="27368" y="552523"/>
                  </a:cubicBezTo>
                  <a:cubicBezTo>
                    <a:pt x="37002" y="552195"/>
                    <a:pt x="45234" y="547846"/>
                    <a:pt x="53839" y="544338"/>
                  </a:cubicBezTo>
                  <a:cubicBezTo>
                    <a:pt x="70957" y="536906"/>
                    <a:pt x="87326" y="527875"/>
                    <a:pt x="102761" y="517352"/>
                  </a:cubicBezTo>
                  <a:cubicBezTo>
                    <a:pt x="133862" y="495908"/>
                    <a:pt x="159913" y="467967"/>
                    <a:pt x="179136" y="435458"/>
                  </a:cubicBezTo>
                  <a:cubicBezTo>
                    <a:pt x="198545" y="403373"/>
                    <a:pt x="210752" y="368156"/>
                    <a:pt x="221228" y="333499"/>
                  </a:cubicBezTo>
                  <a:cubicBezTo>
                    <a:pt x="231705" y="298843"/>
                    <a:pt x="240779" y="264140"/>
                    <a:pt x="253967" y="231635"/>
                  </a:cubicBezTo>
                  <a:cubicBezTo>
                    <a:pt x="266829" y="199186"/>
                    <a:pt x="285864" y="169552"/>
                    <a:pt x="310091" y="144409"/>
                  </a:cubicBezTo>
                  <a:cubicBezTo>
                    <a:pt x="335019" y="120009"/>
                    <a:pt x="364485" y="100759"/>
                    <a:pt x="396849" y="87770"/>
                  </a:cubicBezTo>
                  <a:cubicBezTo>
                    <a:pt x="429307" y="74161"/>
                    <a:pt x="463870" y="64807"/>
                    <a:pt x="498621" y="54377"/>
                  </a:cubicBezTo>
                  <a:cubicBezTo>
                    <a:pt x="515972" y="49185"/>
                    <a:pt x="533417" y="43573"/>
                    <a:pt x="550535" y="36791"/>
                  </a:cubicBezTo>
                  <a:lnTo>
                    <a:pt x="563583" y="31553"/>
                  </a:lnTo>
                  <a:cubicBezTo>
                    <a:pt x="563583" y="31553"/>
                    <a:pt x="574060" y="27204"/>
                    <a:pt x="579392" y="24257"/>
                  </a:cubicBezTo>
                  <a:cubicBezTo>
                    <a:pt x="584864" y="21820"/>
                    <a:pt x="589401" y="17728"/>
                    <a:pt x="592441" y="12565"/>
                  </a:cubicBezTo>
                  <a:cubicBezTo>
                    <a:pt x="595013" y="7373"/>
                    <a:pt x="598895" y="2949"/>
                    <a:pt x="603712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11C874C4-1724-4B56-8FDE-DC858BCABC07}"/>
                </a:ext>
              </a:extLst>
            </p:cNvPr>
            <p:cNvSpPr/>
            <p:nvPr/>
          </p:nvSpPr>
          <p:spPr>
            <a:xfrm>
              <a:off x="10579564" y="3843712"/>
              <a:ext cx="595332" cy="565540"/>
            </a:xfrm>
            <a:custGeom>
              <a:avLst/>
              <a:gdLst>
                <a:gd name="connsiteX0" fmla="*/ 594264 w 595332"/>
                <a:gd name="connsiteY0" fmla="*/ -250 h 565540"/>
                <a:gd name="connsiteX1" fmla="*/ 578690 w 595332"/>
                <a:gd name="connsiteY1" fmla="*/ 5783 h 565540"/>
                <a:gd name="connsiteX2" fmla="*/ 563583 w 595332"/>
                <a:gd name="connsiteY2" fmla="*/ 11863 h 565540"/>
                <a:gd name="connsiteX3" fmla="*/ 552686 w 595332"/>
                <a:gd name="connsiteY3" fmla="*/ 19580 h 565540"/>
                <a:gd name="connsiteX4" fmla="*/ 552686 w 595332"/>
                <a:gd name="connsiteY4" fmla="*/ 19580 h 565540"/>
                <a:gd name="connsiteX5" fmla="*/ 540900 w 595332"/>
                <a:gd name="connsiteY5" fmla="*/ 27204 h 565540"/>
                <a:gd name="connsiteX6" fmla="*/ 517515 w 595332"/>
                <a:gd name="connsiteY6" fmla="*/ 39411 h 565540"/>
                <a:gd name="connsiteX7" fmla="*/ 505589 w 595332"/>
                <a:gd name="connsiteY7" fmla="*/ 44929 h 565540"/>
                <a:gd name="connsiteX8" fmla="*/ 493288 w 595332"/>
                <a:gd name="connsiteY8" fmla="*/ 49606 h 565540"/>
                <a:gd name="connsiteX9" fmla="*/ 390862 w 595332"/>
                <a:gd name="connsiteY9" fmla="*/ 82345 h 565540"/>
                <a:gd name="connsiteX10" fmla="*/ 289653 w 595332"/>
                <a:gd name="connsiteY10" fmla="*/ 126590 h 565540"/>
                <a:gd name="connsiteX11" fmla="*/ 211266 w 595332"/>
                <a:gd name="connsiteY11" fmla="*/ 205864 h 565540"/>
                <a:gd name="connsiteX12" fmla="*/ 167630 w 595332"/>
                <a:gd name="connsiteY12" fmla="*/ 307308 h 565540"/>
                <a:gd name="connsiteX13" fmla="*/ 134891 w 595332"/>
                <a:gd name="connsiteY13" fmla="*/ 409454 h 565540"/>
                <a:gd name="connsiteX14" fmla="*/ 80217 w 595332"/>
                <a:gd name="connsiteY14" fmla="*/ 497521 h 565540"/>
                <a:gd name="connsiteX15" fmla="*/ 40837 w 595332"/>
                <a:gd name="connsiteY15" fmla="*/ 531008 h 565540"/>
                <a:gd name="connsiteX16" fmla="*/ 19603 w 595332"/>
                <a:gd name="connsiteY16" fmla="*/ 546349 h 565540"/>
                <a:gd name="connsiteX17" fmla="*/ 10249 w 595332"/>
                <a:gd name="connsiteY17" fmla="*/ 557620 h 565540"/>
                <a:gd name="connsiteX18" fmla="*/ -1069 w 595332"/>
                <a:gd name="connsiteY18" fmla="*/ 565291 h 565540"/>
                <a:gd name="connsiteX19" fmla="*/ -1069 w 595332"/>
                <a:gd name="connsiteY19" fmla="*/ 565291 h 565540"/>
                <a:gd name="connsiteX20" fmla="*/ 12167 w 595332"/>
                <a:gd name="connsiteY20" fmla="*/ 561689 h 565540"/>
                <a:gd name="connsiteX21" fmla="*/ 27087 w 595332"/>
                <a:gd name="connsiteY21" fmla="*/ 560614 h 565540"/>
                <a:gd name="connsiteX22" fmla="*/ 52155 w 595332"/>
                <a:gd name="connsiteY22" fmla="*/ 548079 h 565540"/>
                <a:gd name="connsiteX23" fmla="*/ 94903 w 595332"/>
                <a:gd name="connsiteY23" fmla="*/ 511599 h 565540"/>
                <a:gd name="connsiteX24" fmla="*/ 153365 w 595332"/>
                <a:gd name="connsiteY24" fmla="*/ 416890 h 565540"/>
                <a:gd name="connsiteX25" fmla="*/ 186619 w 595332"/>
                <a:gd name="connsiteY25" fmla="*/ 313155 h 565540"/>
                <a:gd name="connsiteX26" fmla="*/ 227916 w 595332"/>
                <a:gd name="connsiteY26" fmla="*/ 216341 h 565540"/>
                <a:gd name="connsiteX27" fmla="*/ 300176 w 595332"/>
                <a:gd name="connsiteY27" fmla="*/ 142772 h 565540"/>
                <a:gd name="connsiteX28" fmla="*/ 396522 w 595332"/>
                <a:gd name="connsiteY28" fmla="*/ 100679 h 565540"/>
                <a:gd name="connsiteX29" fmla="*/ 500210 w 595332"/>
                <a:gd name="connsiteY29" fmla="*/ 67613 h 565540"/>
                <a:gd name="connsiteX30" fmla="*/ 513025 w 595332"/>
                <a:gd name="connsiteY30" fmla="*/ 62421 h 565540"/>
                <a:gd name="connsiteX31" fmla="*/ 525606 w 595332"/>
                <a:gd name="connsiteY31" fmla="*/ 56575 h 565540"/>
                <a:gd name="connsiteX32" fmla="*/ 550254 w 595332"/>
                <a:gd name="connsiteY32" fmla="*/ 43526 h 565540"/>
                <a:gd name="connsiteX33" fmla="*/ 559608 w 595332"/>
                <a:gd name="connsiteY33" fmla="*/ 37727 h 565540"/>
                <a:gd name="connsiteX34" fmla="*/ 559608 w 595332"/>
                <a:gd name="connsiteY34" fmla="*/ 38054 h 565540"/>
                <a:gd name="connsiteX35" fmla="*/ 574013 w 595332"/>
                <a:gd name="connsiteY35" fmla="*/ 27999 h 565540"/>
                <a:gd name="connsiteX36" fmla="*/ 584957 w 595332"/>
                <a:gd name="connsiteY36" fmla="*/ 14295 h 565540"/>
                <a:gd name="connsiteX37" fmla="*/ 593984 w 595332"/>
                <a:gd name="connsiteY37" fmla="*/ -203 h 56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95332" h="565540">
                  <a:moveTo>
                    <a:pt x="594264" y="-250"/>
                  </a:moveTo>
                  <a:cubicBezTo>
                    <a:pt x="589821" y="3309"/>
                    <a:pt x="584396" y="5418"/>
                    <a:pt x="578690" y="5783"/>
                  </a:cubicBezTo>
                  <a:cubicBezTo>
                    <a:pt x="573172" y="6274"/>
                    <a:pt x="567887" y="8388"/>
                    <a:pt x="563583" y="11863"/>
                  </a:cubicBezTo>
                  <a:lnTo>
                    <a:pt x="552686" y="19580"/>
                  </a:lnTo>
                  <a:lnTo>
                    <a:pt x="552686" y="19580"/>
                  </a:lnTo>
                  <a:cubicBezTo>
                    <a:pt x="552686" y="19580"/>
                    <a:pt x="544782" y="25193"/>
                    <a:pt x="540900" y="27204"/>
                  </a:cubicBezTo>
                  <a:cubicBezTo>
                    <a:pt x="533230" y="31366"/>
                    <a:pt x="525840" y="35996"/>
                    <a:pt x="517515" y="39411"/>
                  </a:cubicBezTo>
                  <a:lnTo>
                    <a:pt x="505589" y="44929"/>
                  </a:lnTo>
                  <a:lnTo>
                    <a:pt x="493288" y="49606"/>
                  </a:lnTo>
                  <a:cubicBezTo>
                    <a:pt x="460549" y="62515"/>
                    <a:pt x="425659" y="71401"/>
                    <a:pt x="390862" y="82345"/>
                  </a:cubicBezTo>
                  <a:cubicBezTo>
                    <a:pt x="356066" y="93289"/>
                    <a:pt x="321129" y="106151"/>
                    <a:pt x="289653" y="126590"/>
                  </a:cubicBezTo>
                  <a:cubicBezTo>
                    <a:pt x="257989" y="146888"/>
                    <a:pt x="231190" y="173963"/>
                    <a:pt x="211266" y="205864"/>
                  </a:cubicBezTo>
                  <a:cubicBezTo>
                    <a:pt x="191249" y="237574"/>
                    <a:pt x="178528" y="272652"/>
                    <a:pt x="167630" y="307308"/>
                  </a:cubicBezTo>
                  <a:cubicBezTo>
                    <a:pt x="156733" y="341965"/>
                    <a:pt x="147893" y="376808"/>
                    <a:pt x="134891" y="409454"/>
                  </a:cubicBezTo>
                  <a:cubicBezTo>
                    <a:pt x="122497" y="442047"/>
                    <a:pt x="103929" y="471947"/>
                    <a:pt x="80217" y="497521"/>
                  </a:cubicBezTo>
                  <a:cubicBezTo>
                    <a:pt x="68525" y="510243"/>
                    <a:pt x="55289" y="521491"/>
                    <a:pt x="40837" y="531008"/>
                  </a:cubicBezTo>
                  <a:cubicBezTo>
                    <a:pt x="33821" y="536153"/>
                    <a:pt x="25871" y="539614"/>
                    <a:pt x="19603" y="546349"/>
                  </a:cubicBezTo>
                  <a:cubicBezTo>
                    <a:pt x="16517" y="549857"/>
                    <a:pt x="13757" y="554253"/>
                    <a:pt x="10249" y="557620"/>
                  </a:cubicBezTo>
                  <a:cubicBezTo>
                    <a:pt x="6882" y="560707"/>
                    <a:pt x="3047" y="563289"/>
                    <a:pt x="-1069" y="565291"/>
                  </a:cubicBezTo>
                  <a:lnTo>
                    <a:pt x="-1069" y="565291"/>
                  </a:lnTo>
                  <a:cubicBezTo>
                    <a:pt x="3188" y="563644"/>
                    <a:pt x="7630" y="562438"/>
                    <a:pt x="12167" y="561689"/>
                  </a:cubicBezTo>
                  <a:cubicBezTo>
                    <a:pt x="16844" y="561128"/>
                    <a:pt x="22269" y="561456"/>
                    <a:pt x="27087" y="560614"/>
                  </a:cubicBezTo>
                  <a:cubicBezTo>
                    <a:pt x="36441" y="558836"/>
                    <a:pt x="44204" y="553037"/>
                    <a:pt x="52155" y="548079"/>
                  </a:cubicBezTo>
                  <a:cubicBezTo>
                    <a:pt x="67776" y="537640"/>
                    <a:pt x="82134" y="525396"/>
                    <a:pt x="94903" y="511599"/>
                  </a:cubicBezTo>
                  <a:cubicBezTo>
                    <a:pt x="120346" y="484098"/>
                    <a:pt x="140176" y="451939"/>
                    <a:pt x="153365" y="416890"/>
                  </a:cubicBezTo>
                  <a:cubicBezTo>
                    <a:pt x="167396" y="382608"/>
                    <a:pt x="176189" y="347296"/>
                    <a:pt x="186619" y="313155"/>
                  </a:cubicBezTo>
                  <a:cubicBezTo>
                    <a:pt x="197048" y="279012"/>
                    <a:pt x="209396" y="245806"/>
                    <a:pt x="227916" y="216341"/>
                  </a:cubicBezTo>
                  <a:cubicBezTo>
                    <a:pt x="246297" y="186787"/>
                    <a:pt x="270945" y="161662"/>
                    <a:pt x="300176" y="142772"/>
                  </a:cubicBezTo>
                  <a:cubicBezTo>
                    <a:pt x="329453" y="124064"/>
                    <a:pt x="362473" y="111249"/>
                    <a:pt x="396522" y="100679"/>
                  </a:cubicBezTo>
                  <a:cubicBezTo>
                    <a:pt x="430570" y="90109"/>
                    <a:pt x="465881" y="81129"/>
                    <a:pt x="500210" y="67613"/>
                  </a:cubicBezTo>
                  <a:lnTo>
                    <a:pt x="513025" y="62421"/>
                  </a:lnTo>
                  <a:lnTo>
                    <a:pt x="525606" y="56575"/>
                  </a:lnTo>
                  <a:cubicBezTo>
                    <a:pt x="534025" y="52642"/>
                    <a:pt x="542256" y="48287"/>
                    <a:pt x="550254" y="43526"/>
                  </a:cubicBezTo>
                  <a:cubicBezTo>
                    <a:pt x="553481" y="41749"/>
                    <a:pt x="556568" y="39818"/>
                    <a:pt x="559608" y="37727"/>
                  </a:cubicBezTo>
                  <a:cubicBezTo>
                    <a:pt x="559561" y="37834"/>
                    <a:pt x="559561" y="37947"/>
                    <a:pt x="559608" y="38054"/>
                  </a:cubicBezTo>
                  <a:cubicBezTo>
                    <a:pt x="564659" y="35094"/>
                    <a:pt x="569477" y="31731"/>
                    <a:pt x="574013" y="27999"/>
                  </a:cubicBezTo>
                  <a:cubicBezTo>
                    <a:pt x="579018" y="24687"/>
                    <a:pt x="582853" y="19894"/>
                    <a:pt x="584957" y="14295"/>
                  </a:cubicBezTo>
                  <a:cubicBezTo>
                    <a:pt x="586641" y="8753"/>
                    <a:pt x="589774" y="3753"/>
                    <a:pt x="593984" y="-20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3B9DD2BE-C90E-476C-967F-22F60F1D6053}"/>
                </a:ext>
              </a:extLst>
            </p:cNvPr>
            <p:cNvSpPr/>
            <p:nvPr/>
          </p:nvSpPr>
          <p:spPr>
            <a:xfrm>
              <a:off x="10610666" y="3743484"/>
              <a:ext cx="564652" cy="576952"/>
            </a:xfrm>
            <a:custGeom>
              <a:avLst/>
              <a:gdLst>
                <a:gd name="connsiteX0" fmla="*/ 563583 w 564652"/>
                <a:gd name="connsiteY0" fmla="*/ 311 h 576952"/>
                <a:gd name="connsiteX1" fmla="*/ 550488 w 564652"/>
                <a:gd name="connsiteY1" fmla="*/ 10647 h 576952"/>
                <a:gd name="connsiteX2" fmla="*/ 537860 w 564652"/>
                <a:gd name="connsiteY2" fmla="*/ 20983 h 576952"/>
                <a:gd name="connsiteX3" fmla="*/ 529722 w 564652"/>
                <a:gd name="connsiteY3" fmla="*/ 31553 h 576952"/>
                <a:gd name="connsiteX4" fmla="*/ 530049 w 564652"/>
                <a:gd name="connsiteY4" fmla="*/ 31553 h 576952"/>
                <a:gd name="connsiteX5" fmla="*/ 518965 w 564652"/>
                <a:gd name="connsiteY5" fmla="*/ 44134 h 576952"/>
                <a:gd name="connsiteX6" fmla="*/ 500257 w 564652"/>
                <a:gd name="connsiteY6" fmla="*/ 61346 h 576952"/>
                <a:gd name="connsiteX7" fmla="*/ 480006 w 564652"/>
                <a:gd name="connsiteY7" fmla="*/ 76639 h 576952"/>
                <a:gd name="connsiteX8" fmla="*/ 386466 w 564652"/>
                <a:gd name="connsiteY8" fmla="*/ 119060 h 576952"/>
                <a:gd name="connsiteX9" fmla="*/ 285209 w 564652"/>
                <a:gd name="connsiteY9" fmla="*/ 150629 h 576952"/>
                <a:gd name="connsiteX10" fmla="*/ 260094 w 564652"/>
                <a:gd name="connsiteY10" fmla="*/ 160591 h 576952"/>
                <a:gd name="connsiteX11" fmla="*/ 235587 w 564652"/>
                <a:gd name="connsiteY11" fmla="*/ 172424 h 576952"/>
                <a:gd name="connsiteX12" fmla="*/ 212202 w 564652"/>
                <a:gd name="connsiteY12" fmla="*/ 186455 h 576952"/>
                <a:gd name="connsiteX13" fmla="*/ 190313 w 564652"/>
                <a:gd name="connsiteY13" fmla="*/ 202965 h 576952"/>
                <a:gd name="connsiteX14" fmla="*/ 123245 w 564652"/>
                <a:gd name="connsiteY14" fmla="*/ 288741 h 576952"/>
                <a:gd name="connsiteX15" fmla="*/ 86437 w 564652"/>
                <a:gd name="connsiteY15" fmla="*/ 389530 h 576952"/>
                <a:gd name="connsiteX16" fmla="*/ 51921 w 564652"/>
                <a:gd name="connsiteY16" fmla="*/ 487746 h 576952"/>
                <a:gd name="connsiteX17" fmla="*/ 39948 w 564652"/>
                <a:gd name="connsiteY17" fmla="*/ 510289 h 576952"/>
                <a:gd name="connsiteX18" fmla="*/ 33401 w 564652"/>
                <a:gd name="connsiteY18" fmla="*/ 521187 h 576952"/>
                <a:gd name="connsiteX19" fmla="*/ 25964 w 564652"/>
                <a:gd name="connsiteY19" fmla="*/ 531476 h 576952"/>
                <a:gd name="connsiteX20" fmla="*/ 18528 w 564652"/>
                <a:gd name="connsiteY20" fmla="*/ 541719 h 576952"/>
                <a:gd name="connsiteX21" fmla="*/ 11746 w 564652"/>
                <a:gd name="connsiteY21" fmla="*/ 552663 h 576952"/>
                <a:gd name="connsiteX22" fmla="*/ 7069 w 564652"/>
                <a:gd name="connsiteY22" fmla="*/ 566133 h 576952"/>
                <a:gd name="connsiteX23" fmla="*/ -1069 w 564652"/>
                <a:gd name="connsiteY23" fmla="*/ 576702 h 576952"/>
                <a:gd name="connsiteX24" fmla="*/ -1069 w 564652"/>
                <a:gd name="connsiteY24" fmla="*/ 576702 h 576952"/>
                <a:gd name="connsiteX25" fmla="*/ 10016 w 564652"/>
                <a:gd name="connsiteY25" fmla="*/ 569126 h 576952"/>
                <a:gd name="connsiteX26" fmla="*/ 23205 w 564652"/>
                <a:gd name="connsiteY26" fmla="*/ 563139 h 576952"/>
                <a:gd name="connsiteX27" fmla="*/ 34102 w 564652"/>
                <a:gd name="connsiteY27" fmla="*/ 554440 h 576952"/>
                <a:gd name="connsiteX28" fmla="*/ 42333 w 564652"/>
                <a:gd name="connsiteY28" fmla="*/ 543449 h 576952"/>
                <a:gd name="connsiteX29" fmla="*/ 50378 w 564652"/>
                <a:gd name="connsiteY29" fmla="*/ 532318 h 576952"/>
                <a:gd name="connsiteX30" fmla="*/ 57347 w 564652"/>
                <a:gd name="connsiteY30" fmla="*/ 520485 h 576952"/>
                <a:gd name="connsiteX31" fmla="*/ 70068 w 564652"/>
                <a:gd name="connsiteY31" fmla="*/ 496352 h 576952"/>
                <a:gd name="connsiteX32" fmla="*/ 105473 w 564652"/>
                <a:gd name="connsiteY32" fmla="*/ 395236 h 576952"/>
                <a:gd name="connsiteX33" fmla="*/ 140831 w 564652"/>
                <a:gd name="connsiteY33" fmla="*/ 297674 h 576952"/>
                <a:gd name="connsiteX34" fmla="*/ 202707 w 564652"/>
                <a:gd name="connsiteY34" fmla="*/ 217931 h 576952"/>
                <a:gd name="connsiteX35" fmla="*/ 291570 w 564652"/>
                <a:gd name="connsiteY35" fmla="*/ 168636 h 576952"/>
                <a:gd name="connsiteX36" fmla="*/ 392031 w 564652"/>
                <a:gd name="connsiteY36" fmla="*/ 137113 h 576952"/>
                <a:gd name="connsiteX37" fmla="*/ 490248 w 564652"/>
                <a:gd name="connsiteY37" fmla="*/ 92260 h 576952"/>
                <a:gd name="connsiteX38" fmla="*/ 512090 w 564652"/>
                <a:gd name="connsiteY38" fmla="*/ 75704 h 576952"/>
                <a:gd name="connsiteX39" fmla="*/ 532247 w 564652"/>
                <a:gd name="connsiteY39" fmla="*/ 56996 h 576952"/>
                <a:gd name="connsiteX40" fmla="*/ 541601 w 564652"/>
                <a:gd name="connsiteY40" fmla="*/ 46613 h 576952"/>
                <a:gd name="connsiteX41" fmla="*/ 541601 w 564652"/>
                <a:gd name="connsiteY41" fmla="*/ 46613 h 576952"/>
                <a:gd name="connsiteX42" fmla="*/ 552405 w 564652"/>
                <a:gd name="connsiteY42" fmla="*/ 32582 h 576952"/>
                <a:gd name="connsiteX43" fmla="*/ 558766 w 564652"/>
                <a:gd name="connsiteY43" fmla="*/ 16306 h 576952"/>
                <a:gd name="connsiteX44" fmla="*/ 563116 w 564652"/>
                <a:gd name="connsiteY44" fmla="*/ -250 h 576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4652" h="576952">
                  <a:moveTo>
                    <a:pt x="563583" y="311"/>
                  </a:moveTo>
                  <a:cubicBezTo>
                    <a:pt x="560403" y="5021"/>
                    <a:pt x="555820" y="8627"/>
                    <a:pt x="550488" y="10647"/>
                  </a:cubicBezTo>
                  <a:cubicBezTo>
                    <a:pt x="545343" y="12747"/>
                    <a:pt x="540946" y="16348"/>
                    <a:pt x="537860" y="20983"/>
                  </a:cubicBezTo>
                  <a:lnTo>
                    <a:pt x="529722" y="31553"/>
                  </a:lnTo>
                  <a:lnTo>
                    <a:pt x="530049" y="31553"/>
                  </a:lnTo>
                  <a:cubicBezTo>
                    <a:pt x="526448" y="35809"/>
                    <a:pt x="522800" y="40019"/>
                    <a:pt x="518965" y="44134"/>
                  </a:cubicBezTo>
                  <a:cubicBezTo>
                    <a:pt x="513119" y="50214"/>
                    <a:pt x="506477" y="55546"/>
                    <a:pt x="500257" y="61346"/>
                  </a:cubicBezTo>
                  <a:cubicBezTo>
                    <a:pt x="494037" y="67145"/>
                    <a:pt x="486694" y="71495"/>
                    <a:pt x="480006" y="76639"/>
                  </a:cubicBezTo>
                  <a:cubicBezTo>
                    <a:pt x="451944" y="95955"/>
                    <a:pt x="419626" y="108490"/>
                    <a:pt x="386466" y="119060"/>
                  </a:cubicBezTo>
                  <a:cubicBezTo>
                    <a:pt x="353306" y="129630"/>
                    <a:pt x="318977" y="138422"/>
                    <a:pt x="285209" y="150629"/>
                  </a:cubicBezTo>
                  <a:cubicBezTo>
                    <a:pt x="276744" y="153529"/>
                    <a:pt x="268466" y="157317"/>
                    <a:pt x="260094" y="160591"/>
                  </a:cubicBezTo>
                  <a:cubicBezTo>
                    <a:pt x="251722" y="163865"/>
                    <a:pt x="243724" y="168449"/>
                    <a:pt x="235587" y="172424"/>
                  </a:cubicBezTo>
                  <a:cubicBezTo>
                    <a:pt x="227823" y="177101"/>
                    <a:pt x="219825" y="181778"/>
                    <a:pt x="212202" y="186455"/>
                  </a:cubicBezTo>
                  <a:cubicBezTo>
                    <a:pt x="204578" y="191132"/>
                    <a:pt x="197142" y="196885"/>
                    <a:pt x="190313" y="202965"/>
                  </a:cubicBezTo>
                  <a:cubicBezTo>
                    <a:pt x="162251" y="226579"/>
                    <a:pt x="139381" y="255791"/>
                    <a:pt x="123245" y="288741"/>
                  </a:cubicBezTo>
                  <a:cubicBezTo>
                    <a:pt x="106829" y="321199"/>
                    <a:pt x="96446" y="355762"/>
                    <a:pt x="86437" y="389530"/>
                  </a:cubicBezTo>
                  <a:cubicBezTo>
                    <a:pt x="76429" y="423297"/>
                    <a:pt x="66748" y="456785"/>
                    <a:pt x="51921" y="487746"/>
                  </a:cubicBezTo>
                  <a:cubicBezTo>
                    <a:pt x="48367" y="495487"/>
                    <a:pt x="44391" y="503012"/>
                    <a:pt x="39948" y="510289"/>
                  </a:cubicBezTo>
                  <a:lnTo>
                    <a:pt x="33401" y="521187"/>
                  </a:lnTo>
                  <a:lnTo>
                    <a:pt x="25964" y="531476"/>
                  </a:lnTo>
                  <a:cubicBezTo>
                    <a:pt x="23485" y="534890"/>
                    <a:pt x="21287" y="538398"/>
                    <a:pt x="18528" y="541719"/>
                  </a:cubicBezTo>
                  <a:cubicBezTo>
                    <a:pt x="15722" y="544988"/>
                    <a:pt x="13430" y="548683"/>
                    <a:pt x="11746" y="552663"/>
                  </a:cubicBezTo>
                  <a:cubicBezTo>
                    <a:pt x="10063" y="556872"/>
                    <a:pt x="9127" y="562017"/>
                    <a:pt x="7069" y="566133"/>
                  </a:cubicBezTo>
                  <a:cubicBezTo>
                    <a:pt x="4778" y="569963"/>
                    <a:pt x="2065" y="573513"/>
                    <a:pt x="-1069" y="576702"/>
                  </a:cubicBezTo>
                  <a:lnTo>
                    <a:pt x="-1069" y="576702"/>
                  </a:lnTo>
                  <a:cubicBezTo>
                    <a:pt x="2345" y="573770"/>
                    <a:pt x="6040" y="571230"/>
                    <a:pt x="10016" y="569126"/>
                  </a:cubicBezTo>
                  <a:cubicBezTo>
                    <a:pt x="14178" y="567021"/>
                    <a:pt x="18948" y="565384"/>
                    <a:pt x="23205" y="563139"/>
                  </a:cubicBezTo>
                  <a:cubicBezTo>
                    <a:pt x="27227" y="560791"/>
                    <a:pt x="30922" y="557859"/>
                    <a:pt x="34102" y="554440"/>
                  </a:cubicBezTo>
                  <a:cubicBezTo>
                    <a:pt x="36955" y="550839"/>
                    <a:pt x="39574" y="547097"/>
                    <a:pt x="42333" y="543449"/>
                  </a:cubicBezTo>
                  <a:cubicBezTo>
                    <a:pt x="45093" y="539801"/>
                    <a:pt x="47899" y="536106"/>
                    <a:pt x="50378" y="532318"/>
                  </a:cubicBezTo>
                  <a:lnTo>
                    <a:pt x="57347" y="520485"/>
                  </a:lnTo>
                  <a:cubicBezTo>
                    <a:pt x="62071" y="512712"/>
                    <a:pt x="66326" y="504654"/>
                    <a:pt x="70068" y="496352"/>
                  </a:cubicBezTo>
                  <a:cubicBezTo>
                    <a:pt x="85642" y="463613"/>
                    <a:pt x="95791" y="429003"/>
                    <a:pt x="105473" y="395236"/>
                  </a:cubicBezTo>
                  <a:cubicBezTo>
                    <a:pt x="115154" y="361468"/>
                    <a:pt x="125584" y="328261"/>
                    <a:pt x="140831" y="297674"/>
                  </a:cubicBezTo>
                  <a:cubicBezTo>
                    <a:pt x="155703" y="267081"/>
                    <a:pt x="176750" y="239922"/>
                    <a:pt x="202707" y="217931"/>
                  </a:cubicBezTo>
                  <a:cubicBezTo>
                    <a:pt x="229132" y="196314"/>
                    <a:pt x="259252" y="179617"/>
                    <a:pt x="291570" y="168636"/>
                  </a:cubicBezTo>
                  <a:cubicBezTo>
                    <a:pt x="324028" y="156569"/>
                    <a:pt x="358123" y="148010"/>
                    <a:pt x="392031" y="137113"/>
                  </a:cubicBezTo>
                  <a:cubicBezTo>
                    <a:pt x="425940" y="126215"/>
                    <a:pt x="459988" y="112933"/>
                    <a:pt x="490248" y="92260"/>
                  </a:cubicBezTo>
                  <a:cubicBezTo>
                    <a:pt x="497498" y="86695"/>
                    <a:pt x="505308" y="81831"/>
                    <a:pt x="512090" y="75704"/>
                  </a:cubicBezTo>
                  <a:cubicBezTo>
                    <a:pt x="518871" y="69577"/>
                    <a:pt x="526121" y="63684"/>
                    <a:pt x="532247" y="56996"/>
                  </a:cubicBezTo>
                  <a:cubicBezTo>
                    <a:pt x="535568" y="53675"/>
                    <a:pt x="538702" y="50168"/>
                    <a:pt x="541601" y="46613"/>
                  </a:cubicBezTo>
                  <a:lnTo>
                    <a:pt x="541601" y="46613"/>
                  </a:lnTo>
                  <a:cubicBezTo>
                    <a:pt x="545577" y="42240"/>
                    <a:pt x="549178" y="37549"/>
                    <a:pt x="552405" y="32582"/>
                  </a:cubicBezTo>
                  <a:cubicBezTo>
                    <a:pt x="556193" y="27971"/>
                    <a:pt x="558439" y="22269"/>
                    <a:pt x="558766" y="16306"/>
                  </a:cubicBezTo>
                  <a:cubicBezTo>
                    <a:pt x="558719" y="10502"/>
                    <a:pt x="560262" y="4792"/>
                    <a:pt x="563116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F175B4C5-EAB8-4200-9778-A08122865D5E}"/>
                </a:ext>
              </a:extLst>
            </p:cNvPr>
            <p:cNvSpPr/>
            <p:nvPr/>
          </p:nvSpPr>
          <p:spPr>
            <a:xfrm>
              <a:off x="10647942" y="3596954"/>
              <a:ext cx="526574" cy="552351"/>
            </a:xfrm>
            <a:custGeom>
              <a:avLst/>
              <a:gdLst>
                <a:gd name="connsiteX0" fmla="*/ 524624 w 526574"/>
                <a:gd name="connsiteY0" fmla="*/ 16774 h 552351"/>
                <a:gd name="connsiteX1" fmla="*/ 523595 w 526574"/>
                <a:gd name="connsiteY1" fmla="*/ -250 h 552351"/>
                <a:gd name="connsiteX2" fmla="*/ 523595 w 526574"/>
                <a:gd name="connsiteY2" fmla="*/ -250 h 552351"/>
                <a:gd name="connsiteX3" fmla="*/ 514241 w 526574"/>
                <a:gd name="connsiteY3" fmla="*/ 13781 h 552351"/>
                <a:gd name="connsiteX4" fmla="*/ 506103 w 526574"/>
                <a:gd name="connsiteY4" fmla="*/ 25847 h 552351"/>
                <a:gd name="connsiteX5" fmla="*/ 506103 w 526574"/>
                <a:gd name="connsiteY5" fmla="*/ 25847 h 552351"/>
                <a:gd name="connsiteX6" fmla="*/ 505168 w 526574"/>
                <a:gd name="connsiteY6" fmla="*/ 28981 h 552351"/>
                <a:gd name="connsiteX7" fmla="*/ 501193 w 526574"/>
                <a:gd name="connsiteY7" fmla="*/ 40252 h 552351"/>
                <a:gd name="connsiteX8" fmla="*/ 496001 w 526574"/>
                <a:gd name="connsiteY8" fmla="*/ 54985 h 552351"/>
                <a:gd name="connsiteX9" fmla="*/ 475376 w 526574"/>
                <a:gd name="connsiteY9" fmla="*/ 99182 h 552351"/>
                <a:gd name="connsiteX10" fmla="*/ 412517 w 526574"/>
                <a:gd name="connsiteY10" fmla="*/ 171723 h 552351"/>
                <a:gd name="connsiteX11" fmla="*/ 326507 w 526574"/>
                <a:gd name="connsiteY11" fmla="*/ 216481 h 552351"/>
                <a:gd name="connsiteX12" fmla="*/ 230910 w 526574"/>
                <a:gd name="connsiteY12" fmla="*/ 246087 h 552351"/>
                <a:gd name="connsiteX13" fmla="*/ 137090 w 526574"/>
                <a:gd name="connsiteY13" fmla="*/ 287712 h 552351"/>
                <a:gd name="connsiteX14" fmla="*/ 62725 w 526574"/>
                <a:gd name="connsiteY14" fmla="*/ 359878 h 552351"/>
                <a:gd name="connsiteX15" fmla="*/ 19229 w 526574"/>
                <a:gd name="connsiteY15" fmla="*/ 453043 h 552351"/>
                <a:gd name="connsiteX16" fmla="*/ 4450 w 526574"/>
                <a:gd name="connsiteY16" fmla="*/ 501356 h 552351"/>
                <a:gd name="connsiteX17" fmla="*/ -227 w 526574"/>
                <a:gd name="connsiteY17" fmla="*/ 526098 h 552351"/>
                <a:gd name="connsiteX18" fmla="*/ 1083 w 526574"/>
                <a:gd name="connsiteY18" fmla="*/ 539614 h 552351"/>
                <a:gd name="connsiteX19" fmla="*/ -1069 w 526574"/>
                <a:gd name="connsiteY19" fmla="*/ 552102 h 552351"/>
                <a:gd name="connsiteX20" fmla="*/ -1069 w 526574"/>
                <a:gd name="connsiteY20" fmla="*/ 552102 h 552351"/>
                <a:gd name="connsiteX21" fmla="*/ 4684 w 526574"/>
                <a:gd name="connsiteY21" fmla="*/ 540737 h 552351"/>
                <a:gd name="connsiteX22" fmla="*/ 13477 w 526574"/>
                <a:gd name="connsiteY22" fmla="*/ 530307 h 552351"/>
                <a:gd name="connsiteX23" fmla="*/ 23392 w 526574"/>
                <a:gd name="connsiteY23" fmla="*/ 506922 h 552351"/>
                <a:gd name="connsiteX24" fmla="*/ 37844 w 526574"/>
                <a:gd name="connsiteY24" fmla="*/ 459170 h 552351"/>
                <a:gd name="connsiteX25" fmla="*/ 78767 w 526574"/>
                <a:gd name="connsiteY25" fmla="*/ 370822 h 552351"/>
                <a:gd name="connsiteX26" fmla="*/ 147332 w 526574"/>
                <a:gd name="connsiteY26" fmla="*/ 303894 h 552351"/>
                <a:gd name="connsiteX27" fmla="*/ 236522 w 526574"/>
                <a:gd name="connsiteY27" fmla="*/ 264280 h 552351"/>
                <a:gd name="connsiteX28" fmla="*/ 332681 w 526574"/>
                <a:gd name="connsiteY28" fmla="*/ 234301 h 552351"/>
                <a:gd name="connsiteX29" fmla="*/ 423882 w 526574"/>
                <a:gd name="connsiteY29" fmla="*/ 186642 h 552351"/>
                <a:gd name="connsiteX30" fmla="*/ 461765 w 526574"/>
                <a:gd name="connsiteY30" fmla="*/ 150957 h 552351"/>
                <a:gd name="connsiteX31" fmla="*/ 491605 w 526574"/>
                <a:gd name="connsiteY31" fmla="*/ 108443 h 552351"/>
                <a:gd name="connsiteX32" fmla="*/ 513446 w 526574"/>
                <a:gd name="connsiteY32" fmla="*/ 61673 h 552351"/>
                <a:gd name="connsiteX33" fmla="*/ 517515 w 526574"/>
                <a:gd name="connsiteY33" fmla="*/ 51010 h 552351"/>
                <a:gd name="connsiteX34" fmla="*/ 523455 w 526574"/>
                <a:gd name="connsiteY34" fmla="*/ 34453 h 552351"/>
                <a:gd name="connsiteX35" fmla="*/ 524624 w 526574"/>
                <a:gd name="connsiteY35" fmla="*/ 16774 h 552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26574" h="552351">
                  <a:moveTo>
                    <a:pt x="524624" y="16774"/>
                  </a:moveTo>
                  <a:cubicBezTo>
                    <a:pt x="522800" y="11288"/>
                    <a:pt x="522426" y="5418"/>
                    <a:pt x="523595" y="-250"/>
                  </a:cubicBezTo>
                  <a:lnTo>
                    <a:pt x="523595" y="-250"/>
                  </a:lnTo>
                  <a:cubicBezTo>
                    <a:pt x="522005" y="5287"/>
                    <a:pt x="518731" y="10198"/>
                    <a:pt x="514241" y="13781"/>
                  </a:cubicBezTo>
                  <a:cubicBezTo>
                    <a:pt x="510453" y="16947"/>
                    <a:pt x="507600" y="21133"/>
                    <a:pt x="506103" y="25847"/>
                  </a:cubicBezTo>
                  <a:lnTo>
                    <a:pt x="506103" y="25847"/>
                  </a:lnTo>
                  <a:cubicBezTo>
                    <a:pt x="505823" y="26876"/>
                    <a:pt x="505495" y="27905"/>
                    <a:pt x="505168" y="28981"/>
                  </a:cubicBezTo>
                  <a:lnTo>
                    <a:pt x="501193" y="40252"/>
                  </a:lnTo>
                  <a:cubicBezTo>
                    <a:pt x="501193" y="40252"/>
                    <a:pt x="497825" y="50121"/>
                    <a:pt x="496001" y="54985"/>
                  </a:cubicBezTo>
                  <a:cubicBezTo>
                    <a:pt x="490248" y="70209"/>
                    <a:pt x="483326" y="84983"/>
                    <a:pt x="475376" y="99182"/>
                  </a:cubicBezTo>
                  <a:cubicBezTo>
                    <a:pt x="459567" y="127366"/>
                    <a:pt x="438147" y="152042"/>
                    <a:pt x="412517" y="171723"/>
                  </a:cubicBezTo>
                  <a:cubicBezTo>
                    <a:pt x="386419" y="191146"/>
                    <a:pt x="357375" y="206257"/>
                    <a:pt x="326507" y="216481"/>
                  </a:cubicBezTo>
                  <a:cubicBezTo>
                    <a:pt x="295499" y="227472"/>
                    <a:pt x="263134" y="235844"/>
                    <a:pt x="230910" y="246087"/>
                  </a:cubicBezTo>
                  <a:cubicBezTo>
                    <a:pt x="197937" y="255749"/>
                    <a:pt x="166367" y="269747"/>
                    <a:pt x="137090" y="287712"/>
                  </a:cubicBezTo>
                  <a:cubicBezTo>
                    <a:pt x="107718" y="306541"/>
                    <a:pt x="82415" y="331081"/>
                    <a:pt x="62725" y="359878"/>
                  </a:cubicBezTo>
                  <a:cubicBezTo>
                    <a:pt x="43877" y="388711"/>
                    <a:pt x="29238" y="420084"/>
                    <a:pt x="19229" y="453043"/>
                  </a:cubicBezTo>
                  <a:cubicBezTo>
                    <a:pt x="13944" y="469193"/>
                    <a:pt x="9034" y="485300"/>
                    <a:pt x="4450" y="501356"/>
                  </a:cubicBezTo>
                  <a:cubicBezTo>
                    <a:pt x="1410" y="509251"/>
                    <a:pt x="-180" y="517637"/>
                    <a:pt x="-227" y="526098"/>
                  </a:cubicBezTo>
                  <a:cubicBezTo>
                    <a:pt x="474" y="530573"/>
                    <a:pt x="895" y="535087"/>
                    <a:pt x="1083" y="539614"/>
                  </a:cubicBezTo>
                  <a:cubicBezTo>
                    <a:pt x="802" y="543842"/>
                    <a:pt x="101" y="548023"/>
                    <a:pt x="-1069" y="552102"/>
                  </a:cubicBezTo>
                  <a:lnTo>
                    <a:pt x="-1069" y="552102"/>
                  </a:lnTo>
                  <a:cubicBezTo>
                    <a:pt x="474" y="548126"/>
                    <a:pt x="2392" y="544314"/>
                    <a:pt x="4684" y="540737"/>
                  </a:cubicBezTo>
                  <a:cubicBezTo>
                    <a:pt x="7116" y="537135"/>
                    <a:pt x="10577" y="533815"/>
                    <a:pt x="13477" y="530307"/>
                  </a:cubicBezTo>
                  <a:cubicBezTo>
                    <a:pt x="18247" y="523217"/>
                    <a:pt x="21615" y="515280"/>
                    <a:pt x="23392" y="506922"/>
                  </a:cubicBezTo>
                  <a:cubicBezTo>
                    <a:pt x="28069" y="490880"/>
                    <a:pt x="32746" y="474838"/>
                    <a:pt x="37844" y="459170"/>
                  </a:cubicBezTo>
                  <a:cubicBezTo>
                    <a:pt x="47291" y="427951"/>
                    <a:pt x="61042" y="398210"/>
                    <a:pt x="78767" y="370822"/>
                  </a:cubicBezTo>
                  <a:cubicBezTo>
                    <a:pt x="96867" y="344126"/>
                    <a:pt x="120205" y="321363"/>
                    <a:pt x="147332" y="303894"/>
                  </a:cubicBezTo>
                  <a:cubicBezTo>
                    <a:pt x="175207" y="286870"/>
                    <a:pt x="205186" y="273554"/>
                    <a:pt x="236522" y="264280"/>
                  </a:cubicBezTo>
                  <a:cubicBezTo>
                    <a:pt x="267998" y="254131"/>
                    <a:pt x="300597" y="245853"/>
                    <a:pt x="332681" y="234301"/>
                  </a:cubicBezTo>
                  <a:cubicBezTo>
                    <a:pt x="365420" y="223328"/>
                    <a:pt x="396194" y="207244"/>
                    <a:pt x="423882" y="186642"/>
                  </a:cubicBezTo>
                  <a:cubicBezTo>
                    <a:pt x="437632" y="175979"/>
                    <a:pt x="450307" y="164029"/>
                    <a:pt x="461765" y="150957"/>
                  </a:cubicBezTo>
                  <a:cubicBezTo>
                    <a:pt x="473131" y="137819"/>
                    <a:pt x="483093" y="123578"/>
                    <a:pt x="491605" y="108443"/>
                  </a:cubicBezTo>
                  <a:cubicBezTo>
                    <a:pt x="500023" y="93411"/>
                    <a:pt x="507319" y="77781"/>
                    <a:pt x="513446" y="61673"/>
                  </a:cubicBezTo>
                  <a:cubicBezTo>
                    <a:pt x="514849" y="58165"/>
                    <a:pt x="517515" y="51010"/>
                    <a:pt x="517515" y="51010"/>
                  </a:cubicBezTo>
                  <a:cubicBezTo>
                    <a:pt x="519947" y="45669"/>
                    <a:pt x="521958" y="40131"/>
                    <a:pt x="523455" y="34453"/>
                  </a:cubicBezTo>
                  <a:cubicBezTo>
                    <a:pt x="525700" y="28831"/>
                    <a:pt x="526121" y="22644"/>
                    <a:pt x="524624" y="16774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11" name="Text Placeholder 4">
            <a:extLst>
              <a:ext uri="{FF2B5EF4-FFF2-40B4-BE49-F238E27FC236}">
                <a16:creationId xmlns:a16="http://schemas.microsoft.com/office/drawing/2014/main" id="{0FEDAD22-50AD-4760-8D29-B11D207584E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14631" y="688756"/>
            <a:ext cx="6220336" cy="5705902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46267069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D527877-68C1-4DA3-B6B9-A49AEE5D2C35}"/>
              </a:ext>
            </a:extLst>
          </p:cNvPr>
          <p:cNvSpPr/>
          <p:nvPr/>
        </p:nvSpPr>
        <p:spPr>
          <a:xfrm>
            <a:off x="7116024" y="0"/>
            <a:ext cx="5075976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0889867-F0B9-49AE-9FBF-596364B1E227}"/>
              </a:ext>
            </a:extLst>
          </p:cNvPr>
          <p:cNvSpPr/>
          <p:nvPr/>
        </p:nvSpPr>
        <p:spPr>
          <a:xfrm>
            <a:off x="6689505" y="1"/>
            <a:ext cx="451736" cy="3558012"/>
          </a:xfrm>
          <a:prstGeom prst="rect">
            <a:avLst/>
          </a:prstGeom>
          <a:gradFill>
            <a:gsLst>
              <a:gs pos="0">
                <a:schemeClr val="accent3"/>
              </a:gs>
              <a:gs pos="93805">
                <a:schemeClr val="accent1"/>
              </a:gs>
              <a:gs pos="49000">
                <a:schemeClr val="accent2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BAD24AA-374D-4BDA-9F51-2A7F6BB78486}"/>
              </a:ext>
            </a:extLst>
          </p:cNvPr>
          <p:cNvSpPr/>
          <p:nvPr/>
        </p:nvSpPr>
        <p:spPr>
          <a:xfrm>
            <a:off x="6689498" y="3539905"/>
            <a:ext cx="451736" cy="3318095"/>
          </a:xfrm>
          <a:prstGeom prst="rect">
            <a:avLst/>
          </a:prstGeom>
          <a:solidFill>
            <a:schemeClr val="accent1"/>
          </a:solidFill>
          <a:ln w="1486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00451" y="6394658"/>
            <a:ext cx="857032" cy="365125"/>
          </a:xfr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22186E2-90AF-450B-942F-E5C1A2651822}"/>
              </a:ext>
            </a:extLst>
          </p:cNvPr>
          <p:cNvGrpSpPr/>
          <p:nvPr/>
        </p:nvGrpSpPr>
        <p:grpSpPr>
          <a:xfrm>
            <a:off x="11216268" y="6437490"/>
            <a:ext cx="550320" cy="215526"/>
            <a:chOff x="11216268" y="6437490"/>
            <a:chExt cx="550320" cy="215526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21196651-BC66-446C-AED3-8BCCC153CBB6}"/>
                </a:ext>
              </a:extLst>
            </p:cNvPr>
            <p:cNvGrpSpPr/>
            <p:nvPr userDrawn="1"/>
          </p:nvGrpSpPr>
          <p:grpSpPr>
            <a:xfrm>
              <a:off x="11216268" y="6439360"/>
              <a:ext cx="549385" cy="213656"/>
              <a:chOff x="17092245" y="9730154"/>
              <a:chExt cx="833634" cy="356946"/>
            </a:xfrm>
          </p:grpSpPr>
          <p:sp>
            <p:nvSpPr>
              <p:cNvPr id="22" name="Freeform 8">
                <a:extLst>
                  <a:ext uri="{FF2B5EF4-FFF2-40B4-BE49-F238E27FC236}">
                    <a16:creationId xmlns:a16="http://schemas.microsoft.com/office/drawing/2014/main" id="{AA1DB9B3-2186-4DFE-9DFB-EEB5D9776B9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734471" y="9735603"/>
                <a:ext cx="191408" cy="343321"/>
              </a:xfrm>
              <a:custGeom>
                <a:avLst/>
                <a:gdLst>
                  <a:gd name="T0" fmla="*/ 0 w 332"/>
                  <a:gd name="T1" fmla="*/ 0 h 551"/>
                  <a:gd name="T2" fmla="*/ 834380475 w 332"/>
                  <a:gd name="T3" fmla="*/ 0 h 551"/>
                  <a:gd name="T4" fmla="*/ 834380475 w 332"/>
                  <a:gd name="T5" fmla="*/ 326553043 h 551"/>
                  <a:gd name="T6" fmla="*/ 331741635 w 332"/>
                  <a:gd name="T7" fmla="*/ 326553043 h 551"/>
                  <a:gd name="T8" fmla="*/ 331741635 w 332"/>
                  <a:gd name="T9" fmla="*/ 530021499 h 551"/>
                  <a:gd name="T10" fmla="*/ 743905484 w 332"/>
                  <a:gd name="T11" fmla="*/ 530021499 h 551"/>
                  <a:gd name="T12" fmla="*/ 743905484 w 332"/>
                  <a:gd name="T13" fmla="*/ 851550649 h 551"/>
                  <a:gd name="T14" fmla="*/ 331741635 w 332"/>
                  <a:gd name="T15" fmla="*/ 851550649 h 551"/>
                  <a:gd name="T16" fmla="*/ 331741635 w 332"/>
                  <a:gd name="T17" fmla="*/ 1062554154 h 551"/>
                  <a:gd name="T18" fmla="*/ 834380475 w 332"/>
                  <a:gd name="T19" fmla="*/ 1062554154 h 551"/>
                  <a:gd name="T20" fmla="*/ 834380475 w 332"/>
                  <a:gd name="T21" fmla="*/ 1384083304 h 551"/>
                  <a:gd name="T22" fmla="*/ 0 w 332"/>
                  <a:gd name="T23" fmla="*/ 1384083304 h 551"/>
                  <a:gd name="T24" fmla="*/ 0 w 332"/>
                  <a:gd name="T25" fmla="*/ 0 h 55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32" h="551">
                    <a:moveTo>
                      <a:pt x="0" y="0"/>
                    </a:moveTo>
                    <a:lnTo>
                      <a:pt x="332" y="0"/>
                    </a:lnTo>
                    <a:lnTo>
                      <a:pt x="332" y="130"/>
                    </a:lnTo>
                    <a:lnTo>
                      <a:pt x="132" y="130"/>
                    </a:lnTo>
                    <a:lnTo>
                      <a:pt x="132" y="211"/>
                    </a:lnTo>
                    <a:lnTo>
                      <a:pt x="296" y="211"/>
                    </a:lnTo>
                    <a:lnTo>
                      <a:pt x="296" y="339"/>
                    </a:lnTo>
                    <a:lnTo>
                      <a:pt x="132" y="339"/>
                    </a:lnTo>
                    <a:lnTo>
                      <a:pt x="132" y="423"/>
                    </a:lnTo>
                    <a:lnTo>
                      <a:pt x="332" y="423"/>
                    </a:lnTo>
                    <a:lnTo>
                      <a:pt x="332" y="551"/>
                    </a:lnTo>
                    <a:lnTo>
                      <a:pt x="0" y="55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23" name="Freeform 9">
                <a:extLst>
                  <a:ext uri="{FF2B5EF4-FFF2-40B4-BE49-F238E27FC236}">
                    <a16:creationId xmlns:a16="http://schemas.microsoft.com/office/drawing/2014/main" id="{F052EEAF-F828-4276-BDE3-EC16EAEB59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464988" y="9730154"/>
                <a:ext cx="236742" cy="356946"/>
              </a:xfrm>
              <a:custGeom>
                <a:avLst/>
                <a:gdLst>
                  <a:gd name="T0" fmla="*/ 1281005241 w 228"/>
                  <a:gd name="T1" fmla="*/ 1005742145 h 317"/>
                  <a:gd name="T2" fmla="*/ 1158616841 w 228"/>
                  <a:gd name="T3" fmla="*/ 695025501 h 317"/>
                  <a:gd name="T4" fmla="*/ 946475046 w 228"/>
                  <a:gd name="T5" fmla="*/ 605079780 h 317"/>
                  <a:gd name="T6" fmla="*/ 693538069 w 228"/>
                  <a:gd name="T7" fmla="*/ 801321871 h 317"/>
                  <a:gd name="T8" fmla="*/ 611944852 w 228"/>
                  <a:gd name="T9" fmla="*/ 1324636972 h 317"/>
                  <a:gd name="T10" fmla="*/ 954635223 w 228"/>
                  <a:gd name="T11" fmla="*/ 1995130782 h 317"/>
                  <a:gd name="T12" fmla="*/ 1281005241 w 228"/>
                  <a:gd name="T13" fmla="*/ 1561761402 h 317"/>
                  <a:gd name="T14" fmla="*/ 1860312235 w 228"/>
                  <a:gd name="T15" fmla="*/ 1561761402 h 317"/>
                  <a:gd name="T16" fmla="*/ 1607375258 w 228"/>
                  <a:gd name="T17" fmla="*/ 2147483647 h 317"/>
                  <a:gd name="T18" fmla="*/ 987270229 w 228"/>
                  <a:gd name="T19" fmla="*/ 2147483647 h 317"/>
                  <a:gd name="T20" fmla="*/ 465078772 w 228"/>
                  <a:gd name="T21" fmla="*/ 2147483647 h 317"/>
                  <a:gd name="T22" fmla="*/ 130548577 w 228"/>
                  <a:gd name="T23" fmla="*/ 2003308966 h 317"/>
                  <a:gd name="T24" fmla="*/ 0 w 228"/>
                  <a:gd name="T25" fmla="*/ 1324636972 h 317"/>
                  <a:gd name="T26" fmla="*/ 130548577 w 228"/>
                  <a:gd name="T27" fmla="*/ 580550948 h 317"/>
                  <a:gd name="T28" fmla="*/ 489556452 w 228"/>
                  <a:gd name="T29" fmla="*/ 139006244 h 317"/>
                  <a:gd name="T30" fmla="*/ 921997366 w 228"/>
                  <a:gd name="T31" fmla="*/ 0 h 317"/>
                  <a:gd name="T32" fmla="*/ 1615535435 w 228"/>
                  <a:gd name="T33" fmla="*/ 302541320 h 317"/>
                  <a:gd name="T34" fmla="*/ 1843994732 w 228"/>
                  <a:gd name="T35" fmla="*/ 1005742145 h 317"/>
                  <a:gd name="T36" fmla="*/ 1281005241 w 228"/>
                  <a:gd name="T37" fmla="*/ 1005742145 h 31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228" h="317">
                    <a:moveTo>
                      <a:pt x="157" y="123"/>
                    </a:moveTo>
                    <a:cubicBezTo>
                      <a:pt x="154" y="105"/>
                      <a:pt x="148" y="91"/>
                      <a:pt x="142" y="85"/>
                    </a:cubicBezTo>
                    <a:cubicBezTo>
                      <a:pt x="133" y="78"/>
                      <a:pt x="124" y="74"/>
                      <a:pt x="116" y="74"/>
                    </a:cubicBezTo>
                    <a:cubicBezTo>
                      <a:pt x="102" y="74"/>
                      <a:pt x="91" y="83"/>
                      <a:pt x="85" y="98"/>
                    </a:cubicBezTo>
                    <a:cubicBezTo>
                      <a:pt x="78" y="116"/>
                      <a:pt x="75" y="137"/>
                      <a:pt x="75" y="162"/>
                    </a:cubicBezTo>
                    <a:cubicBezTo>
                      <a:pt x="75" y="216"/>
                      <a:pt x="89" y="244"/>
                      <a:pt x="117" y="244"/>
                    </a:cubicBezTo>
                    <a:cubicBezTo>
                      <a:pt x="139" y="244"/>
                      <a:pt x="153" y="225"/>
                      <a:pt x="157" y="191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5" y="229"/>
                      <a:pt x="215" y="260"/>
                      <a:pt x="197" y="283"/>
                    </a:cubicBezTo>
                    <a:cubicBezTo>
                      <a:pt x="178" y="306"/>
                      <a:pt x="151" y="317"/>
                      <a:pt x="121" y="317"/>
                    </a:cubicBezTo>
                    <a:cubicBezTo>
                      <a:pt x="97" y="317"/>
                      <a:pt x="75" y="311"/>
                      <a:pt x="57" y="299"/>
                    </a:cubicBezTo>
                    <a:cubicBezTo>
                      <a:pt x="38" y="287"/>
                      <a:pt x="25" y="269"/>
                      <a:pt x="16" y="245"/>
                    </a:cubicBezTo>
                    <a:cubicBezTo>
                      <a:pt x="6" y="223"/>
                      <a:pt x="0" y="193"/>
                      <a:pt x="0" y="162"/>
                    </a:cubicBezTo>
                    <a:cubicBezTo>
                      <a:pt x="0" y="127"/>
                      <a:pt x="6" y="96"/>
                      <a:pt x="16" y="71"/>
                    </a:cubicBezTo>
                    <a:cubicBezTo>
                      <a:pt x="28" y="47"/>
                      <a:pt x="43" y="28"/>
                      <a:pt x="60" y="17"/>
                    </a:cubicBezTo>
                    <a:cubicBezTo>
                      <a:pt x="77" y="7"/>
                      <a:pt x="96" y="0"/>
                      <a:pt x="113" y="0"/>
                    </a:cubicBezTo>
                    <a:cubicBezTo>
                      <a:pt x="152" y="1"/>
                      <a:pt x="182" y="15"/>
                      <a:pt x="198" y="37"/>
                    </a:cubicBezTo>
                    <a:cubicBezTo>
                      <a:pt x="214" y="61"/>
                      <a:pt x="224" y="90"/>
                      <a:pt x="226" y="123"/>
                    </a:cubicBezTo>
                    <a:lnTo>
                      <a:pt x="157" y="12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24" name="Rectangle 10">
                <a:extLst>
                  <a:ext uri="{FF2B5EF4-FFF2-40B4-BE49-F238E27FC236}">
                    <a16:creationId xmlns:a16="http://schemas.microsoft.com/office/drawing/2014/main" id="{12694FAC-CBE6-457C-8458-D614D68728D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7359210" y="9735603"/>
                <a:ext cx="78074" cy="343321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25" name="Freeform 11">
                <a:extLst>
                  <a:ext uri="{FF2B5EF4-FFF2-40B4-BE49-F238E27FC236}">
                    <a16:creationId xmlns:a16="http://schemas.microsoft.com/office/drawing/2014/main" id="{A4983321-6360-455B-B9E7-728EFF560C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092245" y="9735603"/>
                <a:ext cx="224149" cy="343321"/>
              </a:xfrm>
              <a:custGeom>
                <a:avLst/>
                <a:gdLst>
                  <a:gd name="T0" fmla="*/ 0 w 386"/>
                  <a:gd name="T1" fmla="*/ 0 h 551"/>
                  <a:gd name="T2" fmla="*/ 301231077 w 386"/>
                  <a:gd name="T3" fmla="*/ 0 h 551"/>
                  <a:gd name="T4" fmla="*/ 655619642 w 386"/>
                  <a:gd name="T5" fmla="*/ 766144469 h 551"/>
                  <a:gd name="T6" fmla="*/ 655619642 w 386"/>
                  <a:gd name="T7" fmla="*/ 462198153 h 551"/>
                  <a:gd name="T8" fmla="*/ 655619642 w 386"/>
                  <a:gd name="T9" fmla="*/ 0 h 551"/>
                  <a:gd name="T10" fmla="*/ 977099900 w 386"/>
                  <a:gd name="T11" fmla="*/ 0 h 551"/>
                  <a:gd name="T12" fmla="*/ 977099900 w 386"/>
                  <a:gd name="T13" fmla="*/ 1384083304 h 551"/>
                  <a:gd name="T14" fmla="*/ 660682336 w 386"/>
                  <a:gd name="T15" fmla="*/ 1384083304 h 551"/>
                  <a:gd name="T16" fmla="*/ 313887015 w 386"/>
                  <a:gd name="T17" fmla="*/ 638034407 h 551"/>
                  <a:gd name="T18" fmla="*/ 313887015 w 386"/>
                  <a:gd name="T19" fmla="*/ 959563557 h 551"/>
                  <a:gd name="T20" fmla="*/ 313887015 w 386"/>
                  <a:gd name="T21" fmla="*/ 1384083304 h 551"/>
                  <a:gd name="T22" fmla="*/ 0 w 386"/>
                  <a:gd name="T23" fmla="*/ 1384083304 h 551"/>
                  <a:gd name="T24" fmla="*/ 0 w 386"/>
                  <a:gd name="T25" fmla="*/ 0 h 55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86" h="551">
                    <a:moveTo>
                      <a:pt x="0" y="0"/>
                    </a:moveTo>
                    <a:lnTo>
                      <a:pt x="119" y="0"/>
                    </a:lnTo>
                    <a:lnTo>
                      <a:pt x="259" y="305"/>
                    </a:lnTo>
                    <a:lnTo>
                      <a:pt x="259" y="184"/>
                    </a:lnTo>
                    <a:lnTo>
                      <a:pt x="259" y="0"/>
                    </a:lnTo>
                    <a:lnTo>
                      <a:pt x="386" y="0"/>
                    </a:lnTo>
                    <a:lnTo>
                      <a:pt x="386" y="551"/>
                    </a:lnTo>
                    <a:lnTo>
                      <a:pt x="261" y="551"/>
                    </a:lnTo>
                    <a:lnTo>
                      <a:pt x="124" y="254"/>
                    </a:lnTo>
                    <a:lnTo>
                      <a:pt x="124" y="382"/>
                    </a:lnTo>
                    <a:lnTo>
                      <a:pt x="124" y="551"/>
                    </a:lnTo>
                    <a:lnTo>
                      <a:pt x="0" y="55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26" name="Rectangle 12">
                <a:extLst>
                  <a:ext uri="{FF2B5EF4-FFF2-40B4-BE49-F238E27FC236}">
                    <a16:creationId xmlns:a16="http://schemas.microsoft.com/office/drawing/2014/main" id="{888BDF00-ED5B-4E00-9422-C4696422010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7701730" y="9869118"/>
                <a:ext cx="70519" cy="76293"/>
              </a:xfrm>
              <a:prstGeom prst="rect">
                <a:avLst/>
              </a:prstGeom>
              <a:solidFill>
                <a:srgbClr val="009EDB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27" name="Rectangle 13">
                <a:extLst>
                  <a:ext uri="{FF2B5EF4-FFF2-40B4-BE49-F238E27FC236}">
                    <a16:creationId xmlns:a16="http://schemas.microsoft.com/office/drawing/2014/main" id="{24FF870B-6323-4E50-B943-E44905E9FB2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7437283" y="9869118"/>
                <a:ext cx="68001" cy="76293"/>
              </a:xfrm>
              <a:prstGeom prst="rect">
                <a:avLst/>
              </a:prstGeom>
              <a:solidFill>
                <a:srgbClr val="009EDB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28" name="Rectangle 14">
                <a:extLst>
                  <a:ext uri="{FF2B5EF4-FFF2-40B4-BE49-F238E27FC236}">
                    <a16:creationId xmlns:a16="http://schemas.microsoft.com/office/drawing/2014/main" id="{C86AA52C-B69B-4644-A9A2-32A008C292C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7291209" y="9869118"/>
                <a:ext cx="68001" cy="76293"/>
              </a:xfrm>
              <a:prstGeom prst="rect">
                <a:avLst/>
              </a:prstGeom>
              <a:solidFill>
                <a:srgbClr val="009EDB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9B467462-6235-43C2-BD2F-FB20D6DC9D10}"/>
                </a:ext>
              </a:extLst>
            </p:cNvPr>
            <p:cNvGrpSpPr/>
            <p:nvPr userDrawn="1"/>
          </p:nvGrpSpPr>
          <p:grpSpPr>
            <a:xfrm>
              <a:off x="11217203" y="6437490"/>
              <a:ext cx="549385" cy="213656"/>
              <a:chOff x="17092245" y="9730154"/>
              <a:chExt cx="833634" cy="356946"/>
            </a:xfrm>
          </p:grpSpPr>
          <p:sp>
            <p:nvSpPr>
              <p:cNvPr id="39" name="Freeform 8">
                <a:extLst>
                  <a:ext uri="{FF2B5EF4-FFF2-40B4-BE49-F238E27FC236}">
                    <a16:creationId xmlns:a16="http://schemas.microsoft.com/office/drawing/2014/main" id="{09E3127D-A4E6-49BF-A0CB-FCB226196E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734471" y="9735603"/>
                <a:ext cx="191408" cy="343321"/>
              </a:xfrm>
              <a:custGeom>
                <a:avLst/>
                <a:gdLst>
                  <a:gd name="T0" fmla="*/ 0 w 332"/>
                  <a:gd name="T1" fmla="*/ 0 h 551"/>
                  <a:gd name="T2" fmla="*/ 834380475 w 332"/>
                  <a:gd name="T3" fmla="*/ 0 h 551"/>
                  <a:gd name="T4" fmla="*/ 834380475 w 332"/>
                  <a:gd name="T5" fmla="*/ 326553043 h 551"/>
                  <a:gd name="T6" fmla="*/ 331741635 w 332"/>
                  <a:gd name="T7" fmla="*/ 326553043 h 551"/>
                  <a:gd name="T8" fmla="*/ 331741635 w 332"/>
                  <a:gd name="T9" fmla="*/ 530021499 h 551"/>
                  <a:gd name="T10" fmla="*/ 743905484 w 332"/>
                  <a:gd name="T11" fmla="*/ 530021499 h 551"/>
                  <a:gd name="T12" fmla="*/ 743905484 w 332"/>
                  <a:gd name="T13" fmla="*/ 851550649 h 551"/>
                  <a:gd name="T14" fmla="*/ 331741635 w 332"/>
                  <a:gd name="T15" fmla="*/ 851550649 h 551"/>
                  <a:gd name="T16" fmla="*/ 331741635 w 332"/>
                  <a:gd name="T17" fmla="*/ 1062554154 h 551"/>
                  <a:gd name="T18" fmla="*/ 834380475 w 332"/>
                  <a:gd name="T19" fmla="*/ 1062554154 h 551"/>
                  <a:gd name="T20" fmla="*/ 834380475 w 332"/>
                  <a:gd name="T21" fmla="*/ 1384083304 h 551"/>
                  <a:gd name="T22" fmla="*/ 0 w 332"/>
                  <a:gd name="T23" fmla="*/ 1384083304 h 551"/>
                  <a:gd name="T24" fmla="*/ 0 w 332"/>
                  <a:gd name="T25" fmla="*/ 0 h 55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32" h="551">
                    <a:moveTo>
                      <a:pt x="0" y="0"/>
                    </a:moveTo>
                    <a:lnTo>
                      <a:pt x="332" y="0"/>
                    </a:lnTo>
                    <a:lnTo>
                      <a:pt x="332" y="130"/>
                    </a:lnTo>
                    <a:lnTo>
                      <a:pt x="132" y="130"/>
                    </a:lnTo>
                    <a:lnTo>
                      <a:pt x="132" y="211"/>
                    </a:lnTo>
                    <a:lnTo>
                      <a:pt x="296" y="211"/>
                    </a:lnTo>
                    <a:lnTo>
                      <a:pt x="296" y="339"/>
                    </a:lnTo>
                    <a:lnTo>
                      <a:pt x="132" y="339"/>
                    </a:lnTo>
                    <a:lnTo>
                      <a:pt x="132" y="423"/>
                    </a:lnTo>
                    <a:lnTo>
                      <a:pt x="332" y="423"/>
                    </a:lnTo>
                    <a:lnTo>
                      <a:pt x="332" y="551"/>
                    </a:lnTo>
                    <a:lnTo>
                      <a:pt x="0" y="55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" name="Freeform 9">
                <a:extLst>
                  <a:ext uri="{FF2B5EF4-FFF2-40B4-BE49-F238E27FC236}">
                    <a16:creationId xmlns:a16="http://schemas.microsoft.com/office/drawing/2014/main" id="{9D5B0A7B-4382-46F0-B66E-1314B5DB61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464988" y="9730154"/>
                <a:ext cx="236742" cy="356946"/>
              </a:xfrm>
              <a:custGeom>
                <a:avLst/>
                <a:gdLst>
                  <a:gd name="T0" fmla="*/ 1281005241 w 228"/>
                  <a:gd name="T1" fmla="*/ 1005742145 h 317"/>
                  <a:gd name="T2" fmla="*/ 1158616841 w 228"/>
                  <a:gd name="T3" fmla="*/ 695025501 h 317"/>
                  <a:gd name="T4" fmla="*/ 946475046 w 228"/>
                  <a:gd name="T5" fmla="*/ 605079780 h 317"/>
                  <a:gd name="T6" fmla="*/ 693538069 w 228"/>
                  <a:gd name="T7" fmla="*/ 801321871 h 317"/>
                  <a:gd name="T8" fmla="*/ 611944852 w 228"/>
                  <a:gd name="T9" fmla="*/ 1324636972 h 317"/>
                  <a:gd name="T10" fmla="*/ 954635223 w 228"/>
                  <a:gd name="T11" fmla="*/ 1995130782 h 317"/>
                  <a:gd name="T12" fmla="*/ 1281005241 w 228"/>
                  <a:gd name="T13" fmla="*/ 1561761402 h 317"/>
                  <a:gd name="T14" fmla="*/ 1860312235 w 228"/>
                  <a:gd name="T15" fmla="*/ 1561761402 h 317"/>
                  <a:gd name="T16" fmla="*/ 1607375258 w 228"/>
                  <a:gd name="T17" fmla="*/ 2147483647 h 317"/>
                  <a:gd name="T18" fmla="*/ 987270229 w 228"/>
                  <a:gd name="T19" fmla="*/ 2147483647 h 317"/>
                  <a:gd name="T20" fmla="*/ 465078772 w 228"/>
                  <a:gd name="T21" fmla="*/ 2147483647 h 317"/>
                  <a:gd name="T22" fmla="*/ 130548577 w 228"/>
                  <a:gd name="T23" fmla="*/ 2003308966 h 317"/>
                  <a:gd name="T24" fmla="*/ 0 w 228"/>
                  <a:gd name="T25" fmla="*/ 1324636972 h 317"/>
                  <a:gd name="T26" fmla="*/ 130548577 w 228"/>
                  <a:gd name="T27" fmla="*/ 580550948 h 317"/>
                  <a:gd name="T28" fmla="*/ 489556452 w 228"/>
                  <a:gd name="T29" fmla="*/ 139006244 h 317"/>
                  <a:gd name="T30" fmla="*/ 921997366 w 228"/>
                  <a:gd name="T31" fmla="*/ 0 h 317"/>
                  <a:gd name="T32" fmla="*/ 1615535435 w 228"/>
                  <a:gd name="T33" fmla="*/ 302541320 h 317"/>
                  <a:gd name="T34" fmla="*/ 1843994732 w 228"/>
                  <a:gd name="T35" fmla="*/ 1005742145 h 317"/>
                  <a:gd name="T36" fmla="*/ 1281005241 w 228"/>
                  <a:gd name="T37" fmla="*/ 1005742145 h 31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228" h="317">
                    <a:moveTo>
                      <a:pt x="157" y="123"/>
                    </a:moveTo>
                    <a:cubicBezTo>
                      <a:pt x="154" y="105"/>
                      <a:pt x="148" y="91"/>
                      <a:pt x="142" y="85"/>
                    </a:cubicBezTo>
                    <a:cubicBezTo>
                      <a:pt x="133" y="78"/>
                      <a:pt x="124" y="74"/>
                      <a:pt x="116" y="74"/>
                    </a:cubicBezTo>
                    <a:cubicBezTo>
                      <a:pt x="102" y="74"/>
                      <a:pt x="91" y="83"/>
                      <a:pt x="85" y="98"/>
                    </a:cubicBezTo>
                    <a:cubicBezTo>
                      <a:pt x="78" y="116"/>
                      <a:pt x="75" y="137"/>
                      <a:pt x="75" y="162"/>
                    </a:cubicBezTo>
                    <a:cubicBezTo>
                      <a:pt x="75" y="216"/>
                      <a:pt x="89" y="244"/>
                      <a:pt x="117" y="244"/>
                    </a:cubicBezTo>
                    <a:cubicBezTo>
                      <a:pt x="139" y="244"/>
                      <a:pt x="153" y="225"/>
                      <a:pt x="157" y="191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5" y="229"/>
                      <a:pt x="215" y="260"/>
                      <a:pt x="197" y="283"/>
                    </a:cubicBezTo>
                    <a:cubicBezTo>
                      <a:pt x="178" y="306"/>
                      <a:pt x="151" y="317"/>
                      <a:pt x="121" y="317"/>
                    </a:cubicBezTo>
                    <a:cubicBezTo>
                      <a:pt x="97" y="317"/>
                      <a:pt x="75" y="311"/>
                      <a:pt x="57" y="299"/>
                    </a:cubicBezTo>
                    <a:cubicBezTo>
                      <a:pt x="38" y="287"/>
                      <a:pt x="25" y="269"/>
                      <a:pt x="16" y="245"/>
                    </a:cubicBezTo>
                    <a:cubicBezTo>
                      <a:pt x="6" y="223"/>
                      <a:pt x="0" y="193"/>
                      <a:pt x="0" y="162"/>
                    </a:cubicBezTo>
                    <a:cubicBezTo>
                      <a:pt x="0" y="127"/>
                      <a:pt x="6" y="96"/>
                      <a:pt x="16" y="71"/>
                    </a:cubicBezTo>
                    <a:cubicBezTo>
                      <a:pt x="28" y="47"/>
                      <a:pt x="43" y="28"/>
                      <a:pt x="60" y="17"/>
                    </a:cubicBezTo>
                    <a:cubicBezTo>
                      <a:pt x="77" y="7"/>
                      <a:pt x="96" y="0"/>
                      <a:pt x="113" y="0"/>
                    </a:cubicBezTo>
                    <a:cubicBezTo>
                      <a:pt x="152" y="1"/>
                      <a:pt x="182" y="15"/>
                      <a:pt x="198" y="37"/>
                    </a:cubicBezTo>
                    <a:cubicBezTo>
                      <a:pt x="214" y="61"/>
                      <a:pt x="224" y="90"/>
                      <a:pt x="226" y="123"/>
                    </a:cubicBezTo>
                    <a:lnTo>
                      <a:pt x="157" y="12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2" name="Rectangle 10">
                <a:extLst>
                  <a:ext uri="{FF2B5EF4-FFF2-40B4-BE49-F238E27FC236}">
                    <a16:creationId xmlns:a16="http://schemas.microsoft.com/office/drawing/2014/main" id="{74E79E91-2D38-497A-82BD-D6F94BFFACE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7359210" y="9735603"/>
                <a:ext cx="78074" cy="34332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3" name="Freeform 11">
                <a:extLst>
                  <a:ext uri="{FF2B5EF4-FFF2-40B4-BE49-F238E27FC236}">
                    <a16:creationId xmlns:a16="http://schemas.microsoft.com/office/drawing/2014/main" id="{BE257014-7354-4207-9716-24DA20B6D6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092245" y="9735603"/>
                <a:ext cx="224149" cy="343321"/>
              </a:xfrm>
              <a:custGeom>
                <a:avLst/>
                <a:gdLst>
                  <a:gd name="T0" fmla="*/ 0 w 386"/>
                  <a:gd name="T1" fmla="*/ 0 h 551"/>
                  <a:gd name="T2" fmla="*/ 301231077 w 386"/>
                  <a:gd name="T3" fmla="*/ 0 h 551"/>
                  <a:gd name="T4" fmla="*/ 655619642 w 386"/>
                  <a:gd name="T5" fmla="*/ 766144469 h 551"/>
                  <a:gd name="T6" fmla="*/ 655619642 w 386"/>
                  <a:gd name="T7" fmla="*/ 462198153 h 551"/>
                  <a:gd name="T8" fmla="*/ 655619642 w 386"/>
                  <a:gd name="T9" fmla="*/ 0 h 551"/>
                  <a:gd name="T10" fmla="*/ 977099900 w 386"/>
                  <a:gd name="T11" fmla="*/ 0 h 551"/>
                  <a:gd name="T12" fmla="*/ 977099900 w 386"/>
                  <a:gd name="T13" fmla="*/ 1384083304 h 551"/>
                  <a:gd name="T14" fmla="*/ 660682336 w 386"/>
                  <a:gd name="T15" fmla="*/ 1384083304 h 551"/>
                  <a:gd name="T16" fmla="*/ 313887015 w 386"/>
                  <a:gd name="T17" fmla="*/ 638034407 h 551"/>
                  <a:gd name="T18" fmla="*/ 313887015 w 386"/>
                  <a:gd name="T19" fmla="*/ 959563557 h 551"/>
                  <a:gd name="T20" fmla="*/ 313887015 w 386"/>
                  <a:gd name="T21" fmla="*/ 1384083304 h 551"/>
                  <a:gd name="T22" fmla="*/ 0 w 386"/>
                  <a:gd name="T23" fmla="*/ 1384083304 h 551"/>
                  <a:gd name="T24" fmla="*/ 0 w 386"/>
                  <a:gd name="T25" fmla="*/ 0 h 55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86" h="551">
                    <a:moveTo>
                      <a:pt x="0" y="0"/>
                    </a:moveTo>
                    <a:lnTo>
                      <a:pt x="119" y="0"/>
                    </a:lnTo>
                    <a:lnTo>
                      <a:pt x="259" y="305"/>
                    </a:lnTo>
                    <a:lnTo>
                      <a:pt x="259" y="184"/>
                    </a:lnTo>
                    <a:lnTo>
                      <a:pt x="259" y="0"/>
                    </a:lnTo>
                    <a:lnTo>
                      <a:pt x="386" y="0"/>
                    </a:lnTo>
                    <a:lnTo>
                      <a:pt x="386" y="551"/>
                    </a:lnTo>
                    <a:lnTo>
                      <a:pt x="261" y="551"/>
                    </a:lnTo>
                    <a:lnTo>
                      <a:pt x="124" y="254"/>
                    </a:lnTo>
                    <a:lnTo>
                      <a:pt x="124" y="382"/>
                    </a:lnTo>
                    <a:lnTo>
                      <a:pt x="124" y="551"/>
                    </a:lnTo>
                    <a:lnTo>
                      <a:pt x="0" y="55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4" name="Rectangle 12">
                <a:extLst>
                  <a:ext uri="{FF2B5EF4-FFF2-40B4-BE49-F238E27FC236}">
                    <a16:creationId xmlns:a16="http://schemas.microsoft.com/office/drawing/2014/main" id="{7DFB285E-AA7F-4448-B778-82B2E8FEB9F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7701730" y="9869118"/>
                <a:ext cx="70519" cy="76293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5" name="Rectangle 13">
                <a:extLst>
                  <a:ext uri="{FF2B5EF4-FFF2-40B4-BE49-F238E27FC236}">
                    <a16:creationId xmlns:a16="http://schemas.microsoft.com/office/drawing/2014/main" id="{0DC60978-90B0-4628-966B-EBDEE23E0BD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7437283" y="9869118"/>
                <a:ext cx="68001" cy="76293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6" name="Rectangle 14">
                <a:extLst>
                  <a:ext uri="{FF2B5EF4-FFF2-40B4-BE49-F238E27FC236}">
                    <a16:creationId xmlns:a16="http://schemas.microsoft.com/office/drawing/2014/main" id="{8B9EEC1C-2BA0-4D80-BC1D-BD4B152EBBE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7291209" y="9869118"/>
                <a:ext cx="68001" cy="76293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</p:grp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5FDA843-E23B-43EB-AC0D-0EE8D898A1DF}"/>
              </a:ext>
            </a:extLst>
          </p:cNvPr>
          <p:cNvGrpSpPr/>
          <p:nvPr/>
        </p:nvGrpSpPr>
        <p:grpSpPr>
          <a:xfrm>
            <a:off x="7935453" y="3524250"/>
            <a:ext cx="3199272" cy="2803715"/>
            <a:chOff x="5032543" y="809464"/>
            <a:chExt cx="6559677" cy="5748641"/>
          </a:xfrm>
        </p:grpSpPr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39FBA752-4976-47A3-B787-00EE5B69C097}"/>
                </a:ext>
              </a:extLst>
            </p:cNvPr>
            <p:cNvSpPr/>
            <p:nvPr/>
          </p:nvSpPr>
          <p:spPr>
            <a:xfrm>
              <a:off x="5445452" y="824228"/>
              <a:ext cx="1198054" cy="1198054"/>
            </a:xfrm>
            <a:custGeom>
              <a:avLst/>
              <a:gdLst>
                <a:gd name="connsiteX0" fmla="*/ 0 w 1198054"/>
                <a:gd name="connsiteY0" fmla="*/ 0 h 1198054"/>
                <a:gd name="connsiteX1" fmla="*/ 1198055 w 1198054"/>
                <a:gd name="connsiteY1" fmla="*/ 0 h 1198054"/>
                <a:gd name="connsiteX2" fmla="*/ 1198055 w 1198054"/>
                <a:gd name="connsiteY2" fmla="*/ 1198055 h 1198054"/>
                <a:gd name="connsiteX3" fmla="*/ 0 w 1198054"/>
                <a:gd name="connsiteY3" fmla="*/ 1198055 h 1198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8054" h="1198054">
                  <a:moveTo>
                    <a:pt x="0" y="0"/>
                  </a:moveTo>
                  <a:lnTo>
                    <a:pt x="1198055" y="0"/>
                  </a:lnTo>
                  <a:lnTo>
                    <a:pt x="1198055" y="1198055"/>
                  </a:lnTo>
                  <a:lnTo>
                    <a:pt x="0" y="1198055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B203560F-BB21-4A9D-9B97-F3C3C8A55BC0}"/>
                </a:ext>
              </a:extLst>
            </p:cNvPr>
            <p:cNvSpPr/>
            <p:nvPr/>
          </p:nvSpPr>
          <p:spPr>
            <a:xfrm>
              <a:off x="7628582" y="824228"/>
              <a:ext cx="1198054" cy="1198054"/>
            </a:xfrm>
            <a:custGeom>
              <a:avLst/>
              <a:gdLst>
                <a:gd name="connsiteX0" fmla="*/ 0 w 1198054"/>
                <a:gd name="connsiteY0" fmla="*/ 0 h 1198054"/>
                <a:gd name="connsiteX1" fmla="*/ 1198054 w 1198054"/>
                <a:gd name="connsiteY1" fmla="*/ 0 h 1198054"/>
                <a:gd name="connsiteX2" fmla="*/ 1198054 w 1198054"/>
                <a:gd name="connsiteY2" fmla="*/ 1198055 h 1198054"/>
                <a:gd name="connsiteX3" fmla="*/ 0 w 1198054"/>
                <a:gd name="connsiteY3" fmla="*/ 1198055 h 1198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8054" h="1198054">
                  <a:moveTo>
                    <a:pt x="0" y="0"/>
                  </a:moveTo>
                  <a:lnTo>
                    <a:pt x="1198054" y="0"/>
                  </a:lnTo>
                  <a:lnTo>
                    <a:pt x="1198054" y="1198055"/>
                  </a:lnTo>
                  <a:lnTo>
                    <a:pt x="0" y="1198055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934CDF49-213C-4DB1-913C-B8349BD1BC6E}"/>
                </a:ext>
              </a:extLst>
            </p:cNvPr>
            <p:cNvGrpSpPr/>
            <p:nvPr userDrawn="1"/>
          </p:nvGrpSpPr>
          <p:grpSpPr>
            <a:xfrm>
              <a:off x="5032543" y="809464"/>
              <a:ext cx="6559677" cy="5748641"/>
              <a:chOff x="5032543" y="809464"/>
              <a:chExt cx="6559677" cy="5748641"/>
            </a:xfrm>
            <a:gradFill>
              <a:gsLst>
                <a:gs pos="49580">
                  <a:schemeClr val="accent1"/>
                </a:gs>
                <a:gs pos="0">
                  <a:schemeClr val="accent2"/>
                </a:gs>
                <a:gs pos="96460">
                  <a:schemeClr val="accent6"/>
                </a:gs>
              </a:gsLst>
              <a:lin ang="5400000" scaled="1"/>
            </a:gradFill>
          </p:grpSpPr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0E02D17A-A0A2-4354-839F-346E6A786E82}"/>
                  </a:ext>
                </a:extLst>
              </p:cNvPr>
              <p:cNvSpPr/>
              <p:nvPr/>
            </p:nvSpPr>
            <p:spPr>
              <a:xfrm>
                <a:off x="5032543" y="809464"/>
                <a:ext cx="6559677" cy="5748641"/>
              </a:xfrm>
              <a:custGeom>
                <a:avLst/>
                <a:gdLst>
                  <a:gd name="connsiteX0" fmla="*/ -128 w 6559677"/>
                  <a:gd name="connsiteY0" fmla="*/ 5433625 h 5748641"/>
                  <a:gd name="connsiteX1" fmla="*/ 892651 w 6559677"/>
                  <a:gd name="connsiteY1" fmla="*/ 5677655 h 5748641"/>
                  <a:gd name="connsiteX2" fmla="*/ 1367377 w 6559677"/>
                  <a:gd name="connsiteY2" fmla="*/ 5735758 h 5748641"/>
                  <a:gd name="connsiteX3" fmla="*/ 1853152 w 6559677"/>
                  <a:gd name="connsiteY3" fmla="*/ 5746616 h 5748641"/>
                  <a:gd name="connsiteX4" fmla="*/ 3781583 w 6559677"/>
                  <a:gd name="connsiteY4" fmla="*/ 5289416 h 5748641"/>
                  <a:gd name="connsiteX5" fmla="*/ 4638833 w 6559677"/>
                  <a:gd name="connsiteY5" fmla="*/ 4769827 h 5748641"/>
                  <a:gd name="connsiteX6" fmla="*/ 5920803 w 6559677"/>
                  <a:gd name="connsiteY6" fmla="*/ 3309931 h 5748641"/>
                  <a:gd name="connsiteX7" fmla="*/ 6299708 w 6559677"/>
                  <a:gd name="connsiteY7" fmla="*/ 2466682 h 5748641"/>
                  <a:gd name="connsiteX8" fmla="*/ 6458394 w 6559677"/>
                  <a:gd name="connsiteY8" fmla="*/ 1879180 h 5748641"/>
                  <a:gd name="connsiteX9" fmla="*/ 6542310 w 6559677"/>
                  <a:gd name="connsiteY9" fmla="*/ 1276819 h 5748641"/>
                  <a:gd name="connsiteX10" fmla="*/ 6551263 w 6559677"/>
                  <a:gd name="connsiteY10" fmla="*/ 1124991 h 5748641"/>
                  <a:gd name="connsiteX11" fmla="*/ 6554406 w 6559677"/>
                  <a:gd name="connsiteY11" fmla="*/ 1048791 h 5748641"/>
                  <a:gd name="connsiteX12" fmla="*/ 6555835 w 6559677"/>
                  <a:gd name="connsiteY12" fmla="*/ 972591 h 5748641"/>
                  <a:gd name="connsiteX13" fmla="*/ 6556406 w 6559677"/>
                  <a:gd name="connsiteY13" fmla="*/ 934491 h 5748641"/>
                  <a:gd name="connsiteX14" fmla="*/ 6556406 w 6559677"/>
                  <a:gd name="connsiteY14" fmla="*/ 898582 h 5748641"/>
                  <a:gd name="connsiteX15" fmla="*/ 6556406 w 6559677"/>
                  <a:gd name="connsiteY15" fmla="*/ 830192 h 5748641"/>
                  <a:gd name="connsiteX16" fmla="*/ 6556978 w 6559677"/>
                  <a:gd name="connsiteY16" fmla="*/ 693318 h 5748641"/>
                  <a:gd name="connsiteX17" fmla="*/ 6559550 w 6559677"/>
                  <a:gd name="connsiteY17" fmla="*/ 145916 h 5748641"/>
                  <a:gd name="connsiteX18" fmla="*/ 6530213 w 6559677"/>
                  <a:gd name="connsiteY18" fmla="*/ -293 h 5748641"/>
                  <a:gd name="connsiteX19" fmla="*/ 6500781 w 6559677"/>
                  <a:gd name="connsiteY19" fmla="*/ 145916 h 5748641"/>
                  <a:gd name="connsiteX20" fmla="*/ 6503447 w 6559677"/>
                  <a:gd name="connsiteY20" fmla="*/ 693318 h 5748641"/>
                  <a:gd name="connsiteX21" fmla="*/ 6504019 w 6559677"/>
                  <a:gd name="connsiteY21" fmla="*/ 830192 h 5748641"/>
                  <a:gd name="connsiteX22" fmla="*/ 6504019 w 6559677"/>
                  <a:gd name="connsiteY22" fmla="*/ 898582 h 5748641"/>
                  <a:gd name="connsiteX23" fmla="*/ 6504019 w 6559677"/>
                  <a:gd name="connsiteY23" fmla="*/ 935062 h 5748641"/>
                  <a:gd name="connsiteX24" fmla="*/ 6504019 w 6559677"/>
                  <a:gd name="connsiteY24" fmla="*/ 972686 h 5748641"/>
                  <a:gd name="connsiteX25" fmla="*/ 6503162 w 6559677"/>
                  <a:gd name="connsiteY25" fmla="*/ 1047838 h 5748641"/>
                  <a:gd name="connsiteX26" fmla="*/ 6500590 w 6559677"/>
                  <a:gd name="connsiteY26" fmla="*/ 1122991 h 5748641"/>
                  <a:gd name="connsiteX27" fmla="*/ 6492589 w 6559677"/>
                  <a:gd name="connsiteY27" fmla="*/ 1273295 h 5748641"/>
                  <a:gd name="connsiteX28" fmla="*/ 6258846 w 6559677"/>
                  <a:gd name="connsiteY28" fmla="*/ 2453157 h 5748641"/>
                  <a:gd name="connsiteX29" fmla="*/ 148653 w 6559677"/>
                  <a:gd name="connsiteY29" fmla="*/ 5483402 h 5748641"/>
                  <a:gd name="connsiteX30" fmla="*/ 730 w 6559677"/>
                  <a:gd name="connsiteY30" fmla="*/ 5430862 h 5748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6559677" h="5748641">
                    <a:moveTo>
                      <a:pt x="-128" y="5433625"/>
                    </a:moveTo>
                    <a:cubicBezTo>
                      <a:pt x="288956" y="5543400"/>
                      <a:pt x="587927" y="5625115"/>
                      <a:pt x="892651" y="5677655"/>
                    </a:cubicBezTo>
                    <a:cubicBezTo>
                      <a:pt x="1048385" y="5704516"/>
                      <a:pt x="1206976" y="5724042"/>
                      <a:pt x="1367377" y="5735758"/>
                    </a:cubicBezTo>
                    <a:cubicBezTo>
                      <a:pt x="1527778" y="5747473"/>
                      <a:pt x="1689893" y="5750808"/>
                      <a:pt x="1853152" y="5746616"/>
                    </a:cubicBezTo>
                    <a:cubicBezTo>
                      <a:pt x="2520683" y="5729405"/>
                      <a:pt x="3177365" y="5573709"/>
                      <a:pt x="3781583" y="5289416"/>
                    </a:cubicBezTo>
                    <a:cubicBezTo>
                      <a:pt x="4084688" y="5146627"/>
                      <a:pt x="4372010" y="4972481"/>
                      <a:pt x="4638833" y="4769827"/>
                    </a:cubicBezTo>
                    <a:cubicBezTo>
                      <a:pt x="5160422" y="4374826"/>
                      <a:pt x="5596524" y="3878192"/>
                      <a:pt x="5920803" y="3309931"/>
                    </a:cubicBezTo>
                    <a:cubicBezTo>
                      <a:pt x="6073823" y="3041630"/>
                      <a:pt x="6200705" y="2759252"/>
                      <a:pt x="6299708" y="2466682"/>
                    </a:cubicBezTo>
                    <a:cubicBezTo>
                      <a:pt x="6364707" y="2274325"/>
                      <a:pt x="6417703" y="2078110"/>
                      <a:pt x="6458394" y="1879180"/>
                    </a:cubicBezTo>
                    <a:cubicBezTo>
                      <a:pt x="6498704" y="1680308"/>
                      <a:pt x="6526736" y="1479140"/>
                      <a:pt x="6542310" y="1276819"/>
                    </a:cubicBezTo>
                    <a:cubicBezTo>
                      <a:pt x="6545358" y="1226242"/>
                      <a:pt x="6549739" y="1175664"/>
                      <a:pt x="6551263" y="1124991"/>
                    </a:cubicBezTo>
                    <a:lnTo>
                      <a:pt x="6554406" y="1048791"/>
                    </a:lnTo>
                    <a:lnTo>
                      <a:pt x="6555835" y="972591"/>
                    </a:lnTo>
                    <a:lnTo>
                      <a:pt x="6556406" y="934491"/>
                    </a:lnTo>
                    <a:lnTo>
                      <a:pt x="6556406" y="898582"/>
                    </a:lnTo>
                    <a:lnTo>
                      <a:pt x="6556406" y="830192"/>
                    </a:lnTo>
                    <a:lnTo>
                      <a:pt x="6556978" y="693318"/>
                    </a:lnTo>
                    <a:lnTo>
                      <a:pt x="6559550" y="145916"/>
                    </a:lnTo>
                    <a:cubicBezTo>
                      <a:pt x="6559550" y="66001"/>
                      <a:pt x="6542024" y="-293"/>
                      <a:pt x="6530213" y="-293"/>
                    </a:cubicBezTo>
                    <a:cubicBezTo>
                      <a:pt x="6518402" y="-293"/>
                      <a:pt x="6500399" y="66382"/>
                      <a:pt x="6500781" y="145916"/>
                    </a:cubicBezTo>
                    <a:lnTo>
                      <a:pt x="6503447" y="693318"/>
                    </a:lnTo>
                    <a:lnTo>
                      <a:pt x="6504019" y="830192"/>
                    </a:lnTo>
                    <a:lnTo>
                      <a:pt x="6504019" y="898582"/>
                    </a:lnTo>
                    <a:lnTo>
                      <a:pt x="6504019" y="935062"/>
                    </a:lnTo>
                    <a:lnTo>
                      <a:pt x="6504019" y="972686"/>
                    </a:lnTo>
                    <a:lnTo>
                      <a:pt x="6503162" y="1047838"/>
                    </a:lnTo>
                    <a:lnTo>
                      <a:pt x="6500590" y="1122991"/>
                    </a:lnTo>
                    <a:cubicBezTo>
                      <a:pt x="6499447" y="1173187"/>
                      <a:pt x="6495351" y="1223194"/>
                      <a:pt x="6492589" y="1273295"/>
                    </a:cubicBezTo>
                    <a:cubicBezTo>
                      <a:pt x="6464691" y="1674860"/>
                      <a:pt x="6386156" y="2071290"/>
                      <a:pt x="6258846" y="2453157"/>
                    </a:cubicBezTo>
                    <a:cubicBezTo>
                      <a:pt x="5408339" y="4977215"/>
                      <a:pt x="2672711" y="6333909"/>
                      <a:pt x="148653" y="5483402"/>
                    </a:cubicBezTo>
                    <a:cubicBezTo>
                      <a:pt x="99066" y="5466696"/>
                      <a:pt x="49745" y="5449179"/>
                      <a:pt x="730" y="543086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C383526B-0B69-448D-9A11-5C72B4C2FA87}"/>
                  </a:ext>
                </a:extLst>
              </p:cNvPr>
              <p:cNvSpPr/>
              <p:nvPr/>
            </p:nvSpPr>
            <p:spPr>
              <a:xfrm>
                <a:off x="5360966" y="810130"/>
                <a:ext cx="5302662" cy="4820983"/>
              </a:xfrm>
              <a:custGeom>
                <a:avLst/>
                <a:gdLst>
                  <a:gd name="connsiteX0" fmla="*/ -128 w 5302662"/>
                  <a:gd name="connsiteY0" fmla="*/ 4564087 h 4820983"/>
                  <a:gd name="connsiteX1" fmla="*/ 4784756 w 5302662"/>
                  <a:gd name="connsiteY1" fmla="*/ 2850444 h 4820983"/>
                  <a:gd name="connsiteX2" fmla="*/ 5090985 w 5302662"/>
                  <a:gd name="connsiteY2" fmla="*/ 2169788 h 4820983"/>
                  <a:gd name="connsiteX3" fmla="*/ 5219573 w 5302662"/>
                  <a:gd name="connsiteY3" fmla="*/ 1695634 h 4820983"/>
                  <a:gd name="connsiteX4" fmla="*/ 5287771 w 5302662"/>
                  <a:gd name="connsiteY4" fmla="*/ 1208430 h 4820983"/>
                  <a:gd name="connsiteX5" fmla="*/ 5295106 w 5302662"/>
                  <a:gd name="connsiteY5" fmla="*/ 1085462 h 4820983"/>
                  <a:gd name="connsiteX6" fmla="*/ 5297678 w 5302662"/>
                  <a:gd name="connsiteY6" fmla="*/ 1023835 h 4820983"/>
                  <a:gd name="connsiteX7" fmla="*/ 5298821 w 5302662"/>
                  <a:gd name="connsiteY7" fmla="*/ 962209 h 4820983"/>
                  <a:gd name="connsiteX8" fmla="*/ 5299392 w 5302662"/>
                  <a:gd name="connsiteY8" fmla="*/ 931347 h 4820983"/>
                  <a:gd name="connsiteX9" fmla="*/ 5299392 w 5302662"/>
                  <a:gd name="connsiteY9" fmla="*/ 915727 h 4820983"/>
                  <a:gd name="connsiteX10" fmla="*/ 5299392 w 5302662"/>
                  <a:gd name="connsiteY10" fmla="*/ 898581 h 4820983"/>
                  <a:gd name="connsiteX11" fmla="*/ 5299392 w 5302662"/>
                  <a:gd name="connsiteY11" fmla="*/ 830192 h 4820983"/>
                  <a:gd name="connsiteX12" fmla="*/ 5299964 w 5302662"/>
                  <a:gd name="connsiteY12" fmla="*/ 693318 h 4820983"/>
                  <a:gd name="connsiteX13" fmla="*/ 5302536 w 5302662"/>
                  <a:gd name="connsiteY13" fmla="*/ 145916 h 4820983"/>
                  <a:gd name="connsiteX14" fmla="*/ 5273199 w 5302662"/>
                  <a:gd name="connsiteY14" fmla="*/ -293 h 4820983"/>
                  <a:gd name="connsiteX15" fmla="*/ 5243861 w 5302662"/>
                  <a:gd name="connsiteY15" fmla="*/ 145916 h 4820983"/>
                  <a:gd name="connsiteX16" fmla="*/ 5246433 w 5302662"/>
                  <a:gd name="connsiteY16" fmla="*/ 693318 h 4820983"/>
                  <a:gd name="connsiteX17" fmla="*/ 5247005 w 5302662"/>
                  <a:gd name="connsiteY17" fmla="*/ 830192 h 4820983"/>
                  <a:gd name="connsiteX18" fmla="*/ 5247005 w 5302662"/>
                  <a:gd name="connsiteY18" fmla="*/ 898581 h 4820983"/>
                  <a:gd name="connsiteX19" fmla="*/ 5247005 w 5302662"/>
                  <a:gd name="connsiteY19" fmla="*/ 931157 h 4820983"/>
                  <a:gd name="connsiteX20" fmla="*/ 5247005 w 5302662"/>
                  <a:gd name="connsiteY20" fmla="*/ 961637 h 4820983"/>
                  <a:gd name="connsiteX21" fmla="*/ 5246433 w 5302662"/>
                  <a:gd name="connsiteY21" fmla="*/ 1022502 h 4820983"/>
                  <a:gd name="connsiteX22" fmla="*/ 5244337 w 5302662"/>
                  <a:gd name="connsiteY22" fmla="*/ 1083367 h 4820983"/>
                  <a:gd name="connsiteX23" fmla="*/ 5238051 w 5302662"/>
                  <a:gd name="connsiteY23" fmla="*/ 1204905 h 4820983"/>
                  <a:gd name="connsiteX24" fmla="*/ 5050218 w 5302662"/>
                  <a:gd name="connsiteY24" fmla="*/ 2156167 h 4820983"/>
                  <a:gd name="connsiteX25" fmla="*/ 117573 w 5302662"/>
                  <a:gd name="connsiteY25" fmla="*/ 4603245 h 4820983"/>
                  <a:gd name="connsiteX26" fmla="*/ 444 w 5302662"/>
                  <a:gd name="connsiteY26" fmla="*/ 4561706 h 4820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302662" h="4820983">
                    <a:moveTo>
                      <a:pt x="-128" y="4564087"/>
                    </a:moveTo>
                    <a:cubicBezTo>
                      <a:pt x="1799202" y="5249601"/>
                      <a:pt x="3829723" y="4522396"/>
                      <a:pt x="4784756" y="2850444"/>
                    </a:cubicBezTo>
                    <a:cubicBezTo>
                      <a:pt x="4908505" y="2633951"/>
                      <a:pt x="5011061" y="2406008"/>
                      <a:pt x="5090985" y="2169788"/>
                    </a:cubicBezTo>
                    <a:cubicBezTo>
                      <a:pt x="5143592" y="2014540"/>
                      <a:pt x="5186531" y="1856187"/>
                      <a:pt x="5219573" y="1695634"/>
                    </a:cubicBezTo>
                    <a:cubicBezTo>
                      <a:pt x="5252263" y="1534785"/>
                      <a:pt x="5275037" y="1372079"/>
                      <a:pt x="5287771" y="1208430"/>
                    </a:cubicBezTo>
                    <a:cubicBezTo>
                      <a:pt x="5290153" y="1167472"/>
                      <a:pt x="5293963" y="1126515"/>
                      <a:pt x="5295106" y="1085462"/>
                    </a:cubicBezTo>
                    <a:lnTo>
                      <a:pt x="5297678" y="1023835"/>
                    </a:lnTo>
                    <a:lnTo>
                      <a:pt x="5298821" y="962209"/>
                    </a:lnTo>
                    <a:lnTo>
                      <a:pt x="5299392" y="931347"/>
                    </a:lnTo>
                    <a:lnTo>
                      <a:pt x="5299392" y="915727"/>
                    </a:lnTo>
                    <a:lnTo>
                      <a:pt x="5299392" y="898581"/>
                    </a:lnTo>
                    <a:lnTo>
                      <a:pt x="5299392" y="830192"/>
                    </a:lnTo>
                    <a:lnTo>
                      <a:pt x="5299964" y="693318"/>
                    </a:lnTo>
                    <a:lnTo>
                      <a:pt x="5302536" y="145916"/>
                    </a:lnTo>
                    <a:cubicBezTo>
                      <a:pt x="5302536" y="66001"/>
                      <a:pt x="5285009" y="-293"/>
                      <a:pt x="5273199" y="-293"/>
                    </a:cubicBezTo>
                    <a:cubicBezTo>
                      <a:pt x="5261388" y="-293"/>
                      <a:pt x="5243385" y="66382"/>
                      <a:pt x="5243861" y="145916"/>
                    </a:cubicBezTo>
                    <a:lnTo>
                      <a:pt x="5246433" y="693318"/>
                    </a:lnTo>
                    <a:lnTo>
                      <a:pt x="5247005" y="830192"/>
                    </a:lnTo>
                    <a:lnTo>
                      <a:pt x="5247005" y="898581"/>
                    </a:lnTo>
                    <a:lnTo>
                      <a:pt x="5247005" y="931157"/>
                    </a:lnTo>
                    <a:lnTo>
                      <a:pt x="5247005" y="961637"/>
                    </a:lnTo>
                    <a:lnTo>
                      <a:pt x="5246433" y="1022502"/>
                    </a:lnTo>
                    <a:lnTo>
                      <a:pt x="5244337" y="1083367"/>
                    </a:lnTo>
                    <a:cubicBezTo>
                      <a:pt x="5243481" y="1123943"/>
                      <a:pt x="5240052" y="1164329"/>
                      <a:pt x="5238051" y="1204905"/>
                    </a:cubicBezTo>
                    <a:cubicBezTo>
                      <a:pt x="5215725" y="1528632"/>
                      <a:pt x="5152612" y="1848252"/>
                      <a:pt x="5050218" y="2156167"/>
                    </a:cubicBezTo>
                    <a:cubicBezTo>
                      <a:pt x="4363846" y="4194022"/>
                      <a:pt x="2155428" y="5289616"/>
                      <a:pt x="117573" y="4603245"/>
                    </a:cubicBezTo>
                    <a:cubicBezTo>
                      <a:pt x="78311" y="4590024"/>
                      <a:pt x="39258" y="4576175"/>
                      <a:pt x="444" y="456170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19650CA1-40C6-47CE-8B5B-26FC271724AB}"/>
                  </a:ext>
                </a:extLst>
              </p:cNvPr>
              <p:cNvSpPr/>
              <p:nvPr/>
            </p:nvSpPr>
            <p:spPr>
              <a:xfrm>
                <a:off x="5324199" y="810130"/>
                <a:ext cx="5441917" cy="4922572"/>
              </a:xfrm>
              <a:custGeom>
                <a:avLst/>
                <a:gdLst>
                  <a:gd name="connsiteX0" fmla="*/ -128 w 5441917"/>
                  <a:gd name="connsiteY0" fmla="*/ 4660671 h 4922572"/>
                  <a:gd name="connsiteX1" fmla="*/ 739013 w 5441917"/>
                  <a:gd name="connsiteY1" fmla="*/ 4863077 h 4922572"/>
                  <a:gd name="connsiteX2" fmla="*/ 1132776 w 5441917"/>
                  <a:gd name="connsiteY2" fmla="*/ 4911464 h 4922572"/>
                  <a:gd name="connsiteX3" fmla="*/ 1536731 w 5441917"/>
                  <a:gd name="connsiteY3" fmla="*/ 4920989 h 4922572"/>
                  <a:gd name="connsiteX4" fmla="*/ 5225574 w 5441917"/>
                  <a:gd name="connsiteY4" fmla="*/ 2202744 h 4922572"/>
                  <a:gd name="connsiteX5" fmla="*/ 5357399 w 5441917"/>
                  <a:gd name="connsiteY5" fmla="*/ 1716017 h 4922572"/>
                  <a:gd name="connsiteX6" fmla="*/ 5427218 w 5441917"/>
                  <a:gd name="connsiteY6" fmla="*/ 1215954 h 4922572"/>
                  <a:gd name="connsiteX7" fmla="*/ 5434838 w 5441917"/>
                  <a:gd name="connsiteY7" fmla="*/ 1089748 h 4922572"/>
                  <a:gd name="connsiteX8" fmla="*/ 5437505 w 5441917"/>
                  <a:gd name="connsiteY8" fmla="*/ 1026597 h 4922572"/>
                  <a:gd name="connsiteX9" fmla="*/ 5438648 w 5441917"/>
                  <a:gd name="connsiteY9" fmla="*/ 963352 h 4922572"/>
                  <a:gd name="connsiteX10" fmla="*/ 5439124 w 5441917"/>
                  <a:gd name="connsiteY10" fmla="*/ 931728 h 4922572"/>
                  <a:gd name="connsiteX11" fmla="*/ 5439124 w 5441917"/>
                  <a:gd name="connsiteY11" fmla="*/ 915727 h 4922572"/>
                  <a:gd name="connsiteX12" fmla="*/ 5439124 w 5441917"/>
                  <a:gd name="connsiteY12" fmla="*/ 898581 h 4922572"/>
                  <a:gd name="connsiteX13" fmla="*/ 5439124 w 5441917"/>
                  <a:gd name="connsiteY13" fmla="*/ 830192 h 4922572"/>
                  <a:gd name="connsiteX14" fmla="*/ 5439124 w 5441917"/>
                  <a:gd name="connsiteY14" fmla="*/ 693318 h 4922572"/>
                  <a:gd name="connsiteX15" fmla="*/ 5441791 w 5441917"/>
                  <a:gd name="connsiteY15" fmla="*/ 145916 h 4922572"/>
                  <a:gd name="connsiteX16" fmla="*/ 5412359 w 5441917"/>
                  <a:gd name="connsiteY16" fmla="*/ -293 h 4922572"/>
                  <a:gd name="connsiteX17" fmla="*/ 5383022 w 5441917"/>
                  <a:gd name="connsiteY17" fmla="*/ 145916 h 4922572"/>
                  <a:gd name="connsiteX18" fmla="*/ 5385594 w 5441917"/>
                  <a:gd name="connsiteY18" fmla="*/ 693318 h 4922572"/>
                  <a:gd name="connsiteX19" fmla="*/ 5386165 w 5441917"/>
                  <a:gd name="connsiteY19" fmla="*/ 830192 h 4922572"/>
                  <a:gd name="connsiteX20" fmla="*/ 5386165 w 5441917"/>
                  <a:gd name="connsiteY20" fmla="*/ 898581 h 4922572"/>
                  <a:gd name="connsiteX21" fmla="*/ 5386165 w 5441917"/>
                  <a:gd name="connsiteY21" fmla="*/ 915345 h 4922572"/>
                  <a:gd name="connsiteX22" fmla="*/ 5386165 w 5441917"/>
                  <a:gd name="connsiteY22" fmla="*/ 931157 h 4922572"/>
                  <a:gd name="connsiteX23" fmla="*/ 5386165 w 5441917"/>
                  <a:gd name="connsiteY23" fmla="*/ 962399 h 4922572"/>
                  <a:gd name="connsiteX24" fmla="*/ 5385498 w 5441917"/>
                  <a:gd name="connsiteY24" fmla="*/ 1024883 h 4922572"/>
                  <a:gd name="connsiteX25" fmla="*/ 5383308 w 5441917"/>
                  <a:gd name="connsiteY25" fmla="*/ 1087272 h 4922572"/>
                  <a:gd name="connsiteX26" fmla="*/ 5376831 w 5441917"/>
                  <a:gd name="connsiteY26" fmla="*/ 1212049 h 4922572"/>
                  <a:gd name="connsiteX27" fmla="*/ 5183949 w 5441917"/>
                  <a:gd name="connsiteY27" fmla="*/ 2188743 h 4922572"/>
                  <a:gd name="connsiteX28" fmla="*/ 119468 w 5441917"/>
                  <a:gd name="connsiteY28" fmla="*/ 4700771 h 4922572"/>
                  <a:gd name="connsiteX29" fmla="*/ 730 w 5441917"/>
                  <a:gd name="connsiteY29" fmla="*/ 4658671 h 4922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5441917" h="4922572">
                    <a:moveTo>
                      <a:pt x="-128" y="4660671"/>
                    </a:moveTo>
                    <a:cubicBezTo>
                      <a:pt x="239217" y="4751616"/>
                      <a:pt x="486724" y="4819396"/>
                      <a:pt x="739013" y="4863077"/>
                    </a:cubicBezTo>
                    <a:cubicBezTo>
                      <a:pt x="868076" y="4885366"/>
                      <a:pt x="999617" y="4901177"/>
                      <a:pt x="1132776" y="4911464"/>
                    </a:cubicBezTo>
                    <a:cubicBezTo>
                      <a:pt x="1265936" y="4921751"/>
                      <a:pt x="1401095" y="4924132"/>
                      <a:pt x="1536731" y="4920989"/>
                    </a:cubicBezTo>
                    <a:cubicBezTo>
                      <a:pt x="3214379" y="4877155"/>
                      <a:pt x="4686830" y="3792134"/>
                      <a:pt x="5225574" y="2202744"/>
                    </a:cubicBezTo>
                    <a:cubicBezTo>
                      <a:pt x="5279533" y="2043382"/>
                      <a:pt x="5323557" y="1880828"/>
                      <a:pt x="5357399" y="1716017"/>
                    </a:cubicBezTo>
                    <a:cubicBezTo>
                      <a:pt x="5390861" y="1550911"/>
                      <a:pt x="5414178" y="1383909"/>
                      <a:pt x="5427218" y="1215954"/>
                    </a:cubicBezTo>
                    <a:cubicBezTo>
                      <a:pt x="5429694" y="1173949"/>
                      <a:pt x="5433599" y="1131944"/>
                      <a:pt x="5434838" y="1089748"/>
                    </a:cubicBezTo>
                    <a:lnTo>
                      <a:pt x="5437505" y="1026597"/>
                    </a:lnTo>
                    <a:lnTo>
                      <a:pt x="5438648" y="963352"/>
                    </a:lnTo>
                    <a:lnTo>
                      <a:pt x="5439124" y="931728"/>
                    </a:lnTo>
                    <a:lnTo>
                      <a:pt x="5439124" y="915727"/>
                    </a:lnTo>
                    <a:lnTo>
                      <a:pt x="5439124" y="898581"/>
                    </a:lnTo>
                    <a:lnTo>
                      <a:pt x="5439124" y="830192"/>
                    </a:lnTo>
                    <a:lnTo>
                      <a:pt x="5439124" y="693318"/>
                    </a:lnTo>
                    <a:lnTo>
                      <a:pt x="5441791" y="145916"/>
                    </a:lnTo>
                    <a:cubicBezTo>
                      <a:pt x="5441791" y="66001"/>
                      <a:pt x="5424170" y="-293"/>
                      <a:pt x="5412359" y="-293"/>
                    </a:cubicBezTo>
                    <a:cubicBezTo>
                      <a:pt x="5400548" y="-293"/>
                      <a:pt x="5382545" y="66382"/>
                      <a:pt x="5383022" y="145916"/>
                    </a:cubicBezTo>
                    <a:lnTo>
                      <a:pt x="5385594" y="693318"/>
                    </a:lnTo>
                    <a:lnTo>
                      <a:pt x="5386165" y="830192"/>
                    </a:lnTo>
                    <a:lnTo>
                      <a:pt x="5386165" y="898581"/>
                    </a:lnTo>
                    <a:lnTo>
                      <a:pt x="5386165" y="915345"/>
                    </a:lnTo>
                    <a:lnTo>
                      <a:pt x="5386165" y="931157"/>
                    </a:lnTo>
                    <a:lnTo>
                      <a:pt x="5386165" y="962399"/>
                    </a:lnTo>
                    <a:lnTo>
                      <a:pt x="5385498" y="1024883"/>
                    </a:lnTo>
                    <a:lnTo>
                      <a:pt x="5383308" y="1087272"/>
                    </a:lnTo>
                    <a:cubicBezTo>
                      <a:pt x="5382545" y="1128991"/>
                      <a:pt x="5379021" y="1170425"/>
                      <a:pt x="5376831" y="1212049"/>
                    </a:cubicBezTo>
                    <a:cubicBezTo>
                      <a:pt x="5353904" y="1544434"/>
                      <a:pt x="5289096" y="1872598"/>
                      <a:pt x="5183949" y="2188743"/>
                    </a:cubicBezTo>
                    <a:cubicBezTo>
                      <a:pt x="4479109" y="4280938"/>
                      <a:pt x="2211663" y="5405612"/>
                      <a:pt x="119468" y="4700771"/>
                    </a:cubicBezTo>
                    <a:cubicBezTo>
                      <a:pt x="79673" y="4687360"/>
                      <a:pt x="40087" y="4673330"/>
                      <a:pt x="730" y="465867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E06D3847-27FB-422F-BB85-DA4E747E79CE}"/>
                  </a:ext>
                </a:extLst>
              </p:cNvPr>
              <p:cNvSpPr/>
              <p:nvPr/>
            </p:nvSpPr>
            <p:spPr>
              <a:xfrm>
                <a:off x="5287718" y="810130"/>
                <a:ext cx="5581754" cy="5025616"/>
              </a:xfrm>
              <a:custGeom>
                <a:avLst/>
                <a:gdLst>
                  <a:gd name="connsiteX0" fmla="*/ -128 w 5581754"/>
                  <a:gd name="connsiteY0" fmla="*/ 4757159 h 5025616"/>
                  <a:gd name="connsiteX1" fmla="*/ 758253 w 5581754"/>
                  <a:gd name="connsiteY1" fmla="*/ 4964804 h 5025616"/>
                  <a:gd name="connsiteX2" fmla="*/ 1162113 w 5581754"/>
                  <a:gd name="connsiteY2" fmla="*/ 5014429 h 5025616"/>
                  <a:gd name="connsiteX3" fmla="*/ 1576260 w 5581754"/>
                  <a:gd name="connsiteY3" fmla="*/ 5023954 h 5025616"/>
                  <a:gd name="connsiteX4" fmla="*/ 5359495 w 5581754"/>
                  <a:gd name="connsiteY4" fmla="*/ 2235606 h 5025616"/>
                  <a:gd name="connsiteX5" fmla="*/ 5494655 w 5581754"/>
                  <a:gd name="connsiteY5" fmla="*/ 1736305 h 5025616"/>
                  <a:gd name="connsiteX6" fmla="*/ 5566283 w 5581754"/>
                  <a:gd name="connsiteY6" fmla="*/ 1223479 h 5025616"/>
                  <a:gd name="connsiteX7" fmla="*/ 5573998 w 5581754"/>
                  <a:gd name="connsiteY7" fmla="*/ 1094130 h 5025616"/>
                  <a:gd name="connsiteX8" fmla="*/ 5576760 w 5581754"/>
                  <a:gd name="connsiteY8" fmla="*/ 1029360 h 5025616"/>
                  <a:gd name="connsiteX9" fmla="*/ 5577903 w 5581754"/>
                  <a:gd name="connsiteY9" fmla="*/ 964494 h 5025616"/>
                  <a:gd name="connsiteX10" fmla="*/ 5578475 w 5581754"/>
                  <a:gd name="connsiteY10" fmla="*/ 932014 h 5025616"/>
                  <a:gd name="connsiteX11" fmla="*/ 5578475 w 5581754"/>
                  <a:gd name="connsiteY11" fmla="*/ 915727 h 5025616"/>
                  <a:gd name="connsiteX12" fmla="*/ 5578475 w 5581754"/>
                  <a:gd name="connsiteY12" fmla="*/ 898581 h 5025616"/>
                  <a:gd name="connsiteX13" fmla="*/ 5578475 w 5581754"/>
                  <a:gd name="connsiteY13" fmla="*/ 830192 h 5025616"/>
                  <a:gd name="connsiteX14" fmla="*/ 5579046 w 5581754"/>
                  <a:gd name="connsiteY14" fmla="*/ 693318 h 5025616"/>
                  <a:gd name="connsiteX15" fmla="*/ 5581618 w 5581754"/>
                  <a:gd name="connsiteY15" fmla="*/ 145916 h 5025616"/>
                  <a:gd name="connsiteX16" fmla="*/ 5552281 w 5581754"/>
                  <a:gd name="connsiteY16" fmla="*/ -293 h 5025616"/>
                  <a:gd name="connsiteX17" fmla="*/ 5522849 w 5581754"/>
                  <a:gd name="connsiteY17" fmla="*/ 145916 h 5025616"/>
                  <a:gd name="connsiteX18" fmla="*/ 5525516 w 5581754"/>
                  <a:gd name="connsiteY18" fmla="*/ 693318 h 5025616"/>
                  <a:gd name="connsiteX19" fmla="*/ 5526087 w 5581754"/>
                  <a:gd name="connsiteY19" fmla="*/ 830192 h 5025616"/>
                  <a:gd name="connsiteX20" fmla="*/ 5526087 w 5581754"/>
                  <a:gd name="connsiteY20" fmla="*/ 898581 h 5025616"/>
                  <a:gd name="connsiteX21" fmla="*/ 5526087 w 5581754"/>
                  <a:gd name="connsiteY21" fmla="*/ 931824 h 5025616"/>
                  <a:gd name="connsiteX22" fmla="*/ 5526087 w 5581754"/>
                  <a:gd name="connsiteY22" fmla="*/ 963923 h 5025616"/>
                  <a:gd name="connsiteX23" fmla="*/ 5525420 w 5581754"/>
                  <a:gd name="connsiteY23" fmla="*/ 1027931 h 5025616"/>
                  <a:gd name="connsiteX24" fmla="*/ 5523230 w 5581754"/>
                  <a:gd name="connsiteY24" fmla="*/ 1092034 h 5025616"/>
                  <a:gd name="connsiteX25" fmla="*/ 5516562 w 5581754"/>
                  <a:gd name="connsiteY25" fmla="*/ 1219955 h 5025616"/>
                  <a:gd name="connsiteX26" fmla="*/ 5318538 w 5581754"/>
                  <a:gd name="connsiteY26" fmla="*/ 2221985 h 5025616"/>
                  <a:gd name="connsiteX27" fmla="*/ 123745 w 5581754"/>
                  <a:gd name="connsiteY27" fmla="*/ 4798384 h 5025616"/>
                  <a:gd name="connsiteX28" fmla="*/ 825 w 5581754"/>
                  <a:gd name="connsiteY28" fmla="*/ 4754778 h 5025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581754" h="5025616">
                    <a:moveTo>
                      <a:pt x="-128" y="4757159"/>
                    </a:moveTo>
                    <a:cubicBezTo>
                      <a:pt x="245427" y="4850504"/>
                      <a:pt x="499392" y="4920037"/>
                      <a:pt x="758253" y="4964804"/>
                    </a:cubicBezTo>
                    <a:cubicBezTo>
                      <a:pt x="890651" y="4987664"/>
                      <a:pt x="1025524" y="5004428"/>
                      <a:pt x="1162113" y="5014429"/>
                    </a:cubicBezTo>
                    <a:cubicBezTo>
                      <a:pt x="1298702" y="5024431"/>
                      <a:pt x="1437195" y="5027384"/>
                      <a:pt x="1576260" y="5023954"/>
                    </a:cubicBezTo>
                    <a:cubicBezTo>
                      <a:pt x="3296904" y="4978701"/>
                      <a:pt x="4806960" y="3865743"/>
                      <a:pt x="5359495" y="2235606"/>
                    </a:cubicBezTo>
                    <a:cubicBezTo>
                      <a:pt x="5414807" y="2072119"/>
                      <a:pt x="5459946" y="1905364"/>
                      <a:pt x="5494655" y="1736305"/>
                    </a:cubicBezTo>
                    <a:cubicBezTo>
                      <a:pt x="5528964" y="1566979"/>
                      <a:pt x="5552881" y="1395720"/>
                      <a:pt x="5566283" y="1223479"/>
                    </a:cubicBezTo>
                    <a:cubicBezTo>
                      <a:pt x="5568854" y="1180331"/>
                      <a:pt x="5572760" y="1137278"/>
                      <a:pt x="5573998" y="1094130"/>
                    </a:cubicBezTo>
                    <a:lnTo>
                      <a:pt x="5576760" y="1029360"/>
                    </a:lnTo>
                    <a:lnTo>
                      <a:pt x="5577903" y="964494"/>
                    </a:lnTo>
                    <a:lnTo>
                      <a:pt x="5578475" y="932014"/>
                    </a:lnTo>
                    <a:lnTo>
                      <a:pt x="5578475" y="915727"/>
                    </a:lnTo>
                    <a:lnTo>
                      <a:pt x="5578475" y="898581"/>
                    </a:lnTo>
                    <a:lnTo>
                      <a:pt x="5578475" y="830192"/>
                    </a:lnTo>
                    <a:lnTo>
                      <a:pt x="5579046" y="693318"/>
                    </a:lnTo>
                    <a:lnTo>
                      <a:pt x="5581618" y="145916"/>
                    </a:lnTo>
                    <a:cubicBezTo>
                      <a:pt x="5582094" y="66001"/>
                      <a:pt x="5564092" y="-293"/>
                      <a:pt x="5552281" y="-293"/>
                    </a:cubicBezTo>
                    <a:cubicBezTo>
                      <a:pt x="5540470" y="-293"/>
                      <a:pt x="5522468" y="66382"/>
                      <a:pt x="5522849" y="145916"/>
                    </a:cubicBezTo>
                    <a:lnTo>
                      <a:pt x="5525516" y="693318"/>
                    </a:lnTo>
                    <a:lnTo>
                      <a:pt x="5526087" y="830192"/>
                    </a:lnTo>
                    <a:lnTo>
                      <a:pt x="5526087" y="898581"/>
                    </a:lnTo>
                    <a:lnTo>
                      <a:pt x="5526087" y="931824"/>
                    </a:lnTo>
                    <a:lnTo>
                      <a:pt x="5526087" y="963923"/>
                    </a:lnTo>
                    <a:lnTo>
                      <a:pt x="5525420" y="1027931"/>
                    </a:lnTo>
                    <a:lnTo>
                      <a:pt x="5523230" y="1092034"/>
                    </a:lnTo>
                    <a:cubicBezTo>
                      <a:pt x="5522372" y="1134706"/>
                      <a:pt x="5518753" y="1177283"/>
                      <a:pt x="5516562" y="1219955"/>
                    </a:cubicBezTo>
                    <a:cubicBezTo>
                      <a:pt x="5492921" y="1560960"/>
                      <a:pt x="5426389" y="1897621"/>
                      <a:pt x="5318538" y="2221985"/>
                    </a:cubicBezTo>
                    <a:cubicBezTo>
                      <a:pt x="4595485" y="4367939"/>
                      <a:pt x="2269699" y="5521435"/>
                      <a:pt x="123745" y="4798384"/>
                    </a:cubicBezTo>
                    <a:cubicBezTo>
                      <a:pt x="82540" y="4784496"/>
                      <a:pt x="41563" y="4769961"/>
                      <a:pt x="825" y="475477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80B5CE0A-C2AF-493F-9F6A-8DC4DA12BC0C}"/>
                  </a:ext>
                </a:extLst>
              </p:cNvPr>
              <p:cNvSpPr/>
              <p:nvPr/>
            </p:nvSpPr>
            <p:spPr>
              <a:xfrm>
                <a:off x="5251237" y="809464"/>
                <a:ext cx="5722429" cy="5129417"/>
              </a:xfrm>
              <a:custGeom>
                <a:avLst/>
                <a:gdLst>
                  <a:gd name="connsiteX0" fmla="*/ -128 w 5722429"/>
                  <a:gd name="connsiteY0" fmla="*/ 4854409 h 5129417"/>
                  <a:gd name="connsiteX1" fmla="*/ 777494 w 5722429"/>
                  <a:gd name="connsiteY1" fmla="*/ 5067198 h 5129417"/>
                  <a:gd name="connsiteX2" fmla="*/ 1191450 w 5722429"/>
                  <a:gd name="connsiteY2" fmla="*/ 5118061 h 5129417"/>
                  <a:gd name="connsiteX3" fmla="*/ 1615884 w 5722429"/>
                  <a:gd name="connsiteY3" fmla="*/ 5127586 h 5129417"/>
                  <a:gd name="connsiteX4" fmla="*/ 5494178 w 5722429"/>
                  <a:gd name="connsiteY4" fmla="*/ 2269134 h 5129417"/>
                  <a:gd name="connsiteX5" fmla="*/ 5706014 w 5722429"/>
                  <a:gd name="connsiteY5" fmla="*/ 1231576 h 5129417"/>
                  <a:gd name="connsiteX6" fmla="*/ 5713920 w 5722429"/>
                  <a:gd name="connsiteY6" fmla="*/ 1098987 h 5129417"/>
                  <a:gd name="connsiteX7" fmla="*/ 5716778 w 5722429"/>
                  <a:gd name="connsiteY7" fmla="*/ 1032312 h 5129417"/>
                  <a:gd name="connsiteX8" fmla="*/ 5717921 w 5722429"/>
                  <a:gd name="connsiteY8" fmla="*/ 965637 h 5129417"/>
                  <a:gd name="connsiteX9" fmla="*/ 5719064 w 5722429"/>
                  <a:gd name="connsiteY9" fmla="*/ 830192 h 5129417"/>
                  <a:gd name="connsiteX10" fmla="*/ 5719635 w 5722429"/>
                  <a:gd name="connsiteY10" fmla="*/ 693318 h 5129417"/>
                  <a:gd name="connsiteX11" fmla="*/ 5722302 w 5722429"/>
                  <a:gd name="connsiteY11" fmla="*/ 145916 h 5129417"/>
                  <a:gd name="connsiteX12" fmla="*/ 5692870 w 5722429"/>
                  <a:gd name="connsiteY12" fmla="*/ -293 h 5129417"/>
                  <a:gd name="connsiteX13" fmla="*/ 5663533 w 5722429"/>
                  <a:gd name="connsiteY13" fmla="*/ 145916 h 5129417"/>
                  <a:gd name="connsiteX14" fmla="*/ 5666105 w 5722429"/>
                  <a:gd name="connsiteY14" fmla="*/ 693318 h 5129417"/>
                  <a:gd name="connsiteX15" fmla="*/ 5666676 w 5722429"/>
                  <a:gd name="connsiteY15" fmla="*/ 830192 h 5129417"/>
                  <a:gd name="connsiteX16" fmla="*/ 5666676 w 5722429"/>
                  <a:gd name="connsiteY16" fmla="*/ 965066 h 5129417"/>
                  <a:gd name="connsiteX17" fmla="*/ 5666009 w 5722429"/>
                  <a:gd name="connsiteY17" fmla="*/ 1030693 h 5129417"/>
                  <a:gd name="connsiteX18" fmla="*/ 5663628 w 5722429"/>
                  <a:gd name="connsiteY18" fmla="*/ 1096987 h 5129417"/>
                  <a:gd name="connsiteX19" fmla="*/ 5656770 w 5722429"/>
                  <a:gd name="connsiteY19" fmla="*/ 1228051 h 5129417"/>
                  <a:gd name="connsiteX20" fmla="*/ 5453697 w 5722429"/>
                  <a:gd name="connsiteY20" fmla="*/ 2255609 h 5129417"/>
                  <a:gd name="connsiteX21" fmla="*/ 128641 w 5722429"/>
                  <a:gd name="connsiteY21" fmla="*/ 4897386 h 5129417"/>
                  <a:gd name="connsiteX22" fmla="*/ 825 w 5722429"/>
                  <a:gd name="connsiteY22" fmla="*/ 4852028 h 5129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722429" h="5129417">
                    <a:moveTo>
                      <a:pt x="-128" y="4854409"/>
                    </a:moveTo>
                    <a:cubicBezTo>
                      <a:pt x="251685" y="4950031"/>
                      <a:pt x="512079" y="5021287"/>
                      <a:pt x="777494" y="5067198"/>
                    </a:cubicBezTo>
                    <a:cubicBezTo>
                      <a:pt x="913253" y="5090630"/>
                      <a:pt x="1051242" y="5107584"/>
                      <a:pt x="1191450" y="5118061"/>
                    </a:cubicBezTo>
                    <a:cubicBezTo>
                      <a:pt x="1331563" y="5128348"/>
                      <a:pt x="1473295" y="5131301"/>
                      <a:pt x="1615884" y="5127586"/>
                    </a:cubicBezTo>
                    <a:cubicBezTo>
                      <a:pt x="3379790" y="5081238"/>
                      <a:pt x="4927822" y="3940285"/>
                      <a:pt x="5494178" y="2269134"/>
                    </a:cubicBezTo>
                    <a:cubicBezTo>
                      <a:pt x="5607983" y="1933521"/>
                      <a:pt x="5679154" y="1584934"/>
                      <a:pt x="5706014" y="1231576"/>
                    </a:cubicBezTo>
                    <a:cubicBezTo>
                      <a:pt x="5708682" y="1187379"/>
                      <a:pt x="5712682" y="1143279"/>
                      <a:pt x="5713920" y="1098987"/>
                    </a:cubicBezTo>
                    <a:lnTo>
                      <a:pt x="5716778" y="1032312"/>
                    </a:lnTo>
                    <a:lnTo>
                      <a:pt x="5717921" y="965637"/>
                    </a:lnTo>
                    <a:cubicBezTo>
                      <a:pt x="5718968" y="921918"/>
                      <a:pt x="5718874" y="875721"/>
                      <a:pt x="5719064" y="830192"/>
                    </a:cubicBezTo>
                    <a:lnTo>
                      <a:pt x="5719635" y="693318"/>
                    </a:lnTo>
                    <a:lnTo>
                      <a:pt x="5722302" y="145916"/>
                    </a:lnTo>
                    <a:cubicBezTo>
                      <a:pt x="5722302" y="66001"/>
                      <a:pt x="5704681" y="-293"/>
                      <a:pt x="5692870" y="-293"/>
                    </a:cubicBezTo>
                    <a:cubicBezTo>
                      <a:pt x="5681059" y="-293"/>
                      <a:pt x="5663057" y="66382"/>
                      <a:pt x="5663533" y="145916"/>
                    </a:cubicBezTo>
                    <a:lnTo>
                      <a:pt x="5666105" y="693318"/>
                    </a:lnTo>
                    <a:lnTo>
                      <a:pt x="5666676" y="830192"/>
                    </a:lnTo>
                    <a:cubicBezTo>
                      <a:pt x="5666676" y="875721"/>
                      <a:pt x="5667248" y="922108"/>
                      <a:pt x="5666676" y="965066"/>
                    </a:cubicBezTo>
                    <a:lnTo>
                      <a:pt x="5666009" y="1030693"/>
                    </a:lnTo>
                    <a:lnTo>
                      <a:pt x="5663628" y="1096987"/>
                    </a:lnTo>
                    <a:cubicBezTo>
                      <a:pt x="5662771" y="1140802"/>
                      <a:pt x="5659056" y="1184427"/>
                      <a:pt x="5656770" y="1228051"/>
                    </a:cubicBezTo>
                    <a:cubicBezTo>
                      <a:pt x="5632519" y="1577743"/>
                      <a:pt x="5564292" y="1922986"/>
                      <a:pt x="5453697" y="2255609"/>
                    </a:cubicBezTo>
                    <a:cubicBezTo>
                      <a:pt x="4712729" y="4455588"/>
                      <a:pt x="2328621" y="5638355"/>
                      <a:pt x="128641" y="4897386"/>
                    </a:cubicBezTo>
                    <a:cubicBezTo>
                      <a:pt x="85788" y="4882956"/>
                      <a:pt x="43183" y="4867830"/>
                      <a:pt x="825" y="485202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D7A9DCF7-21F2-41B3-A193-997F2AEB4723}"/>
                  </a:ext>
                </a:extLst>
              </p:cNvPr>
              <p:cNvSpPr/>
              <p:nvPr/>
            </p:nvSpPr>
            <p:spPr>
              <a:xfrm>
                <a:off x="5214852" y="810130"/>
                <a:ext cx="5861970" cy="5231888"/>
              </a:xfrm>
              <a:custGeom>
                <a:avLst/>
                <a:gdLst>
                  <a:gd name="connsiteX0" fmla="*/ -128 w 5861970"/>
                  <a:gd name="connsiteY0" fmla="*/ 4950326 h 5231888"/>
                  <a:gd name="connsiteX1" fmla="*/ 796639 w 5861970"/>
                  <a:gd name="connsiteY1" fmla="*/ 5168258 h 5231888"/>
                  <a:gd name="connsiteX2" fmla="*/ 1220787 w 5861970"/>
                  <a:gd name="connsiteY2" fmla="*/ 5220360 h 5231888"/>
                  <a:gd name="connsiteX3" fmla="*/ 1655317 w 5861970"/>
                  <a:gd name="connsiteY3" fmla="*/ 5229885 h 5231888"/>
                  <a:gd name="connsiteX4" fmla="*/ 5628386 w 5861970"/>
                  <a:gd name="connsiteY4" fmla="*/ 2301424 h 5231888"/>
                  <a:gd name="connsiteX5" fmla="*/ 5845365 w 5861970"/>
                  <a:gd name="connsiteY5" fmla="*/ 1238529 h 5231888"/>
                  <a:gd name="connsiteX6" fmla="*/ 5853462 w 5861970"/>
                  <a:gd name="connsiteY6" fmla="*/ 1102797 h 5231888"/>
                  <a:gd name="connsiteX7" fmla="*/ 5856319 w 5861970"/>
                  <a:gd name="connsiteY7" fmla="*/ 1034789 h 5231888"/>
                  <a:gd name="connsiteX8" fmla="*/ 5857557 w 5861970"/>
                  <a:gd name="connsiteY8" fmla="*/ 966780 h 5231888"/>
                  <a:gd name="connsiteX9" fmla="*/ 5858700 w 5861970"/>
                  <a:gd name="connsiteY9" fmla="*/ 830192 h 5231888"/>
                  <a:gd name="connsiteX10" fmla="*/ 5859272 w 5861970"/>
                  <a:gd name="connsiteY10" fmla="*/ 693318 h 5231888"/>
                  <a:gd name="connsiteX11" fmla="*/ 5861844 w 5861970"/>
                  <a:gd name="connsiteY11" fmla="*/ 145916 h 5231888"/>
                  <a:gd name="connsiteX12" fmla="*/ 5832507 w 5861970"/>
                  <a:gd name="connsiteY12" fmla="*/ -293 h 5231888"/>
                  <a:gd name="connsiteX13" fmla="*/ 5803074 w 5861970"/>
                  <a:gd name="connsiteY13" fmla="*/ 145916 h 5231888"/>
                  <a:gd name="connsiteX14" fmla="*/ 5805741 w 5861970"/>
                  <a:gd name="connsiteY14" fmla="*/ 693318 h 5231888"/>
                  <a:gd name="connsiteX15" fmla="*/ 5806313 w 5861970"/>
                  <a:gd name="connsiteY15" fmla="*/ 830192 h 5231888"/>
                  <a:gd name="connsiteX16" fmla="*/ 5806313 w 5861970"/>
                  <a:gd name="connsiteY16" fmla="*/ 966209 h 5231888"/>
                  <a:gd name="connsiteX17" fmla="*/ 5805551 w 5861970"/>
                  <a:gd name="connsiteY17" fmla="*/ 1033455 h 5231888"/>
                  <a:gd name="connsiteX18" fmla="*/ 5803265 w 5861970"/>
                  <a:gd name="connsiteY18" fmla="*/ 1100607 h 5231888"/>
                  <a:gd name="connsiteX19" fmla="*/ 5796216 w 5861970"/>
                  <a:gd name="connsiteY19" fmla="*/ 1234909 h 5231888"/>
                  <a:gd name="connsiteX20" fmla="*/ 5587905 w 5861970"/>
                  <a:gd name="connsiteY20" fmla="*/ 2287803 h 5231888"/>
                  <a:gd name="connsiteX21" fmla="*/ 132575 w 5861970"/>
                  <a:gd name="connsiteY21" fmla="*/ 4994646 h 5231888"/>
                  <a:gd name="connsiteX22" fmla="*/ 730 w 5861970"/>
                  <a:gd name="connsiteY22" fmla="*/ 4947850 h 5231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61970" h="5231888">
                    <a:moveTo>
                      <a:pt x="-128" y="4950326"/>
                    </a:moveTo>
                    <a:cubicBezTo>
                      <a:pt x="257876" y="5048281"/>
                      <a:pt x="524690" y="5121262"/>
                      <a:pt x="796639" y="5168258"/>
                    </a:cubicBezTo>
                    <a:cubicBezTo>
                      <a:pt x="935608" y="5192357"/>
                      <a:pt x="1077340" y="5209787"/>
                      <a:pt x="1220787" y="5220360"/>
                    </a:cubicBezTo>
                    <a:cubicBezTo>
                      <a:pt x="1364233" y="5230933"/>
                      <a:pt x="1509395" y="5233886"/>
                      <a:pt x="1655317" y="5229885"/>
                    </a:cubicBezTo>
                    <a:cubicBezTo>
                      <a:pt x="3462353" y="5182346"/>
                      <a:pt x="5048208" y="4013447"/>
                      <a:pt x="5628386" y="2301424"/>
                    </a:cubicBezTo>
                    <a:cubicBezTo>
                      <a:pt x="5744924" y="1957609"/>
                      <a:pt x="5817828" y="1600517"/>
                      <a:pt x="5845365" y="1238529"/>
                    </a:cubicBezTo>
                    <a:cubicBezTo>
                      <a:pt x="5848032" y="1193285"/>
                      <a:pt x="5852128" y="1148137"/>
                      <a:pt x="5853462" y="1102797"/>
                    </a:cubicBezTo>
                    <a:lnTo>
                      <a:pt x="5856319" y="1034789"/>
                    </a:lnTo>
                    <a:lnTo>
                      <a:pt x="5857557" y="966780"/>
                    </a:lnTo>
                    <a:cubicBezTo>
                      <a:pt x="5858510" y="921537"/>
                      <a:pt x="5858510" y="875817"/>
                      <a:pt x="5858700" y="830192"/>
                    </a:cubicBezTo>
                    <a:lnTo>
                      <a:pt x="5859272" y="693318"/>
                    </a:lnTo>
                    <a:lnTo>
                      <a:pt x="5861844" y="145916"/>
                    </a:lnTo>
                    <a:cubicBezTo>
                      <a:pt x="5861844" y="66001"/>
                      <a:pt x="5844317" y="-293"/>
                      <a:pt x="5832507" y="-293"/>
                    </a:cubicBezTo>
                    <a:cubicBezTo>
                      <a:pt x="5820696" y="-293"/>
                      <a:pt x="5802693" y="66382"/>
                      <a:pt x="5803074" y="145916"/>
                    </a:cubicBezTo>
                    <a:lnTo>
                      <a:pt x="5805741" y="693318"/>
                    </a:lnTo>
                    <a:lnTo>
                      <a:pt x="5806313" y="830192"/>
                    </a:lnTo>
                    <a:cubicBezTo>
                      <a:pt x="5806313" y="875817"/>
                      <a:pt x="5806313" y="921727"/>
                      <a:pt x="5806313" y="966209"/>
                    </a:cubicBezTo>
                    <a:lnTo>
                      <a:pt x="5805551" y="1033455"/>
                    </a:lnTo>
                    <a:lnTo>
                      <a:pt x="5803265" y="1100607"/>
                    </a:lnTo>
                    <a:cubicBezTo>
                      <a:pt x="5802312" y="1145470"/>
                      <a:pt x="5798598" y="1190142"/>
                      <a:pt x="5796216" y="1234909"/>
                    </a:cubicBezTo>
                    <a:cubicBezTo>
                      <a:pt x="5771318" y="1593240"/>
                      <a:pt x="5701328" y="1946989"/>
                      <a:pt x="5587905" y="2287803"/>
                    </a:cubicBezTo>
                    <a:cubicBezTo>
                      <a:pt x="4828933" y="4541723"/>
                      <a:pt x="2386495" y="5753617"/>
                      <a:pt x="132575" y="4994646"/>
                    </a:cubicBezTo>
                    <a:cubicBezTo>
                      <a:pt x="88379" y="4979759"/>
                      <a:pt x="44421" y="4964157"/>
                      <a:pt x="730" y="49478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782B96EB-B78E-446A-B16E-202628115552}"/>
                  </a:ext>
                </a:extLst>
              </p:cNvPr>
              <p:cNvSpPr/>
              <p:nvPr/>
            </p:nvSpPr>
            <p:spPr>
              <a:xfrm>
                <a:off x="5178371" y="810321"/>
                <a:ext cx="6001702" cy="5334997"/>
              </a:xfrm>
              <a:custGeom>
                <a:avLst/>
                <a:gdLst>
                  <a:gd name="connsiteX0" fmla="*/ -128 w 6001702"/>
                  <a:gd name="connsiteY0" fmla="*/ 5046624 h 5334997"/>
                  <a:gd name="connsiteX1" fmla="*/ 815784 w 6001702"/>
                  <a:gd name="connsiteY1" fmla="*/ 5269794 h 5334997"/>
                  <a:gd name="connsiteX2" fmla="*/ 1250124 w 6001702"/>
                  <a:gd name="connsiteY2" fmla="*/ 5323135 h 5334997"/>
                  <a:gd name="connsiteX3" fmla="*/ 1694846 w 6001702"/>
                  <a:gd name="connsiteY3" fmla="*/ 5333136 h 5334997"/>
                  <a:gd name="connsiteX4" fmla="*/ 5762688 w 6001702"/>
                  <a:gd name="connsiteY4" fmla="*/ 2334380 h 5334997"/>
                  <a:gd name="connsiteX5" fmla="*/ 5984716 w 6001702"/>
                  <a:gd name="connsiteY5" fmla="*/ 1246053 h 5334997"/>
                  <a:gd name="connsiteX6" fmla="*/ 5993003 w 6001702"/>
                  <a:gd name="connsiteY6" fmla="*/ 1107083 h 5334997"/>
                  <a:gd name="connsiteX7" fmla="*/ 5995956 w 6001702"/>
                  <a:gd name="connsiteY7" fmla="*/ 1037551 h 5334997"/>
                  <a:gd name="connsiteX8" fmla="*/ 5997193 w 6001702"/>
                  <a:gd name="connsiteY8" fmla="*/ 967923 h 5334997"/>
                  <a:gd name="connsiteX9" fmla="*/ 5998337 w 6001702"/>
                  <a:gd name="connsiteY9" fmla="*/ 830192 h 5334997"/>
                  <a:gd name="connsiteX10" fmla="*/ 5998908 w 6001702"/>
                  <a:gd name="connsiteY10" fmla="*/ 693317 h 5334997"/>
                  <a:gd name="connsiteX11" fmla="*/ 6001575 w 6001702"/>
                  <a:gd name="connsiteY11" fmla="*/ 145916 h 5334997"/>
                  <a:gd name="connsiteX12" fmla="*/ 5972143 w 6001702"/>
                  <a:gd name="connsiteY12" fmla="*/ -293 h 5334997"/>
                  <a:gd name="connsiteX13" fmla="*/ 5942806 w 6001702"/>
                  <a:gd name="connsiteY13" fmla="*/ 145916 h 5334997"/>
                  <a:gd name="connsiteX14" fmla="*/ 5945378 w 6001702"/>
                  <a:gd name="connsiteY14" fmla="*/ 693317 h 5334997"/>
                  <a:gd name="connsiteX15" fmla="*/ 5945949 w 6001702"/>
                  <a:gd name="connsiteY15" fmla="*/ 830192 h 5334997"/>
                  <a:gd name="connsiteX16" fmla="*/ 5945949 w 6001702"/>
                  <a:gd name="connsiteY16" fmla="*/ 967352 h 5334997"/>
                  <a:gd name="connsiteX17" fmla="*/ 5945187 w 6001702"/>
                  <a:gd name="connsiteY17" fmla="*/ 1036122 h 5334997"/>
                  <a:gd name="connsiteX18" fmla="*/ 5942806 w 6001702"/>
                  <a:gd name="connsiteY18" fmla="*/ 1104988 h 5334997"/>
                  <a:gd name="connsiteX19" fmla="*/ 5935567 w 6001702"/>
                  <a:gd name="connsiteY19" fmla="*/ 1242434 h 5334997"/>
                  <a:gd name="connsiteX20" fmla="*/ 5722207 w 6001702"/>
                  <a:gd name="connsiteY20" fmla="*/ 2320759 h 5334997"/>
                  <a:gd name="connsiteX21" fmla="*/ 135223 w 6001702"/>
                  <a:gd name="connsiteY21" fmla="*/ 5092610 h 5334997"/>
                  <a:gd name="connsiteX22" fmla="*/ 825 w 6001702"/>
                  <a:gd name="connsiteY22" fmla="*/ 5044909 h 5334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01702" h="5334997">
                    <a:moveTo>
                      <a:pt x="-128" y="5046624"/>
                    </a:moveTo>
                    <a:cubicBezTo>
                      <a:pt x="264058" y="5147008"/>
                      <a:pt x="537283" y="5221741"/>
                      <a:pt x="815784" y="5269794"/>
                    </a:cubicBezTo>
                    <a:cubicBezTo>
                      <a:pt x="958183" y="5294464"/>
                      <a:pt x="1103249" y="5312371"/>
                      <a:pt x="1250124" y="5323135"/>
                    </a:cubicBezTo>
                    <a:cubicBezTo>
                      <a:pt x="1397000" y="5333897"/>
                      <a:pt x="1545399" y="5336946"/>
                      <a:pt x="1694846" y="5333136"/>
                    </a:cubicBezTo>
                    <a:cubicBezTo>
                      <a:pt x="3545020" y="5284168"/>
                      <a:pt x="5168614" y="4087275"/>
                      <a:pt x="5762688" y="2334380"/>
                    </a:cubicBezTo>
                    <a:cubicBezTo>
                      <a:pt x="5881960" y="1982326"/>
                      <a:pt x="5956551" y="1616690"/>
                      <a:pt x="5984716" y="1246053"/>
                    </a:cubicBezTo>
                    <a:cubicBezTo>
                      <a:pt x="5987574" y="1199762"/>
                      <a:pt x="5991669" y="1153470"/>
                      <a:pt x="5993003" y="1107083"/>
                    </a:cubicBezTo>
                    <a:lnTo>
                      <a:pt x="5995956" y="1037551"/>
                    </a:lnTo>
                    <a:lnTo>
                      <a:pt x="5997193" y="967923"/>
                    </a:lnTo>
                    <a:cubicBezTo>
                      <a:pt x="5998242" y="921156"/>
                      <a:pt x="5998146" y="875816"/>
                      <a:pt x="5998337" y="830192"/>
                    </a:cubicBezTo>
                    <a:lnTo>
                      <a:pt x="5998908" y="693317"/>
                    </a:lnTo>
                    <a:lnTo>
                      <a:pt x="6001575" y="145916"/>
                    </a:lnTo>
                    <a:cubicBezTo>
                      <a:pt x="6001575" y="66001"/>
                      <a:pt x="5983954" y="-293"/>
                      <a:pt x="5972143" y="-293"/>
                    </a:cubicBezTo>
                    <a:cubicBezTo>
                      <a:pt x="5960332" y="-293"/>
                      <a:pt x="5942330" y="66382"/>
                      <a:pt x="5942806" y="145916"/>
                    </a:cubicBezTo>
                    <a:lnTo>
                      <a:pt x="5945378" y="693317"/>
                    </a:lnTo>
                    <a:lnTo>
                      <a:pt x="5945949" y="830192"/>
                    </a:lnTo>
                    <a:cubicBezTo>
                      <a:pt x="5945949" y="875816"/>
                      <a:pt x="5946521" y="921346"/>
                      <a:pt x="5945949" y="967352"/>
                    </a:cubicBezTo>
                    <a:lnTo>
                      <a:pt x="5945187" y="1036122"/>
                    </a:lnTo>
                    <a:lnTo>
                      <a:pt x="5942806" y="1104988"/>
                    </a:lnTo>
                    <a:cubicBezTo>
                      <a:pt x="5941853" y="1150899"/>
                      <a:pt x="5938044" y="1196618"/>
                      <a:pt x="5935567" y="1242434"/>
                    </a:cubicBezTo>
                    <a:cubicBezTo>
                      <a:pt x="5910164" y="1609432"/>
                      <a:pt x="5838479" y="1971744"/>
                      <a:pt x="5722207" y="2320759"/>
                    </a:cubicBezTo>
                    <a:cubicBezTo>
                      <a:pt x="4944824" y="4628991"/>
                      <a:pt x="2443454" y="5869984"/>
                      <a:pt x="135223" y="5092610"/>
                    </a:cubicBezTo>
                    <a:cubicBezTo>
                      <a:pt x="90169" y="5077428"/>
                      <a:pt x="45364" y="5061530"/>
                      <a:pt x="825" y="504490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0C783232-08ED-4A98-B933-C82A0F48F64F}"/>
                  </a:ext>
                </a:extLst>
              </p:cNvPr>
              <p:cNvSpPr/>
              <p:nvPr/>
            </p:nvSpPr>
            <p:spPr>
              <a:xfrm>
                <a:off x="5141891" y="810130"/>
                <a:ext cx="6141624" cy="5438683"/>
              </a:xfrm>
              <a:custGeom>
                <a:avLst/>
                <a:gdLst>
                  <a:gd name="connsiteX0" fmla="*/ -128 w 6141624"/>
                  <a:gd name="connsiteY0" fmla="*/ 5143398 h 5438683"/>
                  <a:gd name="connsiteX1" fmla="*/ 835024 w 6141624"/>
                  <a:gd name="connsiteY1" fmla="*/ 5371998 h 5438683"/>
                  <a:gd name="connsiteX2" fmla="*/ 1279461 w 6141624"/>
                  <a:gd name="connsiteY2" fmla="*/ 5426576 h 5438683"/>
                  <a:gd name="connsiteX3" fmla="*/ 1734375 w 6141624"/>
                  <a:gd name="connsiteY3" fmla="*/ 5436768 h 5438683"/>
                  <a:gd name="connsiteX4" fmla="*/ 5896800 w 6141624"/>
                  <a:gd name="connsiteY4" fmla="*/ 2367622 h 5438683"/>
                  <a:gd name="connsiteX5" fmla="*/ 6045486 w 6141624"/>
                  <a:gd name="connsiteY5" fmla="*/ 1817839 h 5438683"/>
                  <a:gd name="connsiteX6" fmla="*/ 6124448 w 6141624"/>
                  <a:gd name="connsiteY6" fmla="*/ 1253578 h 5438683"/>
                  <a:gd name="connsiteX7" fmla="*/ 6132925 w 6141624"/>
                  <a:gd name="connsiteY7" fmla="*/ 1111370 h 5438683"/>
                  <a:gd name="connsiteX8" fmla="*/ 6135878 w 6141624"/>
                  <a:gd name="connsiteY8" fmla="*/ 1040218 h 5438683"/>
                  <a:gd name="connsiteX9" fmla="*/ 6137116 w 6141624"/>
                  <a:gd name="connsiteY9" fmla="*/ 969067 h 5438683"/>
                  <a:gd name="connsiteX10" fmla="*/ 6138354 w 6141624"/>
                  <a:gd name="connsiteY10" fmla="*/ 830192 h 5438683"/>
                  <a:gd name="connsiteX11" fmla="*/ 6138926 w 6141624"/>
                  <a:gd name="connsiteY11" fmla="*/ 693318 h 5438683"/>
                  <a:gd name="connsiteX12" fmla="*/ 6141497 w 6141624"/>
                  <a:gd name="connsiteY12" fmla="*/ 145916 h 5438683"/>
                  <a:gd name="connsiteX13" fmla="*/ 6112161 w 6141624"/>
                  <a:gd name="connsiteY13" fmla="*/ -293 h 5438683"/>
                  <a:gd name="connsiteX14" fmla="*/ 6082728 w 6141624"/>
                  <a:gd name="connsiteY14" fmla="*/ 145916 h 5438683"/>
                  <a:gd name="connsiteX15" fmla="*/ 6085395 w 6141624"/>
                  <a:gd name="connsiteY15" fmla="*/ 693318 h 5438683"/>
                  <a:gd name="connsiteX16" fmla="*/ 6085395 w 6141624"/>
                  <a:gd name="connsiteY16" fmla="*/ 830192 h 5438683"/>
                  <a:gd name="connsiteX17" fmla="*/ 6085395 w 6141624"/>
                  <a:gd name="connsiteY17" fmla="*/ 968495 h 5438683"/>
                  <a:gd name="connsiteX18" fmla="*/ 6084633 w 6141624"/>
                  <a:gd name="connsiteY18" fmla="*/ 1038885 h 5438683"/>
                  <a:gd name="connsiteX19" fmla="*/ 6082252 w 6141624"/>
                  <a:gd name="connsiteY19" fmla="*/ 1109274 h 5438683"/>
                  <a:gd name="connsiteX20" fmla="*/ 6074822 w 6141624"/>
                  <a:gd name="connsiteY20" fmla="*/ 1249959 h 5438683"/>
                  <a:gd name="connsiteX21" fmla="*/ 5856414 w 6141624"/>
                  <a:gd name="connsiteY21" fmla="*/ 2353621 h 5438683"/>
                  <a:gd name="connsiteX22" fmla="*/ 138385 w 6141624"/>
                  <a:gd name="connsiteY22" fmla="*/ 5189889 h 5438683"/>
                  <a:gd name="connsiteX23" fmla="*/ 730 w 6141624"/>
                  <a:gd name="connsiteY23" fmla="*/ 5141017 h 5438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6141624" h="5438683">
                    <a:moveTo>
                      <a:pt x="-128" y="5143398"/>
                    </a:moveTo>
                    <a:cubicBezTo>
                      <a:pt x="270297" y="5246144"/>
                      <a:pt x="549970" y="5322696"/>
                      <a:pt x="835024" y="5371998"/>
                    </a:cubicBezTo>
                    <a:cubicBezTo>
                      <a:pt x="980757" y="5397239"/>
                      <a:pt x="1129252" y="5415527"/>
                      <a:pt x="1279461" y="5426576"/>
                    </a:cubicBezTo>
                    <a:cubicBezTo>
                      <a:pt x="1429670" y="5437625"/>
                      <a:pt x="1581594" y="5440673"/>
                      <a:pt x="1734375" y="5436768"/>
                    </a:cubicBezTo>
                    <a:cubicBezTo>
                      <a:pt x="3627735" y="5386543"/>
                      <a:pt x="5289134" y="4161523"/>
                      <a:pt x="5896800" y="2367622"/>
                    </a:cubicBezTo>
                    <a:cubicBezTo>
                      <a:pt x="5957703" y="2187619"/>
                      <a:pt x="6007357" y="2004005"/>
                      <a:pt x="6045486" y="1817839"/>
                    </a:cubicBezTo>
                    <a:cubicBezTo>
                      <a:pt x="6083357" y="1631549"/>
                      <a:pt x="6109732" y="1443107"/>
                      <a:pt x="6124448" y="1253578"/>
                    </a:cubicBezTo>
                    <a:cubicBezTo>
                      <a:pt x="6127305" y="1205953"/>
                      <a:pt x="6131496" y="1158900"/>
                      <a:pt x="6132925" y="1111370"/>
                    </a:cubicBezTo>
                    <a:lnTo>
                      <a:pt x="6135878" y="1040218"/>
                    </a:lnTo>
                    <a:lnTo>
                      <a:pt x="6137116" y="969067"/>
                    </a:lnTo>
                    <a:cubicBezTo>
                      <a:pt x="6138164" y="920775"/>
                      <a:pt x="6138068" y="875912"/>
                      <a:pt x="6138354" y="830192"/>
                    </a:cubicBezTo>
                    <a:lnTo>
                      <a:pt x="6138926" y="693318"/>
                    </a:lnTo>
                    <a:lnTo>
                      <a:pt x="6141497" y="145916"/>
                    </a:lnTo>
                    <a:cubicBezTo>
                      <a:pt x="6141497" y="66001"/>
                      <a:pt x="6123876" y="-293"/>
                      <a:pt x="6112161" y="-293"/>
                    </a:cubicBezTo>
                    <a:cubicBezTo>
                      <a:pt x="6100445" y="-293"/>
                      <a:pt x="6082347" y="66382"/>
                      <a:pt x="6082728" y="145916"/>
                    </a:cubicBezTo>
                    <a:lnTo>
                      <a:pt x="6085395" y="693318"/>
                    </a:lnTo>
                    <a:lnTo>
                      <a:pt x="6085395" y="830192"/>
                    </a:lnTo>
                    <a:cubicBezTo>
                      <a:pt x="6085395" y="875817"/>
                      <a:pt x="6085967" y="920965"/>
                      <a:pt x="6085395" y="968495"/>
                    </a:cubicBezTo>
                    <a:lnTo>
                      <a:pt x="6084633" y="1038885"/>
                    </a:lnTo>
                    <a:lnTo>
                      <a:pt x="6082252" y="1109274"/>
                    </a:lnTo>
                    <a:cubicBezTo>
                      <a:pt x="6081204" y="1156233"/>
                      <a:pt x="6077299" y="1203096"/>
                      <a:pt x="6074822" y="1249959"/>
                    </a:cubicBezTo>
                    <a:cubicBezTo>
                      <a:pt x="6048743" y="1625568"/>
                      <a:pt x="5975363" y="1996385"/>
                      <a:pt x="5856414" y="2353621"/>
                    </a:cubicBezTo>
                    <a:cubicBezTo>
                      <a:pt x="5060639" y="4715821"/>
                      <a:pt x="2500585" y="5985665"/>
                      <a:pt x="138385" y="5189889"/>
                    </a:cubicBezTo>
                    <a:cubicBezTo>
                      <a:pt x="92236" y="5174335"/>
                      <a:pt x="46345" y="5158047"/>
                      <a:pt x="730" y="514101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9D221045-316C-4A7E-B729-1371BAD95109}"/>
                  </a:ext>
                </a:extLst>
              </p:cNvPr>
              <p:cNvSpPr/>
              <p:nvPr/>
            </p:nvSpPr>
            <p:spPr>
              <a:xfrm>
                <a:off x="5105410" y="810226"/>
                <a:ext cx="6281261" cy="5541287"/>
              </a:xfrm>
              <a:custGeom>
                <a:avLst/>
                <a:gdLst>
                  <a:gd name="connsiteX0" fmla="*/ -128 w 6281261"/>
                  <a:gd name="connsiteY0" fmla="*/ 5239600 h 5541287"/>
                  <a:gd name="connsiteX1" fmla="*/ 854265 w 6281261"/>
                  <a:gd name="connsiteY1" fmla="*/ 5473249 h 5541287"/>
                  <a:gd name="connsiteX2" fmla="*/ 1308798 w 6281261"/>
                  <a:gd name="connsiteY2" fmla="*/ 5528875 h 5541287"/>
                  <a:gd name="connsiteX3" fmla="*/ 1773999 w 6281261"/>
                  <a:gd name="connsiteY3" fmla="*/ 5539352 h 5541287"/>
                  <a:gd name="connsiteX4" fmla="*/ 6031674 w 6281261"/>
                  <a:gd name="connsiteY4" fmla="*/ 2399912 h 5541287"/>
                  <a:gd name="connsiteX5" fmla="*/ 6184074 w 6281261"/>
                  <a:gd name="connsiteY5" fmla="*/ 1837937 h 5541287"/>
                  <a:gd name="connsiteX6" fmla="*/ 6264465 w 6281261"/>
                  <a:gd name="connsiteY6" fmla="*/ 1261103 h 5541287"/>
                  <a:gd name="connsiteX7" fmla="*/ 6273038 w 6281261"/>
                  <a:gd name="connsiteY7" fmla="*/ 1115751 h 5541287"/>
                  <a:gd name="connsiteX8" fmla="*/ 6276086 w 6281261"/>
                  <a:gd name="connsiteY8" fmla="*/ 1042980 h 5541287"/>
                  <a:gd name="connsiteX9" fmla="*/ 6277419 w 6281261"/>
                  <a:gd name="connsiteY9" fmla="*/ 970209 h 5541287"/>
                  <a:gd name="connsiteX10" fmla="*/ 6277991 w 6281261"/>
                  <a:gd name="connsiteY10" fmla="*/ 933824 h 5541287"/>
                  <a:gd name="connsiteX11" fmla="*/ 6277991 w 6281261"/>
                  <a:gd name="connsiteY11" fmla="*/ 915726 h 5541287"/>
                  <a:gd name="connsiteX12" fmla="*/ 6277991 w 6281261"/>
                  <a:gd name="connsiteY12" fmla="*/ 898581 h 5541287"/>
                  <a:gd name="connsiteX13" fmla="*/ 6277991 w 6281261"/>
                  <a:gd name="connsiteY13" fmla="*/ 830192 h 5541287"/>
                  <a:gd name="connsiteX14" fmla="*/ 6278562 w 6281261"/>
                  <a:gd name="connsiteY14" fmla="*/ 693318 h 5541287"/>
                  <a:gd name="connsiteX15" fmla="*/ 6281134 w 6281261"/>
                  <a:gd name="connsiteY15" fmla="*/ 145916 h 5541287"/>
                  <a:gd name="connsiteX16" fmla="*/ 6251797 w 6281261"/>
                  <a:gd name="connsiteY16" fmla="*/ -293 h 5541287"/>
                  <a:gd name="connsiteX17" fmla="*/ 6222460 w 6281261"/>
                  <a:gd name="connsiteY17" fmla="*/ 145916 h 5541287"/>
                  <a:gd name="connsiteX18" fmla="*/ 6225032 w 6281261"/>
                  <a:gd name="connsiteY18" fmla="*/ 693318 h 5541287"/>
                  <a:gd name="connsiteX19" fmla="*/ 6225603 w 6281261"/>
                  <a:gd name="connsiteY19" fmla="*/ 830192 h 5541287"/>
                  <a:gd name="connsiteX20" fmla="*/ 6225603 w 6281261"/>
                  <a:gd name="connsiteY20" fmla="*/ 898581 h 5541287"/>
                  <a:gd name="connsiteX21" fmla="*/ 6225603 w 6281261"/>
                  <a:gd name="connsiteY21" fmla="*/ 933633 h 5541287"/>
                  <a:gd name="connsiteX22" fmla="*/ 6225603 w 6281261"/>
                  <a:gd name="connsiteY22" fmla="*/ 969638 h 5541287"/>
                  <a:gd name="connsiteX23" fmla="*/ 6224746 w 6281261"/>
                  <a:gd name="connsiteY23" fmla="*/ 1041647 h 5541287"/>
                  <a:gd name="connsiteX24" fmla="*/ 6222270 w 6281261"/>
                  <a:gd name="connsiteY24" fmla="*/ 1113656 h 5541287"/>
                  <a:gd name="connsiteX25" fmla="*/ 6214650 w 6281261"/>
                  <a:gd name="connsiteY25" fmla="*/ 1257483 h 5541287"/>
                  <a:gd name="connsiteX26" fmla="*/ 5991098 w 6281261"/>
                  <a:gd name="connsiteY26" fmla="*/ 2386577 h 5541287"/>
                  <a:gd name="connsiteX27" fmla="*/ 143119 w 6281261"/>
                  <a:gd name="connsiteY27" fmla="*/ 5287940 h 5541287"/>
                  <a:gd name="connsiteX28" fmla="*/ 825 w 6281261"/>
                  <a:gd name="connsiteY28" fmla="*/ 5237410 h 5541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6281261" h="5541287">
                    <a:moveTo>
                      <a:pt x="-128" y="5239600"/>
                    </a:moveTo>
                    <a:cubicBezTo>
                      <a:pt x="276545" y="5344632"/>
                      <a:pt x="562648" y="5422871"/>
                      <a:pt x="854265" y="5473249"/>
                    </a:cubicBezTo>
                    <a:cubicBezTo>
                      <a:pt x="1003331" y="5498966"/>
                      <a:pt x="1155160" y="5517635"/>
                      <a:pt x="1308798" y="5528875"/>
                    </a:cubicBezTo>
                    <a:cubicBezTo>
                      <a:pt x="1462436" y="5540114"/>
                      <a:pt x="1617789" y="5543353"/>
                      <a:pt x="1773999" y="5539352"/>
                    </a:cubicBezTo>
                    <a:cubicBezTo>
                      <a:pt x="3710717" y="5488003"/>
                      <a:pt x="5410149" y="4234913"/>
                      <a:pt x="6031674" y="2399912"/>
                    </a:cubicBezTo>
                    <a:cubicBezTo>
                      <a:pt x="6094034" y="2215917"/>
                      <a:pt x="6144936" y="2028227"/>
                      <a:pt x="6184074" y="1837937"/>
                    </a:cubicBezTo>
                    <a:cubicBezTo>
                      <a:pt x="6222650" y="1647485"/>
                      <a:pt x="6249492" y="1454841"/>
                      <a:pt x="6264465" y="1261103"/>
                    </a:cubicBezTo>
                    <a:cubicBezTo>
                      <a:pt x="6267418" y="1212621"/>
                      <a:pt x="6271609" y="1164234"/>
                      <a:pt x="6273038" y="1115751"/>
                    </a:cubicBezTo>
                    <a:lnTo>
                      <a:pt x="6276086" y="1042980"/>
                    </a:lnTo>
                    <a:lnTo>
                      <a:pt x="6277419" y="970209"/>
                    </a:lnTo>
                    <a:lnTo>
                      <a:pt x="6277991" y="933824"/>
                    </a:lnTo>
                    <a:lnTo>
                      <a:pt x="6277991" y="915726"/>
                    </a:lnTo>
                    <a:lnTo>
                      <a:pt x="6277991" y="898581"/>
                    </a:lnTo>
                    <a:lnTo>
                      <a:pt x="6277991" y="830192"/>
                    </a:lnTo>
                    <a:lnTo>
                      <a:pt x="6278562" y="693318"/>
                    </a:lnTo>
                    <a:lnTo>
                      <a:pt x="6281134" y="145916"/>
                    </a:lnTo>
                    <a:cubicBezTo>
                      <a:pt x="6281134" y="66001"/>
                      <a:pt x="6263608" y="-293"/>
                      <a:pt x="6251797" y="-293"/>
                    </a:cubicBezTo>
                    <a:cubicBezTo>
                      <a:pt x="6239986" y="-293"/>
                      <a:pt x="6221983" y="66382"/>
                      <a:pt x="6222460" y="145916"/>
                    </a:cubicBezTo>
                    <a:lnTo>
                      <a:pt x="6225032" y="693318"/>
                    </a:lnTo>
                    <a:lnTo>
                      <a:pt x="6225603" y="830192"/>
                    </a:lnTo>
                    <a:lnTo>
                      <a:pt x="6225603" y="898581"/>
                    </a:lnTo>
                    <a:lnTo>
                      <a:pt x="6225603" y="933633"/>
                    </a:lnTo>
                    <a:lnTo>
                      <a:pt x="6225603" y="969638"/>
                    </a:lnTo>
                    <a:lnTo>
                      <a:pt x="6224746" y="1041647"/>
                    </a:lnTo>
                    <a:lnTo>
                      <a:pt x="6222270" y="1113656"/>
                    </a:lnTo>
                    <a:cubicBezTo>
                      <a:pt x="6221222" y="1161281"/>
                      <a:pt x="6217316" y="1209573"/>
                      <a:pt x="6214650" y="1257483"/>
                    </a:cubicBezTo>
                    <a:cubicBezTo>
                      <a:pt x="6187941" y="1641751"/>
                      <a:pt x="6112827" y="2021122"/>
                      <a:pt x="5991098" y="2386577"/>
                    </a:cubicBezTo>
                    <a:cubicBezTo>
                      <a:pt x="5177415" y="4802641"/>
                      <a:pt x="2559183" y="6101622"/>
                      <a:pt x="143119" y="5287940"/>
                    </a:cubicBezTo>
                    <a:cubicBezTo>
                      <a:pt x="95418" y="5271871"/>
                      <a:pt x="47974" y="5255031"/>
                      <a:pt x="825" y="52374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347530ED-0591-4AFD-8DA1-257EBA2ED710}"/>
                  </a:ext>
                </a:extLst>
              </p:cNvPr>
              <p:cNvSpPr/>
              <p:nvPr/>
            </p:nvSpPr>
            <p:spPr>
              <a:xfrm>
                <a:off x="5068929" y="810321"/>
                <a:ext cx="6419278" cy="5644861"/>
              </a:xfrm>
              <a:custGeom>
                <a:avLst/>
                <a:gdLst>
                  <a:gd name="connsiteX0" fmla="*/ -128 w 6419278"/>
                  <a:gd name="connsiteY0" fmla="*/ 5336279 h 5644861"/>
                  <a:gd name="connsiteX1" fmla="*/ 873506 w 6419278"/>
                  <a:gd name="connsiteY1" fmla="*/ 5575071 h 5644861"/>
                  <a:gd name="connsiteX2" fmla="*/ 1338135 w 6419278"/>
                  <a:gd name="connsiteY2" fmla="*/ 5632221 h 5644861"/>
                  <a:gd name="connsiteX3" fmla="*/ 1813528 w 6419278"/>
                  <a:gd name="connsiteY3" fmla="*/ 5642889 h 5644861"/>
                  <a:gd name="connsiteX4" fmla="*/ 3700812 w 6419278"/>
                  <a:gd name="connsiteY4" fmla="*/ 5195214 h 5644861"/>
                  <a:gd name="connsiteX5" fmla="*/ 4540059 w 6419278"/>
                  <a:gd name="connsiteY5" fmla="*/ 4686484 h 5644861"/>
                  <a:gd name="connsiteX6" fmla="*/ 5794692 w 6419278"/>
                  <a:gd name="connsiteY6" fmla="*/ 3258305 h 5644861"/>
                  <a:gd name="connsiteX7" fmla="*/ 6165501 w 6419278"/>
                  <a:gd name="connsiteY7" fmla="*/ 2433154 h 5644861"/>
                  <a:gd name="connsiteX8" fmla="*/ 6321234 w 6419278"/>
                  <a:gd name="connsiteY8" fmla="*/ 1858130 h 5644861"/>
                  <a:gd name="connsiteX9" fmla="*/ 6403340 w 6419278"/>
                  <a:gd name="connsiteY9" fmla="*/ 1268532 h 5644861"/>
                  <a:gd name="connsiteX10" fmla="*/ 6412198 w 6419278"/>
                  <a:gd name="connsiteY10" fmla="*/ 1119942 h 5644861"/>
                  <a:gd name="connsiteX11" fmla="*/ 6415246 w 6419278"/>
                  <a:gd name="connsiteY11" fmla="*/ 1045647 h 5644861"/>
                  <a:gd name="connsiteX12" fmla="*/ 6416580 w 6419278"/>
                  <a:gd name="connsiteY12" fmla="*/ 971257 h 5644861"/>
                  <a:gd name="connsiteX13" fmla="*/ 6416484 w 6419278"/>
                  <a:gd name="connsiteY13" fmla="*/ 934205 h 5644861"/>
                  <a:gd name="connsiteX14" fmla="*/ 6416484 w 6419278"/>
                  <a:gd name="connsiteY14" fmla="*/ 898581 h 5644861"/>
                  <a:gd name="connsiteX15" fmla="*/ 6416484 w 6419278"/>
                  <a:gd name="connsiteY15" fmla="*/ 830192 h 5644861"/>
                  <a:gd name="connsiteX16" fmla="*/ 6416484 w 6419278"/>
                  <a:gd name="connsiteY16" fmla="*/ 693317 h 5644861"/>
                  <a:gd name="connsiteX17" fmla="*/ 6419152 w 6419278"/>
                  <a:gd name="connsiteY17" fmla="*/ 145916 h 5644861"/>
                  <a:gd name="connsiteX18" fmla="*/ 6389719 w 6419278"/>
                  <a:gd name="connsiteY18" fmla="*/ -293 h 5644861"/>
                  <a:gd name="connsiteX19" fmla="*/ 6360382 w 6419278"/>
                  <a:gd name="connsiteY19" fmla="*/ 145916 h 5644861"/>
                  <a:gd name="connsiteX20" fmla="*/ 6362954 w 6419278"/>
                  <a:gd name="connsiteY20" fmla="*/ 693317 h 5644861"/>
                  <a:gd name="connsiteX21" fmla="*/ 6363525 w 6419278"/>
                  <a:gd name="connsiteY21" fmla="*/ 830192 h 5644861"/>
                  <a:gd name="connsiteX22" fmla="*/ 6363525 w 6419278"/>
                  <a:gd name="connsiteY22" fmla="*/ 898581 h 5644861"/>
                  <a:gd name="connsiteX23" fmla="*/ 6363525 w 6419278"/>
                  <a:gd name="connsiteY23" fmla="*/ 915155 h 5644861"/>
                  <a:gd name="connsiteX24" fmla="*/ 6363525 w 6419278"/>
                  <a:gd name="connsiteY24" fmla="*/ 933443 h 5644861"/>
                  <a:gd name="connsiteX25" fmla="*/ 6363525 w 6419278"/>
                  <a:gd name="connsiteY25" fmla="*/ 970209 h 5644861"/>
                  <a:gd name="connsiteX26" fmla="*/ 6362668 w 6419278"/>
                  <a:gd name="connsiteY26" fmla="*/ 1043742 h 5644861"/>
                  <a:gd name="connsiteX27" fmla="*/ 6360192 w 6419278"/>
                  <a:gd name="connsiteY27" fmla="*/ 1117371 h 5644861"/>
                  <a:gd name="connsiteX28" fmla="*/ 6352381 w 6419278"/>
                  <a:gd name="connsiteY28" fmla="*/ 1264437 h 5644861"/>
                  <a:gd name="connsiteX29" fmla="*/ 6275800 w 6419278"/>
                  <a:gd name="connsiteY29" fmla="*/ 1848605 h 5644861"/>
                  <a:gd name="connsiteX30" fmla="*/ 6125019 w 6419278"/>
                  <a:gd name="connsiteY30" fmla="*/ 2418962 h 5644861"/>
                  <a:gd name="connsiteX31" fmla="*/ 145605 w 6419278"/>
                  <a:gd name="connsiteY31" fmla="*/ 5385161 h 5644861"/>
                  <a:gd name="connsiteX32" fmla="*/ 444 w 6419278"/>
                  <a:gd name="connsiteY32" fmla="*/ 5333612 h 5644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419278" h="5644861">
                    <a:moveTo>
                      <a:pt x="-128" y="5336279"/>
                    </a:moveTo>
                    <a:cubicBezTo>
                      <a:pt x="282775" y="5443636"/>
                      <a:pt x="575325" y="5523598"/>
                      <a:pt x="873506" y="5575071"/>
                    </a:cubicBezTo>
                    <a:cubicBezTo>
                      <a:pt x="1025906" y="5601360"/>
                      <a:pt x="1180782" y="5620410"/>
                      <a:pt x="1338135" y="5632221"/>
                    </a:cubicBezTo>
                    <a:cubicBezTo>
                      <a:pt x="1495107" y="5643651"/>
                      <a:pt x="1653889" y="5646985"/>
                      <a:pt x="1813528" y="5642889"/>
                    </a:cubicBezTo>
                    <a:cubicBezTo>
                      <a:pt x="2466829" y="5625915"/>
                      <a:pt x="3109490" y="5473477"/>
                      <a:pt x="3700812" y="5195214"/>
                    </a:cubicBezTo>
                    <a:cubicBezTo>
                      <a:pt x="3997553" y="5055396"/>
                      <a:pt x="4278836" y="4884889"/>
                      <a:pt x="4540059" y="4686484"/>
                    </a:cubicBezTo>
                    <a:cubicBezTo>
                      <a:pt x="5050475" y="4300093"/>
                      <a:pt x="5477281" y="3814251"/>
                      <a:pt x="5794692" y="3258305"/>
                    </a:cubicBezTo>
                    <a:cubicBezTo>
                      <a:pt x="5944425" y="2995758"/>
                      <a:pt x="6068603" y="2719438"/>
                      <a:pt x="6165501" y="2433154"/>
                    </a:cubicBezTo>
                    <a:cubicBezTo>
                      <a:pt x="6229270" y="2244892"/>
                      <a:pt x="6281277" y="2052840"/>
                      <a:pt x="6321234" y="1858130"/>
                    </a:cubicBezTo>
                    <a:cubicBezTo>
                      <a:pt x="6360668" y="1663467"/>
                      <a:pt x="6388081" y="1466566"/>
                      <a:pt x="6403340" y="1268532"/>
                    </a:cubicBezTo>
                    <a:cubicBezTo>
                      <a:pt x="6406388" y="1219002"/>
                      <a:pt x="6410674" y="1169567"/>
                      <a:pt x="6412198" y="1119942"/>
                    </a:cubicBezTo>
                    <a:lnTo>
                      <a:pt x="6415246" y="1045647"/>
                    </a:lnTo>
                    <a:lnTo>
                      <a:pt x="6416580" y="971257"/>
                    </a:lnTo>
                    <a:lnTo>
                      <a:pt x="6416484" y="934205"/>
                    </a:lnTo>
                    <a:lnTo>
                      <a:pt x="6416484" y="898581"/>
                    </a:lnTo>
                    <a:lnTo>
                      <a:pt x="6416484" y="830192"/>
                    </a:lnTo>
                    <a:lnTo>
                      <a:pt x="6416484" y="693317"/>
                    </a:lnTo>
                    <a:lnTo>
                      <a:pt x="6419152" y="145916"/>
                    </a:lnTo>
                    <a:cubicBezTo>
                      <a:pt x="6419152" y="66001"/>
                      <a:pt x="6401530" y="-293"/>
                      <a:pt x="6389719" y="-293"/>
                    </a:cubicBezTo>
                    <a:cubicBezTo>
                      <a:pt x="6377908" y="-293"/>
                      <a:pt x="6359906" y="66382"/>
                      <a:pt x="6360382" y="145916"/>
                    </a:cubicBezTo>
                    <a:lnTo>
                      <a:pt x="6362954" y="693317"/>
                    </a:lnTo>
                    <a:lnTo>
                      <a:pt x="6363525" y="830192"/>
                    </a:lnTo>
                    <a:lnTo>
                      <a:pt x="6363525" y="898581"/>
                    </a:lnTo>
                    <a:lnTo>
                      <a:pt x="6363525" y="915155"/>
                    </a:lnTo>
                    <a:lnTo>
                      <a:pt x="6363525" y="933443"/>
                    </a:lnTo>
                    <a:lnTo>
                      <a:pt x="6363525" y="970209"/>
                    </a:lnTo>
                    <a:lnTo>
                      <a:pt x="6362668" y="1043742"/>
                    </a:lnTo>
                    <a:lnTo>
                      <a:pt x="6360192" y="1117371"/>
                    </a:lnTo>
                    <a:cubicBezTo>
                      <a:pt x="6359048" y="1166424"/>
                      <a:pt x="6355048" y="1215383"/>
                      <a:pt x="6352381" y="1264437"/>
                    </a:cubicBezTo>
                    <a:cubicBezTo>
                      <a:pt x="6338903" y="1460547"/>
                      <a:pt x="6313328" y="1655647"/>
                      <a:pt x="6275800" y="1848605"/>
                    </a:cubicBezTo>
                    <a:cubicBezTo>
                      <a:pt x="6237424" y="2041667"/>
                      <a:pt x="6187065" y="2232158"/>
                      <a:pt x="6125019" y="2418962"/>
                    </a:cubicBezTo>
                    <a:cubicBezTo>
                      <a:pt x="5292944" y="4889223"/>
                      <a:pt x="2615866" y="6217237"/>
                      <a:pt x="145605" y="5385161"/>
                    </a:cubicBezTo>
                    <a:cubicBezTo>
                      <a:pt x="96942" y="5368769"/>
                      <a:pt x="48545" y="5351586"/>
                      <a:pt x="444" y="53336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A5D0DF7A-8AF5-46AA-8D29-55AE6665EBCD}"/>
                  </a:ext>
                </a:extLst>
              </p:cNvPr>
              <p:cNvSpPr/>
              <p:nvPr/>
            </p:nvSpPr>
            <p:spPr>
              <a:xfrm>
                <a:off x="5032543" y="809464"/>
                <a:ext cx="6559677" cy="5748641"/>
              </a:xfrm>
              <a:custGeom>
                <a:avLst/>
                <a:gdLst>
                  <a:gd name="connsiteX0" fmla="*/ -128 w 6559677"/>
                  <a:gd name="connsiteY0" fmla="*/ 5433625 h 5748641"/>
                  <a:gd name="connsiteX1" fmla="*/ 892651 w 6559677"/>
                  <a:gd name="connsiteY1" fmla="*/ 5677655 h 5748641"/>
                  <a:gd name="connsiteX2" fmla="*/ 1367377 w 6559677"/>
                  <a:gd name="connsiteY2" fmla="*/ 5735758 h 5748641"/>
                  <a:gd name="connsiteX3" fmla="*/ 1853152 w 6559677"/>
                  <a:gd name="connsiteY3" fmla="*/ 5746616 h 5748641"/>
                  <a:gd name="connsiteX4" fmla="*/ 3781583 w 6559677"/>
                  <a:gd name="connsiteY4" fmla="*/ 5289416 h 5748641"/>
                  <a:gd name="connsiteX5" fmla="*/ 4638833 w 6559677"/>
                  <a:gd name="connsiteY5" fmla="*/ 4769827 h 5748641"/>
                  <a:gd name="connsiteX6" fmla="*/ 5920803 w 6559677"/>
                  <a:gd name="connsiteY6" fmla="*/ 3309931 h 5748641"/>
                  <a:gd name="connsiteX7" fmla="*/ 6299708 w 6559677"/>
                  <a:gd name="connsiteY7" fmla="*/ 2466682 h 5748641"/>
                  <a:gd name="connsiteX8" fmla="*/ 6458394 w 6559677"/>
                  <a:gd name="connsiteY8" fmla="*/ 1879180 h 5748641"/>
                  <a:gd name="connsiteX9" fmla="*/ 6542310 w 6559677"/>
                  <a:gd name="connsiteY9" fmla="*/ 1276819 h 5748641"/>
                  <a:gd name="connsiteX10" fmla="*/ 6551263 w 6559677"/>
                  <a:gd name="connsiteY10" fmla="*/ 1124991 h 5748641"/>
                  <a:gd name="connsiteX11" fmla="*/ 6554406 w 6559677"/>
                  <a:gd name="connsiteY11" fmla="*/ 1048791 h 5748641"/>
                  <a:gd name="connsiteX12" fmla="*/ 6555835 w 6559677"/>
                  <a:gd name="connsiteY12" fmla="*/ 972591 h 5748641"/>
                  <a:gd name="connsiteX13" fmla="*/ 6556406 w 6559677"/>
                  <a:gd name="connsiteY13" fmla="*/ 934491 h 5748641"/>
                  <a:gd name="connsiteX14" fmla="*/ 6556406 w 6559677"/>
                  <a:gd name="connsiteY14" fmla="*/ 898582 h 5748641"/>
                  <a:gd name="connsiteX15" fmla="*/ 6556406 w 6559677"/>
                  <a:gd name="connsiteY15" fmla="*/ 830192 h 5748641"/>
                  <a:gd name="connsiteX16" fmla="*/ 6556978 w 6559677"/>
                  <a:gd name="connsiteY16" fmla="*/ 693318 h 5748641"/>
                  <a:gd name="connsiteX17" fmla="*/ 6559550 w 6559677"/>
                  <a:gd name="connsiteY17" fmla="*/ 145916 h 5748641"/>
                  <a:gd name="connsiteX18" fmla="*/ 6530213 w 6559677"/>
                  <a:gd name="connsiteY18" fmla="*/ -293 h 5748641"/>
                  <a:gd name="connsiteX19" fmla="*/ 6500781 w 6559677"/>
                  <a:gd name="connsiteY19" fmla="*/ 145916 h 5748641"/>
                  <a:gd name="connsiteX20" fmla="*/ 6503447 w 6559677"/>
                  <a:gd name="connsiteY20" fmla="*/ 693318 h 5748641"/>
                  <a:gd name="connsiteX21" fmla="*/ 6504019 w 6559677"/>
                  <a:gd name="connsiteY21" fmla="*/ 830192 h 5748641"/>
                  <a:gd name="connsiteX22" fmla="*/ 6504019 w 6559677"/>
                  <a:gd name="connsiteY22" fmla="*/ 898582 h 5748641"/>
                  <a:gd name="connsiteX23" fmla="*/ 6504019 w 6559677"/>
                  <a:gd name="connsiteY23" fmla="*/ 935062 h 5748641"/>
                  <a:gd name="connsiteX24" fmla="*/ 6504019 w 6559677"/>
                  <a:gd name="connsiteY24" fmla="*/ 972686 h 5748641"/>
                  <a:gd name="connsiteX25" fmla="*/ 6503162 w 6559677"/>
                  <a:gd name="connsiteY25" fmla="*/ 1047838 h 5748641"/>
                  <a:gd name="connsiteX26" fmla="*/ 6500590 w 6559677"/>
                  <a:gd name="connsiteY26" fmla="*/ 1122991 h 5748641"/>
                  <a:gd name="connsiteX27" fmla="*/ 6492589 w 6559677"/>
                  <a:gd name="connsiteY27" fmla="*/ 1273295 h 5748641"/>
                  <a:gd name="connsiteX28" fmla="*/ 6258846 w 6559677"/>
                  <a:gd name="connsiteY28" fmla="*/ 2453157 h 5748641"/>
                  <a:gd name="connsiteX29" fmla="*/ 148653 w 6559677"/>
                  <a:gd name="connsiteY29" fmla="*/ 5483402 h 5748641"/>
                  <a:gd name="connsiteX30" fmla="*/ 730 w 6559677"/>
                  <a:gd name="connsiteY30" fmla="*/ 5430862 h 5748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6559677" h="5748641">
                    <a:moveTo>
                      <a:pt x="-128" y="5433625"/>
                    </a:moveTo>
                    <a:cubicBezTo>
                      <a:pt x="288956" y="5543400"/>
                      <a:pt x="587927" y="5625115"/>
                      <a:pt x="892651" y="5677655"/>
                    </a:cubicBezTo>
                    <a:cubicBezTo>
                      <a:pt x="1048385" y="5704516"/>
                      <a:pt x="1206976" y="5724042"/>
                      <a:pt x="1367377" y="5735758"/>
                    </a:cubicBezTo>
                    <a:cubicBezTo>
                      <a:pt x="1527778" y="5747473"/>
                      <a:pt x="1689893" y="5750808"/>
                      <a:pt x="1853152" y="5746616"/>
                    </a:cubicBezTo>
                    <a:cubicBezTo>
                      <a:pt x="2520683" y="5729405"/>
                      <a:pt x="3177365" y="5573709"/>
                      <a:pt x="3781583" y="5289416"/>
                    </a:cubicBezTo>
                    <a:cubicBezTo>
                      <a:pt x="4084688" y="5146627"/>
                      <a:pt x="4372010" y="4972481"/>
                      <a:pt x="4638833" y="4769827"/>
                    </a:cubicBezTo>
                    <a:cubicBezTo>
                      <a:pt x="5160422" y="4374826"/>
                      <a:pt x="5596524" y="3878192"/>
                      <a:pt x="5920803" y="3309931"/>
                    </a:cubicBezTo>
                    <a:cubicBezTo>
                      <a:pt x="6073823" y="3041630"/>
                      <a:pt x="6200705" y="2759252"/>
                      <a:pt x="6299708" y="2466682"/>
                    </a:cubicBezTo>
                    <a:cubicBezTo>
                      <a:pt x="6364707" y="2274325"/>
                      <a:pt x="6417703" y="2078110"/>
                      <a:pt x="6458394" y="1879180"/>
                    </a:cubicBezTo>
                    <a:cubicBezTo>
                      <a:pt x="6498704" y="1680308"/>
                      <a:pt x="6526736" y="1479140"/>
                      <a:pt x="6542310" y="1276819"/>
                    </a:cubicBezTo>
                    <a:cubicBezTo>
                      <a:pt x="6545358" y="1226242"/>
                      <a:pt x="6549739" y="1175664"/>
                      <a:pt x="6551263" y="1124991"/>
                    </a:cubicBezTo>
                    <a:lnTo>
                      <a:pt x="6554406" y="1048791"/>
                    </a:lnTo>
                    <a:lnTo>
                      <a:pt x="6555835" y="972591"/>
                    </a:lnTo>
                    <a:lnTo>
                      <a:pt x="6556406" y="934491"/>
                    </a:lnTo>
                    <a:lnTo>
                      <a:pt x="6556406" y="898582"/>
                    </a:lnTo>
                    <a:lnTo>
                      <a:pt x="6556406" y="830192"/>
                    </a:lnTo>
                    <a:lnTo>
                      <a:pt x="6556978" y="693318"/>
                    </a:lnTo>
                    <a:lnTo>
                      <a:pt x="6559550" y="145916"/>
                    </a:lnTo>
                    <a:cubicBezTo>
                      <a:pt x="6559550" y="66001"/>
                      <a:pt x="6542024" y="-293"/>
                      <a:pt x="6530213" y="-293"/>
                    </a:cubicBezTo>
                    <a:cubicBezTo>
                      <a:pt x="6518402" y="-293"/>
                      <a:pt x="6500399" y="66382"/>
                      <a:pt x="6500781" y="145916"/>
                    </a:cubicBezTo>
                    <a:lnTo>
                      <a:pt x="6503447" y="693318"/>
                    </a:lnTo>
                    <a:lnTo>
                      <a:pt x="6504019" y="830192"/>
                    </a:lnTo>
                    <a:lnTo>
                      <a:pt x="6504019" y="898582"/>
                    </a:lnTo>
                    <a:lnTo>
                      <a:pt x="6504019" y="935062"/>
                    </a:lnTo>
                    <a:lnTo>
                      <a:pt x="6504019" y="972686"/>
                    </a:lnTo>
                    <a:lnTo>
                      <a:pt x="6503162" y="1047838"/>
                    </a:lnTo>
                    <a:lnTo>
                      <a:pt x="6500590" y="1122991"/>
                    </a:lnTo>
                    <a:cubicBezTo>
                      <a:pt x="6499447" y="1173187"/>
                      <a:pt x="6495351" y="1223194"/>
                      <a:pt x="6492589" y="1273295"/>
                    </a:cubicBezTo>
                    <a:cubicBezTo>
                      <a:pt x="6464691" y="1674860"/>
                      <a:pt x="6386156" y="2071290"/>
                      <a:pt x="6258846" y="2453157"/>
                    </a:cubicBezTo>
                    <a:cubicBezTo>
                      <a:pt x="5408339" y="4977215"/>
                      <a:pt x="2672711" y="6333909"/>
                      <a:pt x="148653" y="5483402"/>
                    </a:cubicBezTo>
                    <a:cubicBezTo>
                      <a:pt x="99066" y="5466696"/>
                      <a:pt x="49745" y="5449179"/>
                      <a:pt x="730" y="543086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EC7F2382-641D-4405-AC5E-07AF1AC70C5A}"/>
                  </a:ext>
                </a:extLst>
              </p:cNvPr>
              <p:cNvSpPr/>
              <p:nvPr/>
            </p:nvSpPr>
            <p:spPr>
              <a:xfrm>
                <a:off x="5360966" y="810130"/>
                <a:ext cx="5302662" cy="4820983"/>
              </a:xfrm>
              <a:custGeom>
                <a:avLst/>
                <a:gdLst>
                  <a:gd name="connsiteX0" fmla="*/ -128 w 5302662"/>
                  <a:gd name="connsiteY0" fmla="*/ 4564087 h 4820983"/>
                  <a:gd name="connsiteX1" fmla="*/ 4784756 w 5302662"/>
                  <a:gd name="connsiteY1" fmla="*/ 2850444 h 4820983"/>
                  <a:gd name="connsiteX2" fmla="*/ 5090985 w 5302662"/>
                  <a:gd name="connsiteY2" fmla="*/ 2169788 h 4820983"/>
                  <a:gd name="connsiteX3" fmla="*/ 5219573 w 5302662"/>
                  <a:gd name="connsiteY3" fmla="*/ 1695634 h 4820983"/>
                  <a:gd name="connsiteX4" fmla="*/ 5287771 w 5302662"/>
                  <a:gd name="connsiteY4" fmla="*/ 1208430 h 4820983"/>
                  <a:gd name="connsiteX5" fmla="*/ 5295106 w 5302662"/>
                  <a:gd name="connsiteY5" fmla="*/ 1085462 h 4820983"/>
                  <a:gd name="connsiteX6" fmla="*/ 5297678 w 5302662"/>
                  <a:gd name="connsiteY6" fmla="*/ 1023835 h 4820983"/>
                  <a:gd name="connsiteX7" fmla="*/ 5298821 w 5302662"/>
                  <a:gd name="connsiteY7" fmla="*/ 962209 h 4820983"/>
                  <a:gd name="connsiteX8" fmla="*/ 5299392 w 5302662"/>
                  <a:gd name="connsiteY8" fmla="*/ 931347 h 4820983"/>
                  <a:gd name="connsiteX9" fmla="*/ 5299392 w 5302662"/>
                  <a:gd name="connsiteY9" fmla="*/ 915727 h 4820983"/>
                  <a:gd name="connsiteX10" fmla="*/ 5299392 w 5302662"/>
                  <a:gd name="connsiteY10" fmla="*/ 898581 h 4820983"/>
                  <a:gd name="connsiteX11" fmla="*/ 5299392 w 5302662"/>
                  <a:gd name="connsiteY11" fmla="*/ 830192 h 4820983"/>
                  <a:gd name="connsiteX12" fmla="*/ 5299964 w 5302662"/>
                  <a:gd name="connsiteY12" fmla="*/ 693318 h 4820983"/>
                  <a:gd name="connsiteX13" fmla="*/ 5302536 w 5302662"/>
                  <a:gd name="connsiteY13" fmla="*/ 145916 h 4820983"/>
                  <a:gd name="connsiteX14" fmla="*/ 5273199 w 5302662"/>
                  <a:gd name="connsiteY14" fmla="*/ -293 h 4820983"/>
                  <a:gd name="connsiteX15" fmla="*/ 5243861 w 5302662"/>
                  <a:gd name="connsiteY15" fmla="*/ 145916 h 4820983"/>
                  <a:gd name="connsiteX16" fmla="*/ 5246433 w 5302662"/>
                  <a:gd name="connsiteY16" fmla="*/ 693318 h 4820983"/>
                  <a:gd name="connsiteX17" fmla="*/ 5247005 w 5302662"/>
                  <a:gd name="connsiteY17" fmla="*/ 830192 h 4820983"/>
                  <a:gd name="connsiteX18" fmla="*/ 5247005 w 5302662"/>
                  <a:gd name="connsiteY18" fmla="*/ 898581 h 4820983"/>
                  <a:gd name="connsiteX19" fmla="*/ 5247005 w 5302662"/>
                  <a:gd name="connsiteY19" fmla="*/ 931157 h 4820983"/>
                  <a:gd name="connsiteX20" fmla="*/ 5247005 w 5302662"/>
                  <a:gd name="connsiteY20" fmla="*/ 961637 h 4820983"/>
                  <a:gd name="connsiteX21" fmla="*/ 5246433 w 5302662"/>
                  <a:gd name="connsiteY21" fmla="*/ 1022502 h 4820983"/>
                  <a:gd name="connsiteX22" fmla="*/ 5244337 w 5302662"/>
                  <a:gd name="connsiteY22" fmla="*/ 1083367 h 4820983"/>
                  <a:gd name="connsiteX23" fmla="*/ 5238051 w 5302662"/>
                  <a:gd name="connsiteY23" fmla="*/ 1204905 h 4820983"/>
                  <a:gd name="connsiteX24" fmla="*/ 5050218 w 5302662"/>
                  <a:gd name="connsiteY24" fmla="*/ 2156167 h 4820983"/>
                  <a:gd name="connsiteX25" fmla="*/ 117573 w 5302662"/>
                  <a:gd name="connsiteY25" fmla="*/ 4603245 h 4820983"/>
                  <a:gd name="connsiteX26" fmla="*/ 444 w 5302662"/>
                  <a:gd name="connsiteY26" fmla="*/ 4561706 h 4820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302662" h="4820983">
                    <a:moveTo>
                      <a:pt x="-128" y="4564087"/>
                    </a:moveTo>
                    <a:cubicBezTo>
                      <a:pt x="1799202" y="5249601"/>
                      <a:pt x="3829723" y="4522396"/>
                      <a:pt x="4784756" y="2850444"/>
                    </a:cubicBezTo>
                    <a:cubicBezTo>
                      <a:pt x="4908505" y="2633951"/>
                      <a:pt x="5011061" y="2406008"/>
                      <a:pt x="5090985" y="2169788"/>
                    </a:cubicBezTo>
                    <a:cubicBezTo>
                      <a:pt x="5143592" y="2014540"/>
                      <a:pt x="5186531" y="1856187"/>
                      <a:pt x="5219573" y="1695634"/>
                    </a:cubicBezTo>
                    <a:cubicBezTo>
                      <a:pt x="5252263" y="1534785"/>
                      <a:pt x="5275037" y="1372079"/>
                      <a:pt x="5287771" y="1208430"/>
                    </a:cubicBezTo>
                    <a:cubicBezTo>
                      <a:pt x="5290153" y="1167472"/>
                      <a:pt x="5293963" y="1126515"/>
                      <a:pt x="5295106" y="1085462"/>
                    </a:cubicBezTo>
                    <a:lnTo>
                      <a:pt x="5297678" y="1023835"/>
                    </a:lnTo>
                    <a:lnTo>
                      <a:pt x="5298821" y="962209"/>
                    </a:lnTo>
                    <a:lnTo>
                      <a:pt x="5299392" y="931347"/>
                    </a:lnTo>
                    <a:lnTo>
                      <a:pt x="5299392" y="915727"/>
                    </a:lnTo>
                    <a:lnTo>
                      <a:pt x="5299392" y="898581"/>
                    </a:lnTo>
                    <a:lnTo>
                      <a:pt x="5299392" y="830192"/>
                    </a:lnTo>
                    <a:lnTo>
                      <a:pt x="5299964" y="693318"/>
                    </a:lnTo>
                    <a:lnTo>
                      <a:pt x="5302536" y="145916"/>
                    </a:lnTo>
                    <a:cubicBezTo>
                      <a:pt x="5302536" y="66001"/>
                      <a:pt x="5285009" y="-293"/>
                      <a:pt x="5273199" y="-293"/>
                    </a:cubicBezTo>
                    <a:cubicBezTo>
                      <a:pt x="5261388" y="-293"/>
                      <a:pt x="5243385" y="66382"/>
                      <a:pt x="5243861" y="145916"/>
                    </a:cubicBezTo>
                    <a:lnTo>
                      <a:pt x="5246433" y="693318"/>
                    </a:lnTo>
                    <a:lnTo>
                      <a:pt x="5247005" y="830192"/>
                    </a:lnTo>
                    <a:lnTo>
                      <a:pt x="5247005" y="898581"/>
                    </a:lnTo>
                    <a:lnTo>
                      <a:pt x="5247005" y="931157"/>
                    </a:lnTo>
                    <a:lnTo>
                      <a:pt x="5247005" y="961637"/>
                    </a:lnTo>
                    <a:lnTo>
                      <a:pt x="5246433" y="1022502"/>
                    </a:lnTo>
                    <a:lnTo>
                      <a:pt x="5244337" y="1083367"/>
                    </a:lnTo>
                    <a:cubicBezTo>
                      <a:pt x="5243481" y="1123943"/>
                      <a:pt x="5240052" y="1164329"/>
                      <a:pt x="5238051" y="1204905"/>
                    </a:cubicBezTo>
                    <a:cubicBezTo>
                      <a:pt x="5215725" y="1528632"/>
                      <a:pt x="5152612" y="1848252"/>
                      <a:pt x="5050218" y="2156167"/>
                    </a:cubicBezTo>
                    <a:cubicBezTo>
                      <a:pt x="4363846" y="4194022"/>
                      <a:pt x="2155428" y="5289616"/>
                      <a:pt x="117573" y="4603245"/>
                    </a:cubicBezTo>
                    <a:cubicBezTo>
                      <a:pt x="78311" y="4590024"/>
                      <a:pt x="39258" y="4576175"/>
                      <a:pt x="444" y="456170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63FE957F-2CB8-409A-9268-289D82524134}"/>
                  </a:ext>
                </a:extLst>
              </p:cNvPr>
              <p:cNvSpPr/>
              <p:nvPr/>
            </p:nvSpPr>
            <p:spPr>
              <a:xfrm>
                <a:off x="5324199" y="810130"/>
                <a:ext cx="5441917" cy="4922572"/>
              </a:xfrm>
              <a:custGeom>
                <a:avLst/>
                <a:gdLst>
                  <a:gd name="connsiteX0" fmla="*/ -128 w 5441917"/>
                  <a:gd name="connsiteY0" fmla="*/ 4660671 h 4922572"/>
                  <a:gd name="connsiteX1" fmla="*/ 739013 w 5441917"/>
                  <a:gd name="connsiteY1" fmla="*/ 4863077 h 4922572"/>
                  <a:gd name="connsiteX2" fmla="*/ 1132776 w 5441917"/>
                  <a:gd name="connsiteY2" fmla="*/ 4911464 h 4922572"/>
                  <a:gd name="connsiteX3" fmla="*/ 1536731 w 5441917"/>
                  <a:gd name="connsiteY3" fmla="*/ 4920989 h 4922572"/>
                  <a:gd name="connsiteX4" fmla="*/ 5225574 w 5441917"/>
                  <a:gd name="connsiteY4" fmla="*/ 2202744 h 4922572"/>
                  <a:gd name="connsiteX5" fmla="*/ 5357399 w 5441917"/>
                  <a:gd name="connsiteY5" fmla="*/ 1716017 h 4922572"/>
                  <a:gd name="connsiteX6" fmla="*/ 5427218 w 5441917"/>
                  <a:gd name="connsiteY6" fmla="*/ 1215954 h 4922572"/>
                  <a:gd name="connsiteX7" fmla="*/ 5434838 w 5441917"/>
                  <a:gd name="connsiteY7" fmla="*/ 1089748 h 4922572"/>
                  <a:gd name="connsiteX8" fmla="*/ 5437505 w 5441917"/>
                  <a:gd name="connsiteY8" fmla="*/ 1026597 h 4922572"/>
                  <a:gd name="connsiteX9" fmla="*/ 5438648 w 5441917"/>
                  <a:gd name="connsiteY9" fmla="*/ 963352 h 4922572"/>
                  <a:gd name="connsiteX10" fmla="*/ 5439124 w 5441917"/>
                  <a:gd name="connsiteY10" fmla="*/ 931728 h 4922572"/>
                  <a:gd name="connsiteX11" fmla="*/ 5439124 w 5441917"/>
                  <a:gd name="connsiteY11" fmla="*/ 915727 h 4922572"/>
                  <a:gd name="connsiteX12" fmla="*/ 5439124 w 5441917"/>
                  <a:gd name="connsiteY12" fmla="*/ 898581 h 4922572"/>
                  <a:gd name="connsiteX13" fmla="*/ 5439124 w 5441917"/>
                  <a:gd name="connsiteY13" fmla="*/ 830192 h 4922572"/>
                  <a:gd name="connsiteX14" fmla="*/ 5439124 w 5441917"/>
                  <a:gd name="connsiteY14" fmla="*/ 693318 h 4922572"/>
                  <a:gd name="connsiteX15" fmla="*/ 5441791 w 5441917"/>
                  <a:gd name="connsiteY15" fmla="*/ 145916 h 4922572"/>
                  <a:gd name="connsiteX16" fmla="*/ 5412359 w 5441917"/>
                  <a:gd name="connsiteY16" fmla="*/ -293 h 4922572"/>
                  <a:gd name="connsiteX17" fmla="*/ 5383022 w 5441917"/>
                  <a:gd name="connsiteY17" fmla="*/ 145916 h 4922572"/>
                  <a:gd name="connsiteX18" fmla="*/ 5385594 w 5441917"/>
                  <a:gd name="connsiteY18" fmla="*/ 693318 h 4922572"/>
                  <a:gd name="connsiteX19" fmla="*/ 5386165 w 5441917"/>
                  <a:gd name="connsiteY19" fmla="*/ 830192 h 4922572"/>
                  <a:gd name="connsiteX20" fmla="*/ 5386165 w 5441917"/>
                  <a:gd name="connsiteY20" fmla="*/ 898581 h 4922572"/>
                  <a:gd name="connsiteX21" fmla="*/ 5386165 w 5441917"/>
                  <a:gd name="connsiteY21" fmla="*/ 915345 h 4922572"/>
                  <a:gd name="connsiteX22" fmla="*/ 5386165 w 5441917"/>
                  <a:gd name="connsiteY22" fmla="*/ 931157 h 4922572"/>
                  <a:gd name="connsiteX23" fmla="*/ 5386165 w 5441917"/>
                  <a:gd name="connsiteY23" fmla="*/ 962399 h 4922572"/>
                  <a:gd name="connsiteX24" fmla="*/ 5385498 w 5441917"/>
                  <a:gd name="connsiteY24" fmla="*/ 1024883 h 4922572"/>
                  <a:gd name="connsiteX25" fmla="*/ 5383308 w 5441917"/>
                  <a:gd name="connsiteY25" fmla="*/ 1087272 h 4922572"/>
                  <a:gd name="connsiteX26" fmla="*/ 5376831 w 5441917"/>
                  <a:gd name="connsiteY26" fmla="*/ 1212049 h 4922572"/>
                  <a:gd name="connsiteX27" fmla="*/ 5183949 w 5441917"/>
                  <a:gd name="connsiteY27" fmla="*/ 2188743 h 4922572"/>
                  <a:gd name="connsiteX28" fmla="*/ 119468 w 5441917"/>
                  <a:gd name="connsiteY28" fmla="*/ 4700771 h 4922572"/>
                  <a:gd name="connsiteX29" fmla="*/ 730 w 5441917"/>
                  <a:gd name="connsiteY29" fmla="*/ 4658671 h 4922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5441917" h="4922572">
                    <a:moveTo>
                      <a:pt x="-128" y="4660671"/>
                    </a:moveTo>
                    <a:cubicBezTo>
                      <a:pt x="239217" y="4751616"/>
                      <a:pt x="486724" y="4819396"/>
                      <a:pt x="739013" y="4863077"/>
                    </a:cubicBezTo>
                    <a:cubicBezTo>
                      <a:pt x="868076" y="4885366"/>
                      <a:pt x="999617" y="4901177"/>
                      <a:pt x="1132776" y="4911464"/>
                    </a:cubicBezTo>
                    <a:cubicBezTo>
                      <a:pt x="1265936" y="4921751"/>
                      <a:pt x="1401095" y="4924132"/>
                      <a:pt x="1536731" y="4920989"/>
                    </a:cubicBezTo>
                    <a:cubicBezTo>
                      <a:pt x="3214379" y="4877155"/>
                      <a:pt x="4686830" y="3792134"/>
                      <a:pt x="5225574" y="2202744"/>
                    </a:cubicBezTo>
                    <a:cubicBezTo>
                      <a:pt x="5279533" y="2043382"/>
                      <a:pt x="5323557" y="1880828"/>
                      <a:pt x="5357399" y="1716017"/>
                    </a:cubicBezTo>
                    <a:cubicBezTo>
                      <a:pt x="5390861" y="1550911"/>
                      <a:pt x="5414178" y="1383909"/>
                      <a:pt x="5427218" y="1215954"/>
                    </a:cubicBezTo>
                    <a:cubicBezTo>
                      <a:pt x="5429694" y="1173949"/>
                      <a:pt x="5433599" y="1131944"/>
                      <a:pt x="5434838" y="1089748"/>
                    </a:cubicBezTo>
                    <a:lnTo>
                      <a:pt x="5437505" y="1026597"/>
                    </a:lnTo>
                    <a:lnTo>
                      <a:pt x="5438648" y="963352"/>
                    </a:lnTo>
                    <a:lnTo>
                      <a:pt x="5439124" y="931728"/>
                    </a:lnTo>
                    <a:lnTo>
                      <a:pt x="5439124" y="915727"/>
                    </a:lnTo>
                    <a:lnTo>
                      <a:pt x="5439124" y="898581"/>
                    </a:lnTo>
                    <a:lnTo>
                      <a:pt x="5439124" y="830192"/>
                    </a:lnTo>
                    <a:lnTo>
                      <a:pt x="5439124" y="693318"/>
                    </a:lnTo>
                    <a:lnTo>
                      <a:pt x="5441791" y="145916"/>
                    </a:lnTo>
                    <a:cubicBezTo>
                      <a:pt x="5441791" y="66001"/>
                      <a:pt x="5424170" y="-293"/>
                      <a:pt x="5412359" y="-293"/>
                    </a:cubicBezTo>
                    <a:cubicBezTo>
                      <a:pt x="5400548" y="-293"/>
                      <a:pt x="5382545" y="66382"/>
                      <a:pt x="5383022" y="145916"/>
                    </a:cubicBezTo>
                    <a:lnTo>
                      <a:pt x="5385594" y="693318"/>
                    </a:lnTo>
                    <a:lnTo>
                      <a:pt x="5386165" y="830192"/>
                    </a:lnTo>
                    <a:lnTo>
                      <a:pt x="5386165" y="898581"/>
                    </a:lnTo>
                    <a:lnTo>
                      <a:pt x="5386165" y="915345"/>
                    </a:lnTo>
                    <a:lnTo>
                      <a:pt x="5386165" y="931157"/>
                    </a:lnTo>
                    <a:lnTo>
                      <a:pt x="5386165" y="962399"/>
                    </a:lnTo>
                    <a:lnTo>
                      <a:pt x="5385498" y="1024883"/>
                    </a:lnTo>
                    <a:lnTo>
                      <a:pt x="5383308" y="1087272"/>
                    </a:lnTo>
                    <a:cubicBezTo>
                      <a:pt x="5382545" y="1128991"/>
                      <a:pt x="5379021" y="1170425"/>
                      <a:pt x="5376831" y="1212049"/>
                    </a:cubicBezTo>
                    <a:cubicBezTo>
                      <a:pt x="5353904" y="1544434"/>
                      <a:pt x="5289096" y="1872598"/>
                      <a:pt x="5183949" y="2188743"/>
                    </a:cubicBezTo>
                    <a:cubicBezTo>
                      <a:pt x="4479109" y="4280938"/>
                      <a:pt x="2211663" y="5405612"/>
                      <a:pt x="119468" y="4700771"/>
                    </a:cubicBezTo>
                    <a:cubicBezTo>
                      <a:pt x="79673" y="4687360"/>
                      <a:pt x="40087" y="4673330"/>
                      <a:pt x="730" y="465867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AA759479-843C-45DD-AADF-F8CEF4187B96}"/>
                  </a:ext>
                </a:extLst>
              </p:cNvPr>
              <p:cNvSpPr/>
              <p:nvPr/>
            </p:nvSpPr>
            <p:spPr>
              <a:xfrm>
                <a:off x="5287718" y="810130"/>
                <a:ext cx="5581754" cy="5025616"/>
              </a:xfrm>
              <a:custGeom>
                <a:avLst/>
                <a:gdLst>
                  <a:gd name="connsiteX0" fmla="*/ -128 w 5581754"/>
                  <a:gd name="connsiteY0" fmla="*/ 4757159 h 5025616"/>
                  <a:gd name="connsiteX1" fmla="*/ 758253 w 5581754"/>
                  <a:gd name="connsiteY1" fmla="*/ 4964804 h 5025616"/>
                  <a:gd name="connsiteX2" fmla="*/ 1162113 w 5581754"/>
                  <a:gd name="connsiteY2" fmla="*/ 5014429 h 5025616"/>
                  <a:gd name="connsiteX3" fmla="*/ 1576260 w 5581754"/>
                  <a:gd name="connsiteY3" fmla="*/ 5023954 h 5025616"/>
                  <a:gd name="connsiteX4" fmla="*/ 5359495 w 5581754"/>
                  <a:gd name="connsiteY4" fmla="*/ 2235606 h 5025616"/>
                  <a:gd name="connsiteX5" fmla="*/ 5494655 w 5581754"/>
                  <a:gd name="connsiteY5" fmla="*/ 1736305 h 5025616"/>
                  <a:gd name="connsiteX6" fmla="*/ 5566283 w 5581754"/>
                  <a:gd name="connsiteY6" fmla="*/ 1223479 h 5025616"/>
                  <a:gd name="connsiteX7" fmla="*/ 5573998 w 5581754"/>
                  <a:gd name="connsiteY7" fmla="*/ 1094130 h 5025616"/>
                  <a:gd name="connsiteX8" fmla="*/ 5576760 w 5581754"/>
                  <a:gd name="connsiteY8" fmla="*/ 1029360 h 5025616"/>
                  <a:gd name="connsiteX9" fmla="*/ 5577903 w 5581754"/>
                  <a:gd name="connsiteY9" fmla="*/ 964494 h 5025616"/>
                  <a:gd name="connsiteX10" fmla="*/ 5578475 w 5581754"/>
                  <a:gd name="connsiteY10" fmla="*/ 932014 h 5025616"/>
                  <a:gd name="connsiteX11" fmla="*/ 5578475 w 5581754"/>
                  <a:gd name="connsiteY11" fmla="*/ 915727 h 5025616"/>
                  <a:gd name="connsiteX12" fmla="*/ 5578475 w 5581754"/>
                  <a:gd name="connsiteY12" fmla="*/ 898581 h 5025616"/>
                  <a:gd name="connsiteX13" fmla="*/ 5578475 w 5581754"/>
                  <a:gd name="connsiteY13" fmla="*/ 830192 h 5025616"/>
                  <a:gd name="connsiteX14" fmla="*/ 5579046 w 5581754"/>
                  <a:gd name="connsiteY14" fmla="*/ 693318 h 5025616"/>
                  <a:gd name="connsiteX15" fmla="*/ 5581618 w 5581754"/>
                  <a:gd name="connsiteY15" fmla="*/ 145916 h 5025616"/>
                  <a:gd name="connsiteX16" fmla="*/ 5552281 w 5581754"/>
                  <a:gd name="connsiteY16" fmla="*/ -293 h 5025616"/>
                  <a:gd name="connsiteX17" fmla="*/ 5522849 w 5581754"/>
                  <a:gd name="connsiteY17" fmla="*/ 145916 h 5025616"/>
                  <a:gd name="connsiteX18" fmla="*/ 5525516 w 5581754"/>
                  <a:gd name="connsiteY18" fmla="*/ 693318 h 5025616"/>
                  <a:gd name="connsiteX19" fmla="*/ 5526087 w 5581754"/>
                  <a:gd name="connsiteY19" fmla="*/ 830192 h 5025616"/>
                  <a:gd name="connsiteX20" fmla="*/ 5526087 w 5581754"/>
                  <a:gd name="connsiteY20" fmla="*/ 898581 h 5025616"/>
                  <a:gd name="connsiteX21" fmla="*/ 5526087 w 5581754"/>
                  <a:gd name="connsiteY21" fmla="*/ 931824 h 5025616"/>
                  <a:gd name="connsiteX22" fmla="*/ 5526087 w 5581754"/>
                  <a:gd name="connsiteY22" fmla="*/ 963923 h 5025616"/>
                  <a:gd name="connsiteX23" fmla="*/ 5525420 w 5581754"/>
                  <a:gd name="connsiteY23" fmla="*/ 1027931 h 5025616"/>
                  <a:gd name="connsiteX24" fmla="*/ 5523230 w 5581754"/>
                  <a:gd name="connsiteY24" fmla="*/ 1092034 h 5025616"/>
                  <a:gd name="connsiteX25" fmla="*/ 5516562 w 5581754"/>
                  <a:gd name="connsiteY25" fmla="*/ 1219955 h 5025616"/>
                  <a:gd name="connsiteX26" fmla="*/ 5318538 w 5581754"/>
                  <a:gd name="connsiteY26" fmla="*/ 2221985 h 5025616"/>
                  <a:gd name="connsiteX27" fmla="*/ 123745 w 5581754"/>
                  <a:gd name="connsiteY27" fmla="*/ 4798384 h 5025616"/>
                  <a:gd name="connsiteX28" fmla="*/ 825 w 5581754"/>
                  <a:gd name="connsiteY28" fmla="*/ 4754778 h 5025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581754" h="5025616">
                    <a:moveTo>
                      <a:pt x="-128" y="4757159"/>
                    </a:moveTo>
                    <a:cubicBezTo>
                      <a:pt x="245427" y="4850504"/>
                      <a:pt x="499392" y="4920037"/>
                      <a:pt x="758253" y="4964804"/>
                    </a:cubicBezTo>
                    <a:cubicBezTo>
                      <a:pt x="890651" y="4987664"/>
                      <a:pt x="1025524" y="5004428"/>
                      <a:pt x="1162113" y="5014429"/>
                    </a:cubicBezTo>
                    <a:cubicBezTo>
                      <a:pt x="1298702" y="5024431"/>
                      <a:pt x="1437195" y="5027384"/>
                      <a:pt x="1576260" y="5023954"/>
                    </a:cubicBezTo>
                    <a:cubicBezTo>
                      <a:pt x="3296904" y="4978701"/>
                      <a:pt x="4806960" y="3865743"/>
                      <a:pt x="5359495" y="2235606"/>
                    </a:cubicBezTo>
                    <a:cubicBezTo>
                      <a:pt x="5414807" y="2072119"/>
                      <a:pt x="5459946" y="1905364"/>
                      <a:pt x="5494655" y="1736305"/>
                    </a:cubicBezTo>
                    <a:cubicBezTo>
                      <a:pt x="5528964" y="1566979"/>
                      <a:pt x="5552881" y="1395720"/>
                      <a:pt x="5566283" y="1223479"/>
                    </a:cubicBezTo>
                    <a:cubicBezTo>
                      <a:pt x="5568854" y="1180331"/>
                      <a:pt x="5572760" y="1137278"/>
                      <a:pt x="5573998" y="1094130"/>
                    </a:cubicBezTo>
                    <a:lnTo>
                      <a:pt x="5576760" y="1029360"/>
                    </a:lnTo>
                    <a:lnTo>
                      <a:pt x="5577903" y="964494"/>
                    </a:lnTo>
                    <a:lnTo>
                      <a:pt x="5578475" y="932014"/>
                    </a:lnTo>
                    <a:lnTo>
                      <a:pt x="5578475" y="915727"/>
                    </a:lnTo>
                    <a:lnTo>
                      <a:pt x="5578475" y="898581"/>
                    </a:lnTo>
                    <a:lnTo>
                      <a:pt x="5578475" y="830192"/>
                    </a:lnTo>
                    <a:lnTo>
                      <a:pt x="5579046" y="693318"/>
                    </a:lnTo>
                    <a:lnTo>
                      <a:pt x="5581618" y="145916"/>
                    </a:lnTo>
                    <a:cubicBezTo>
                      <a:pt x="5582094" y="66001"/>
                      <a:pt x="5564092" y="-293"/>
                      <a:pt x="5552281" y="-293"/>
                    </a:cubicBezTo>
                    <a:cubicBezTo>
                      <a:pt x="5540470" y="-293"/>
                      <a:pt x="5522468" y="66382"/>
                      <a:pt x="5522849" y="145916"/>
                    </a:cubicBezTo>
                    <a:lnTo>
                      <a:pt x="5525516" y="693318"/>
                    </a:lnTo>
                    <a:lnTo>
                      <a:pt x="5526087" y="830192"/>
                    </a:lnTo>
                    <a:lnTo>
                      <a:pt x="5526087" y="898581"/>
                    </a:lnTo>
                    <a:lnTo>
                      <a:pt x="5526087" y="931824"/>
                    </a:lnTo>
                    <a:lnTo>
                      <a:pt x="5526087" y="963923"/>
                    </a:lnTo>
                    <a:lnTo>
                      <a:pt x="5525420" y="1027931"/>
                    </a:lnTo>
                    <a:lnTo>
                      <a:pt x="5523230" y="1092034"/>
                    </a:lnTo>
                    <a:cubicBezTo>
                      <a:pt x="5522372" y="1134706"/>
                      <a:pt x="5518753" y="1177283"/>
                      <a:pt x="5516562" y="1219955"/>
                    </a:cubicBezTo>
                    <a:cubicBezTo>
                      <a:pt x="5492921" y="1560960"/>
                      <a:pt x="5426389" y="1897621"/>
                      <a:pt x="5318538" y="2221985"/>
                    </a:cubicBezTo>
                    <a:cubicBezTo>
                      <a:pt x="4595485" y="4367939"/>
                      <a:pt x="2269699" y="5521435"/>
                      <a:pt x="123745" y="4798384"/>
                    </a:cubicBezTo>
                    <a:cubicBezTo>
                      <a:pt x="82540" y="4784496"/>
                      <a:pt x="41563" y="4769961"/>
                      <a:pt x="825" y="475477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5848086D-4520-474D-B7A3-DCCF4139E507}"/>
                  </a:ext>
                </a:extLst>
              </p:cNvPr>
              <p:cNvSpPr/>
              <p:nvPr/>
            </p:nvSpPr>
            <p:spPr>
              <a:xfrm>
                <a:off x="5251237" y="809464"/>
                <a:ext cx="5722429" cy="5129417"/>
              </a:xfrm>
              <a:custGeom>
                <a:avLst/>
                <a:gdLst>
                  <a:gd name="connsiteX0" fmla="*/ -128 w 5722429"/>
                  <a:gd name="connsiteY0" fmla="*/ 4854409 h 5129417"/>
                  <a:gd name="connsiteX1" fmla="*/ 777494 w 5722429"/>
                  <a:gd name="connsiteY1" fmla="*/ 5067198 h 5129417"/>
                  <a:gd name="connsiteX2" fmla="*/ 1191450 w 5722429"/>
                  <a:gd name="connsiteY2" fmla="*/ 5118061 h 5129417"/>
                  <a:gd name="connsiteX3" fmla="*/ 1615884 w 5722429"/>
                  <a:gd name="connsiteY3" fmla="*/ 5127586 h 5129417"/>
                  <a:gd name="connsiteX4" fmla="*/ 5494178 w 5722429"/>
                  <a:gd name="connsiteY4" fmla="*/ 2269134 h 5129417"/>
                  <a:gd name="connsiteX5" fmla="*/ 5706014 w 5722429"/>
                  <a:gd name="connsiteY5" fmla="*/ 1231576 h 5129417"/>
                  <a:gd name="connsiteX6" fmla="*/ 5713920 w 5722429"/>
                  <a:gd name="connsiteY6" fmla="*/ 1098987 h 5129417"/>
                  <a:gd name="connsiteX7" fmla="*/ 5716778 w 5722429"/>
                  <a:gd name="connsiteY7" fmla="*/ 1032312 h 5129417"/>
                  <a:gd name="connsiteX8" fmla="*/ 5717921 w 5722429"/>
                  <a:gd name="connsiteY8" fmla="*/ 965637 h 5129417"/>
                  <a:gd name="connsiteX9" fmla="*/ 5719064 w 5722429"/>
                  <a:gd name="connsiteY9" fmla="*/ 830192 h 5129417"/>
                  <a:gd name="connsiteX10" fmla="*/ 5719635 w 5722429"/>
                  <a:gd name="connsiteY10" fmla="*/ 693318 h 5129417"/>
                  <a:gd name="connsiteX11" fmla="*/ 5722302 w 5722429"/>
                  <a:gd name="connsiteY11" fmla="*/ 145916 h 5129417"/>
                  <a:gd name="connsiteX12" fmla="*/ 5692870 w 5722429"/>
                  <a:gd name="connsiteY12" fmla="*/ -293 h 5129417"/>
                  <a:gd name="connsiteX13" fmla="*/ 5663533 w 5722429"/>
                  <a:gd name="connsiteY13" fmla="*/ 145916 h 5129417"/>
                  <a:gd name="connsiteX14" fmla="*/ 5666105 w 5722429"/>
                  <a:gd name="connsiteY14" fmla="*/ 693318 h 5129417"/>
                  <a:gd name="connsiteX15" fmla="*/ 5666676 w 5722429"/>
                  <a:gd name="connsiteY15" fmla="*/ 830192 h 5129417"/>
                  <a:gd name="connsiteX16" fmla="*/ 5666676 w 5722429"/>
                  <a:gd name="connsiteY16" fmla="*/ 965066 h 5129417"/>
                  <a:gd name="connsiteX17" fmla="*/ 5666009 w 5722429"/>
                  <a:gd name="connsiteY17" fmla="*/ 1030693 h 5129417"/>
                  <a:gd name="connsiteX18" fmla="*/ 5663628 w 5722429"/>
                  <a:gd name="connsiteY18" fmla="*/ 1096987 h 5129417"/>
                  <a:gd name="connsiteX19" fmla="*/ 5656770 w 5722429"/>
                  <a:gd name="connsiteY19" fmla="*/ 1228051 h 5129417"/>
                  <a:gd name="connsiteX20" fmla="*/ 5453697 w 5722429"/>
                  <a:gd name="connsiteY20" fmla="*/ 2255609 h 5129417"/>
                  <a:gd name="connsiteX21" fmla="*/ 128641 w 5722429"/>
                  <a:gd name="connsiteY21" fmla="*/ 4897386 h 5129417"/>
                  <a:gd name="connsiteX22" fmla="*/ 825 w 5722429"/>
                  <a:gd name="connsiteY22" fmla="*/ 4852028 h 5129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722429" h="5129417">
                    <a:moveTo>
                      <a:pt x="-128" y="4854409"/>
                    </a:moveTo>
                    <a:cubicBezTo>
                      <a:pt x="251685" y="4950031"/>
                      <a:pt x="512079" y="5021287"/>
                      <a:pt x="777494" y="5067198"/>
                    </a:cubicBezTo>
                    <a:cubicBezTo>
                      <a:pt x="913253" y="5090630"/>
                      <a:pt x="1051242" y="5107584"/>
                      <a:pt x="1191450" y="5118061"/>
                    </a:cubicBezTo>
                    <a:cubicBezTo>
                      <a:pt x="1331563" y="5128348"/>
                      <a:pt x="1473295" y="5131301"/>
                      <a:pt x="1615884" y="5127586"/>
                    </a:cubicBezTo>
                    <a:cubicBezTo>
                      <a:pt x="3379790" y="5081238"/>
                      <a:pt x="4927822" y="3940285"/>
                      <a:pt x="5494178" y="2269134"/>
                    </a:cubicBezTo>
                    <a:cubicBezTo>
                      <a:pt x="5607983" y="1933521"/>
                      <a:pt x="5679154" y="1584934"/>
                      <a:pt x="5706014" y="1231576"/>
                    </a:cubicBezTo>
                    <a:cubicBezTo>
                      <a:pt x="5708682" y="1187379"/>
                      <a:pt x="5712682" y="1143279"/>
                      <a:pt x="5713920" y="1098987"/>
                    </a:cubicBezTo>
                    <a:lnTo>
                      <a:pt x="5716778" y="1032312"/>
                    </a:lnTo>
                    <a:lnTo>
                      <a:pt x="5717921" y="965637"/>
                    </a:lnTo>
                    <a:cubicBezTo>
                      <a:pt x="5718968" y="921918"/>
                      <a:pt x="5718874" y="875721"/>
                      <a:pt x="5719064" y="830192"/>
                    </a:cubicBezTo>
                    <a:lnTo>
                      <a:pt x="5719635" y="693318"/>
                    </a:lnTo>
                    <a:lnTo>
                      <a:pt x="5722302" y="145916"/>
                    </a:lnTo>
                    <a:cubicBezTo>
                      <a:pt x="5722302" y="66001"/>
                      <a:pt x="5704681" y="-293"/>
                      <a:pt x="5692870" y="-293"/>
                    </a:cubicBezTo>
                    <a:cubicBezTo>
                      <a:pt x="5681059" y="-293"/>
                      <a:pt x="5663057" y="66382"/>
                      <a:pt x="5663533" y="145916"/>
                    </a:cubicBezTo>
                    <a:lnTo>
                      <a:pt x="5666105" y="693318"/>
                    </a:lnTo>
                    <a:lnTo>
                      <a:pt x="5666676" y="830192"/>
                    </a:lnTo>
                    <a:cubicBezTo>
                      <a:pt x="5666676" y="875721"/>
                      <a:pt x="5667248" y="922108"/>
                      <a:pt x="5666676" y="965066"/>
                    </a:cubicBezTo>
                    <a:lnTo>
                      <a:pt x="5666009" y="1030693"/>
                    </a:lnTo>
                    <a:lnTo>
                      <a:pt x="5663628" y="1096987"/>
                    </a:lnTo>
                    <a:cubicBezTo>
                      <a:pt x="5662771" y="1140802"/>
                      <a:pt x="5659056" y="1184427"/>
                      <a:pt x="5656770" y="1228051"/>
                    </a:cubicBezTo>
                    <a:cubicBezTo>
                      <a:pt x="5632519" y="1577743"/>
                      <a:pt x="5564292" y="1922986"/>
                      <a:pt x="5453697" y="2255609"/>
                    </a:cubicBezTo>
                    <a:cubicBezTo>
                      <a:pt x="4712729" y="4455588"/>
                      <a:pt x="2328621" y="5638355"/>
                      <a:pt x="128641" y="4897386"/>
                    </a:cubicBezTo>
                    <a:cubicBezTo>
                      <a:pt x="85788" y="4882956"/>
                      <a:pt x="43183" y="4867830"/>
                      <a:pt x="825" y="485202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904F8494-7F5E-4561-9ED8-786181FD8A36}"/>
                  </a:ext>
                </a:extLst>
              </p:cNvPr>
              <p:cNvSpPr/>
              <p:nvPr/>
            </p:nvSpPr>
            <p:spPr>
              <a:xfrm>
                <a:off x="5214852" y="810130"/>
                <a:ext cx="5861970" cy="5231888"/>
              </a:xfrm>
              <a:custGeom>
                <a:avLst/>
                <a:gdLst>
                  <a:gd name="connsiteX0" fmla="*/ -128 w 5861970"/>
                  <a:gd name="connsiteY0" fmla="*/ 4950326 h 5231888"/>
                  <a:gd name="connsiteX1" fmla="*/ 796639 w 5861970"/>
                  <a:gd name="connsiteY1" fmla="*/ 5168258 h 5231888"/>
                  <a:gd name="connsiteX2" fmla="*/ 1220787 w 5861970"/>
                  <a:gd name="connsiteY2" fmla="*/ 5220360 h 5231888"/>
                  <a:gd name="connsiteX3" fmla="*/ 1655317 w 5861970"/>
                  <a:gd name="connsiteY3" fmla="*/ 5229885 h 5231888"/>
                  <a:gd name="connsiteX4" fmla="*/ 5628386 w 5861970"/>
                  <a:gd name="connsiteY4" fmla="*/ 2301424 h 5231888"/>
                  <a:gd name="connsiteX5" fmla="*/ 5845365 w 5861970"/>
                  <a:gd name="connsiteY5" fmla="*/ 1238529 h 5231888"/>
                  <a:gd name="connsiteX6" fmla="*/ 5853462 w 5861970"/>
                  <a:gd name="connsiteY6" fmla="*/ 1102797 h 5231888"/>
                  <a:gd name="connsiteX7" fmla="*/ 5856319 w 5861970"/>
                  <a:gd name="connsiteY7" fmla="*/ 1034789 h 5231888"/>
                  <a:gd name="connsiteX8" fmla="*/ 5857557 w 5861970"/>
                  <a:gd name="connsiteY8" fmla="*/ 966780 h 5231888"/>
                  <a:gd name="connsiteX9" fmla="*/ 5858700 w 5861970"/>
                  <a:gd name="connsiteY9" fmla="*/ 830192 h 5231888"/>
                  <a:gd name="connsiteX10" fmla="*/ 5859272 w 5861970"/>
                  <a:gd name="connsiteY10" fmla="*/ 693318 h 5231888"/>
                  <a:gd name="connsiteX11" fmla="*/ 5861844 w 5861970"/>
                  <a:gd name="connsiteY11" fmla="*/ 145916 h 5231888"/>
                  <a:gd name="connsiteX12" fmla="*/ 5832507 w 5861970"/>
                  <a:gd name="connsiteY12" fmla="*/ -293 h 5231888"/>
                  <a:gd name="connsiteX13" fmla="*/ 5803074 w 5861970"/>
                  <a:gd name="connsiteY13" fmla="*/ 145916 h 5231888"/>
                  <a:gd name="connsiteX14" fmla="*/ 5805741 w 5861970"/>
                  <a:gd name="connsiteY14" fmla="*/ 693318 h 5231888"/>
                  <a:gd name="connsiteX15" fmla="*/ 5806313 w 5861970"/>
                  <a:gd name="connsiteY15" fmla="*/ 830192 h 5231888"/>
                  <a:gd name="connsiteX16" fmla="*/ 5806313 w 5861970"/>
                  <a:gd name="connsiteY16" fmla="*/ 966209 h 5231888"/>
                  <a:gd name="connsiteX17" fmla="*/ 5805551 w 5861970"/>
                  <a:gd name="connsiteY17" fmla="*/ 1033455 h 5231888"/>
                  <a:gd name="connsiteX18" fmla="*/ 5803265 w 5861970"/>
                  <a:gd name="connsiteY18" fmla="*/ 1100607 h 5231888"/>
                  <a:gd name="connsiteX19" fmla="*/ 5796216 w 5861970"/>
                  <a:gd name="connsiteY19" fmla="*/ 1234909 h 5231888"/>
                  <a:gd name="connsiteX20" fmla="*/ 5587905 w 5861970"/>
                  <a:gd name="connsiteY20" fmla="*/ 2287803 h 5231888"/>
                  <a:gd name="connsiteX21" fmla="*/ 132575 w 5861970"/>
                  <a:gd name="connsiteY21" fmla="*/ 4994646 h 5231888"/>
                  <a:gd name="connsiteX22" fmla="*/ 730 w 5861970"/>
                  <a:gd name="connsiteY22" fmla="*/ 4947850 h 5231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61970" h="5231888">
                    <a:moveTo>
                      <a:pt x="-128" y="4950326"/>
                    </a:moveTo>
                    <a:cubicBezTo>
                      <a:pt x="257876" y="5048281"/>
                      <a:pt x="524690" y="5121262"/>
                      <a:pt x="796639" y="5168258"/>
                    </a:cubicBezTo>
                    <a:cubicBezTo>
                      <a:pt x="935608" y="5192357"/>
                      <a:pt x="1077340" y="5209787"/>
                      <a:pt x="1220787" y="5220360"/>
                    </a:cubicBezTo>
                    <a:cubicBezTo>
                      <a:pt x="1364233" y="5230933"/>
                      <a:pt x="1509395" y="5233886"/>
                      <a:pt x="1655317" y="5229885"/>
                    </a:cubicBezTo>
                    <a:cubicBezTo>
                      <a:pt x="3462353" y="5182346"/>
                      <a:pt x="5048208" y="4013447"/>
                      <a:pt x="5628386" y="2301424"/>
                    </a:cubicBezTo>
                    <a:cubicBezTo>
                      <a:pt x="5744924" y="1957609"/>
                      <a:pt x="5817828" y="1600517"/>
                      <a:pt x="5845365" y="1238529"/>
                    </a:cubicBezTo>
                    <a:cubicBezTo>
                      <a:pt x="5848032" y="1193285"/>
                      <a:pt x="5852128" y="1148137"/>
                      <a:pt x="5853462" y="1102797"/>
                    </a:cubicBezTo>
                    <a:lnTo>
                      <a:pt x="5856319" y="1034789"/>
                    </a:lnTo>
                    <a:lnTo>
                      <a:pt x="5857557" y="966780"/>
                    </a:lnTo>
                    <a:cubicBezTo>
                      <a:pt x="5858510" y="921537"/>
                      <a:pt x="5858510" y="875817"/>
                      <a:pt x="5858700" y="830192"/>
                    </a:cubicBezTo>
                    <a:lnTo>
                      <a:pt x="5859272" y="693318"/>
                    </a:lnTo>
                    <a:lnTo>
                      <a:pt x="5861844" y="145916"/>
                    </a:lnTo>
                    <a:cubicBezTo>
                      <a:pt x="5861844" y="66001"/>
                      <a:pt x="5844317" y="-293"/>
                      <a:pt x="5832507" y="-293"/>
                    </a:cubicBezTo>
                    <a:cubicBezTo>
                      <a:pt x="5820696" y="-293"/>
                      <a:pt x="5802693" y="66382"/>
                      <a:pt x="5803074" y="145916"/>
                    </a:cubicBezTo>
                    <a:lnTo>
                      <a:pt x="5805741" y="693318"/>
                    </a:lnTo>
                    <a:lnTo>
                      <a:pt x="5806313" y="830192"/>
                    </a:lnTo>
                    <a:cubicBezTo>
                      <a:pt x="5806313" y="875817"/>
                      <a:pt x="5806313" y="921727"/>
                      <a:pt x="5806313" y="966209"/>
                    </a:cubicBezTo>
                    <a:lnTo>
                      <a:pt x="5805551" y="1033455"/>
                    </a:lnTo>
                    <a:lnTo>
                      <a:pt x="5803265" y="1100607"/>
                    </a:lnTo>
                    <a:cubicBezTo>
                      <a:pt x="5802312" y="1145470"/>
                      <a:pt x="5798598" y="1190142"/>
                      <a:pt x="5796216" y="1234909"/>
                    </a:cubicBezTo>
                    <a:cubicBezTo>
                      <a:pt x="5771318" y="1593240"/>
                      <a:pt x="5701328" y="1946989"/>
                      <a:pt x="5587905" y="2287803"/>
                    </a:cubicBezTo>
                    <a:cubicBezTo>
                      <a:pt x="4828933" y="4541723"/>
                      <a:pt x="2386495" y="5753617"/>
                      <a:pt x="132575" y="4994646"/>
                    </a:cubicBezTo>
                    <a:cubicBezTo>
                      <a:pt x="88379" y="4979759"/>
                      <a:pt x="44421" y="4964157"/>
                      <a:pt x="730" y="49478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B6743A73-F715-4AA4-B53C-403BF149CB64}"/>
                  </a:ext>
                </a:extLst>
              </p:cNvPr>
              <p:cNvSpPr/>
              <p:nvPr/>
            </p:nvSpPr>
            <p:spPr>
              <a:xfrm>
                <a:off x="5178371" y="810321"/>
                <a:ext cx="6001702" cy="5334997"/>
              </a:xfrm>
              <a:custGeom>
                <a:avLst/>
                <a:gdLst>
                  <a:gd name="connsiteX0" fmla="*/ -128 w 6001702"/>
                  <a:gd name="connsiteY0" fmla="*/ 5046624 h 5334997"/>
                  <a:gd name="connsiteX1" fmla="*/ 815784 w 6001702"/>
                  <a:gd name="connsiteY1" fmla="*/ 5269794 h 5334997"/>
                  <a:gd name="connsiteX2" fmla="*/ 1250124 w 6001702"/>
                  <a:gd name="connsiteY2" fmla="*/ 5323135 h 5334997"/>
                  <a:gd name="connsiteX3" fmla="*/ 1694846 w 6001702"/>
                  <a:gd name="connsiteY3" fmla="*/ 5333136 h 5334997"/>
                  <a:gd name="connsiteX4" fmla="*/ 5762688 w 6001702"/>
                  <a:gd name="connsiteY4" fmla="*/ 2334380 h 5334997"/>
                  <a:gd name="connsiteX5" fmla="*/ 5984716 w 6001702"/>
                  <a:gd name="connsiteY5" fmla="*/ 1246053 h 5334997"/>
                  <a:gd name="connsiteX6" fmla="*/ 5993003 w 6001702"/>
                  <a:gd name="connsiteY6" fmla="*/ 1107083 h 5334997"/>
                  <a:gd name="connsiteX7" fmla="*/ 5995956 w 6001702"/>
                  <a:gd name="connsiteY7" fmla="*/ 1037551 h 5334997"/>
                  <a:gd name="connsiteX8" fmla="*/ 5997193 w 6001702"/>
                  <a:gd name="connsiteY8" fmla="*/ 967923 h 5334997"/>
                  <a:gd name="connsiteX9" fmla="*/ 5998337 w 6001702"/>
                  <a:gd name="connsiteY9" fmla="*/ 830192 h 5334997"/>
                  <a:gd name="connsiteX10" fmla="*/ 5998908 w 6001702"/>
                  <a:gd name="connsiteY10" fmla="*/ 693317 h 5334997"/>
                  <a:gd name="connsiteX11" fmla="*/ 6001575 w 6001702"/>
                  <a:gd name="connsiteY11" fmla="*/ 145916 h 5334997"/>
                  <a:gd name="connsiteX12" fmla="*/ 5972143 w 6001702"/>
                  <a:gd name="connsiteY12" fmla="*/ -293 h 5334997"/>
                  <a:gd name="connsiteX13" fmla="*/ 5942806 w 6001702"/>
                  <a:gd name="connsiteY13" fmla="*/ 145916 h 5334997"/>
                  <a:gd name="connsiteX14" fmla="*/ 5945378 w 6001702"/>
                  <a:gd name="connsiteY14" fmla="*/ 693317 h 5334997"/>
                  <a:gd name="connsiteX15" fmla="*/ 5945949 w 6001702"/>
                  <a:gd name="connsiteY15" fmla="*/ 830192 h 5334997"/>
                  <a:gd name="connsiteX16" fmla="*/ 5945949 w 6001702"/>
                  <a:gd name="connsiteY16" fmla="*/ 967352 h 5334997"/>
                  <a:gd name="connsiteX17" fmla="*/ 5945187 w 6001702"/>
                  <a:gd name="connsiteY17" fmla="*/ 1036122 h 5334997"/>
                  <a:gd name="connsiteX18" fmla="*/ 5942806 w 6001702"/>
                  <a:gd name="connsiteY18" fmla="*/ 1104988 h 5334997"/>
                  <a:gd name="connsiteX19" fmla="*/ 5935567 w 6001702"/>
                  <a:gd name="connsiteY19" fmla="*/ 1242434 h 5334997"/>
                  <a:gd name="connsiteX20" fmla="*/ 5722207 w 6001702"/>
                  <a:gd name="connsiteY20" fmla="*/ 2320759 h 5334997"/>
                  <a:gd name="connsiteX21" fmla="*/ 135223 w 6001702"/>
                  <a:gd name="connsiteY21" fmla="*/ 5092610 h 5334997"/>
                  <a:gd name="connsiteX22" fmla="*/ 825 w 6001702"/>
                  <a:gd name="connsiteY22" fmla="*/ 5044909 h 5334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01702" h="5334997">
                    <a:moveTo>
                      <a:pt x="-128" y="5046624"/>
                    </a:moveTo>
                    <a:cubicBezTo>
                      <a:pt x="264058" y="5147008"/>
                      <a:pt x="537283" y="5221741"/>
                      <a:pt x="815784" y="5269794"/>
                    </a:cubicBezTo>
                    <a:cubicBezTo>
                      <a:pt x="958183" y="5294464"/>
                      <a:pt x="1103249" y="5312371"/>
                      <a:pt x="1250124" y="5323135"/>
                    </a:cubicBezTo>
                    <a:cubicBezTo>
                      <a:pt x="1397000" y="5333897"/>
                      <a:pt x="1545399" y="5336946"/>
                      <a:pt x="1694846" y="5333136"/>
                    </a:cubicBezTo>
                    <a:cubicBezTo>
                      <a:pt x="3545020" y="5284168"/>
                      <a:pt x="5168614" y="4087275"/>
                      <a:pt x="5762688" y="2334380"/>
                    </a:cubicBezTo>
                    <a:cubicBezTo>
                      <a:pt x="5881960" y="1982326"/>
                      <a:pt x="5956551" y="1616690"/>
                      <a:pt x="5984716" y="1246053"/>
                    </a:cubicBezTo>
                    <a:cubicBezTo>
                      <a:pt x="5987574" y="1199762"/>
                      <a:pt x="5991669" y="1153470"/>
                      <a:pt x="5993003" y="1107083"/>
                    </a:cubicBezTo>
                    <a:lnTo>
                      <a:pt x="5995956" y="1037551"/>
                    </a:lnTo>
                    <a:lnTo>
                      <a:pt x="5997193" y="967923"/>
                    </a:lnTo>
                    <a:cubicBezTo>
                      <a:pt x="5998242" y="921156"/>
                      <a:pt x="5998146" y="875816"/>
                      <a:pt x="5998337" y="830192"/>
                    </a:cubicBezTo>
                    <a:lnTo>
                      <a:pt x="5998908" y="693317"/>
                    </a:lnTo>
                    <a:lnTo>
                      <a:pt x="6001575" y="145916"/>
                    </a:lnTo>
                    <a:cubicBezTo>
                      <a:pt x="6001575" y="66001"/>
                      <a:pt x="5983954" y="-293"/>
                      <a:pt x="5972143" y="-293"/>
                    </a:cubicBezTo>
                    <a:cubicBezTo>
                      <a:pt x="5960332" y="-293"/>
                      <a:pt x="5942330" y="66382"/>
                      <a:pt x="5942806" y="145916"/>
                    </a:cubicBezTo>
                    <a:lnTo>
                      <a:pt x="5945378" y="693317"/>
                    </a:lnTo>
                    <a:lnTo>
                      <a:pt x="5945949" y="830192"/>
                    </a:lnTo>
                    <a:cubicBezTo>
                      <a:pt x="5945949" y="875816"/>
                      <a:pt x="5946521" y="921346"/>
                      <a:pt x="5945949" y="967352"/>
                    </a:cubicBezTo>
                    <a:lnTo>
                      <a:pt x="5945187" y="1036122"/>
                    </a:lnTo>
                    <a:lnTo>
                      <a:pt x="5942806" y="1104988"/>
                    </a:lnTo>
                    <a:cubicBezTo>
                      <a:pt x="5941853" y="1150899"/>
                      <a:pt x="5938044" y="1196618"/>
                      <a:pt x="5935567" y="1242434"/>
                    </a:cubicBezTo>
                    <a:cubicBezTo>
                      <a:pt x="5910164" y="1609432"/>
                      <a:pt x="5838479" y="1971744"/>
                      <a:pt x="5722207" y="2320759"/>
                    </a:cubicBezTo>
                    <a:cubicBezTo>
                      <a:pt x="4944824" y="4628991"/>
                      <a:pt x="2443454" y="5869984"/>
                      <a:pt x="135223" y="5092610"/>
                    </a:cubicBezTo>
                    <a:cubicBezTo>
                      <a:pt x="90169" y="5077428"/>
                      <a:pt x="45364" y="5061530"/>
                      <a:pt x="825" y="504490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C085CA53-356D-4D68-B0F7-FDC53F7D7DAD}"/>
                  </a:ext>
                </a:extLst>
              </p:cNvPr>
              <p:cNvSpPr/>
              <p:nvPr/>
            </p:nvSpPr>
            <p:spPr>
              <a:xfrm>
                <a:off x="5141891" y="810130"/>
                <a:ext cx="6141624" cy="5438683"/>
              </a:xfrm>
              <a:custGeom>
                <a:avLst/>
                <a:gdLst>
                  <a:gd name="connsiteX0" fmla="*/ -128 w 6141624"/>
                  <a:gd name="connsiteY0" fmla="*/ 5143398 h 5438683"/>
                  <a:gd name="connsiteX1" fmla="*/ 835024 w 6141624"/>
                  <a:gd name="connsiteY1" fmla="*/ 5371998 h 5438683"/>
                  <a:gd name="connsiteX2" fmla="*/ 1279461 w 6141624"/>
                  <a:gd name="connsiteY2" fmla="*/ 5426576 h 5438683"/>
                  <a:gd name="connsiteX3" fmla="*/ 1734375 w 6141624"/>
                  <a:gd name="connsiteY3" fmla="*/ 5436768 h 5438683"/>
                  <a:gd name="connsiteX4" fmla="*/ 5896800 w 6141624"/>
                  <a:gd name="connsiteY4" fmla="*/ 2367622 h 5438683"/>
                  <a:gd name="connsiteX5" fmla="*/ 6045486 w 6141624"/>
                  <a:gd name="connsiteY5" fmla="*/ 1817839 h 5438683"/>
                  <a:gd name="connsiteX6" fmla="*/ 6124448 w 6141624"/>
                  <a:gd name="connsiteY6" fmla="*/ 1253578 h 5438683"/>
                  <a:gd name="connsiteX7" fmla="*/ 6132925 w 6141624"/>
                  <a:gd name="connsiteY7" fmla="*/ 1111370 h 5438683"/>
                  <a:gd name="connsiteX8" fmla="*/ 6135878 w 6141624"/>
                  <a:gd name="connsiteY8" fmla="*/ 1040218 h 5438683"/>
                  <a:gd name="connsiteX9" fmla="*/ 6137116 w 6141624"/>
                  <a:gd name="connsiteY9" fmla="*/ 969067 h 5438683"/>
                  <a:gd name="connsiteX10" fmla="*/ 6138354 w 6141624"/>
                  <a:gd name="connsiteY10" fmla="*/ 830192 h 5438683"/>
                  <a:gd name="connsiteX11" fmla="*/ 6138926 w 6141624"/>
                  <a:gd name="connsiteY11" fmla="*/ 693318 h 5438683"/>
                  <a:gd name="connsiteX12" fmla="*/ 6141497 w 6141624"/>
                  <a:gd name="connsiteY12" fmla="*/ 145916 h 5438683"/>
                  <a:gd name="connsiteX13" fmla="*/ 6112161 w 6141624"/>
                  <a:gd name="connsiteY13" fmla="*/ -293 h 5438683"/>
                  <a:gd name="connsiteX14" fmla="*/ 6082728 w 6141624"/>
                  <a:gd name="connsiteY14" fmla="*/ 145916 h 5438683"/>
                  <a:gd name="connsiteX15" fmla="*/ 6085395 w 6141624"/>
                  <a:gd name="connsiteY15" fmla="*/ 693318 h 5438683"/>
                  <a:gd name="connsiteX16" fmla="*/ 6085395 w 6141624"/>
                  <a:gd name="connsiteY16" fmla="*/ 830192 h 5438683"/>
                  <a:gd name="connsiteX17" fmla="*/ 6085395 w 6141624"/>
                  <a:gd name="connsiteY17" fmla="*/ 968495 h 5438683"/>
                  <a:gd name="connsiteX18" fmla="*/ 6084633 w 6141624"/>
                  <a:gd name="connsiteY18" fmla="*/ 1038885 h 5438683"/>
                  <a:gd name="connsiteX19" fmla="*/ 6082252 w 6141624"/>
                  <a:gd name="connsiteY19" fmla="*/ 1109274 h 5438683"/>
                  <a:gd name="connsiteX20" fmla="*/ 6074822 w 6141624"/>
                  <a:gd name="connsiteY20" fmla="*/ 1249959 h 5438683"/>
                  <a:gd name="connsiteX21" fmla="*/ 5856414 w 6141624"/>
                  <a:gd name="connsiteY21" fmla="*/ 2353621 h 5438683"/>
                  <a:gd name="connsiteX22" fmla="*/ 138385 w 6141624"/>
                  <a:gd name="connsiteY22" fmla="*/ 5189889 h 5438683"/>
                  <a:gd name="connsiteX23" fmla="*/ 730 w 6141624"/>
                  <a:gd name="connsiteY23" fmla="*/ 5141017 h 5438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6141624" h="5438683">
                    <a:moveTo>
                      <a:pt x="-128" y="5143398"/>
                    </a:moveTo>
                    <a:cubicBezTo>
                      <a:pt x="270297" y="5246144"/>
                      <a:pt x="549970" y="5322696"/>
                      <a:pt x="835024" y="5371998"/>
                    </a:cubicBezTo>
                    <a:cubicBezTo>
                      <a:pt x="980757" y="5397239"/>
                      <a:pt x="1129252" y="5415527"/>
                      <a:pt x="1279461" y="5426576"/>
                    </a:cubicBezTo>
                    <a:cubicBezTo>
                      <a:pt x="1429670" y="5437625"/>
                      <a:pt x="1581594" y="5440673"/>
                      <a:pt x="1734375" y="5436768"/>
                    </a:cubicBezTo>
                    <a:cubicBezTo>
                      <a:pt x="3627735" y="5386543"/>
                      <a:pt x="5289134" y="4161523"/>
                      <a:pt x="5896800" y="2367622"/>
                    </a:cubicBezTo>
                    <a:cubicBezTo>
                      <a:pt x="5957703" y="2187619"/>
                      <a:pt x="6007357" y="2004005"/>
                      <a:pt x="6045486" y="1817839"/>
                    </a:cubicBezTo>
                    <a:cubicBezTo>
                      <a:pt x="6083357" y="1631549"/>
                      <a:pt x="6109732" y="1443107"/>
                      <a:pt x="6124448" y="1253578"/>
                    </a:cubicBezTo>
                    <a:cubicBezTo>
                      <a:pt x="6127305" y="1205953"/>
                      <a:pt x="6131496" y="1158900"/>
                      <a:pt x="6132925" y="1111370"/>
                    </a:cubicBezTo>
                    <a:lnTo>
                      <a:pt x="6135878" y="1040218"/>
                    </a:lnTo>
                    <a:lnTo>
                      <a:pt x="6137116" y="969067"/>
                    </a:lnTo>
                    <a:cubicBezTo>
                      <a:pt x="6138164" y="920775"/>
                      <a:pt x="6138068" y="875912"/>
                      <a:pt x="6138354" y="830192"/>
                    </a:cubicBezTo>
                    <a:lnTo>
                      <a:pt x="6138926" y="693318"/>
                    </a:lnTo>
                    <a:lnTo>
                      <a:pt x="6141497" y="145916"/>
                    </a:lnTo>
                    <a:cubicBezTo>
                      <a:pt x="6141497" y="66001"/>
                      <a:pt x="6123876" y="-293"/>
                      <a:pt x="6112161" y="-293"/>
                    </a:cubicBezTo>
                    <a:cubicBezTo>
                      <a:pt x="6100445" y="-293"/>
                      <a:pt x="6082347" y="66382"/>
                      <a:pt x="6082728" y="145916"/>
                    </a:cubicBezTo>
                    <a:lnTo>
                      <a:pt x="6085395" y="693318"/>
                    </a:lnTo>
                    <a:lnTo>
                      <a:pt x="6085395" y="830192"/>
                    </a:lnTo>
                    <a:cubicBezTo>
                      <a:pt x="6085395" y="875817"/>
                      <a:pt x="6085967" y="920965"/>
                      <a:pt x="6085395" y="968495"/>
                    </a:cubicBezTo>
                    <a:lnTo>
                      <a:pt x="6084633" y="1038885"/>
                    </a:lnTo>
                    <a:lnTo>
                      <a:pt x="6082252" y="1109274"/>
                    </a:lnTo>
                    <a:cubicBezTo>
                      <a:pt x="6081204" y="1156233"/>
                      <a:pt x="6077299" y="1203096"/>
                      <a:pt x="6074822" y="1249959"/>
                    </a:cubicBezTo>
                    <a:cubicBezTo>
                      <a:pt x="6048743" y="1625568"/>
                      <a:pt x="5975363" y="1996385"/>
                      <a:pt x="5856414" y="2353621"/>
                    </a:cubicBezTo>
                    <a:cubicBezTo>
                      <a:pt x="5060639" y="4715821"/>
                      <a:pt x="2500585" y="5985665"/>
                      <a:pt x="138385" y="5189889"/>
                    </a:cubicBezTo>
                    <a:cubicBezTo>
                      <a:pt x="92236" y="5174335"/>
                      <a:pt x="46345" y="5158047"/>
                      <a:pt x="730" y="514101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B876BCF-6F0A-4427-8D7D-65E8E28FA72C}"/>
                  </a:ext>
                </a:extLst>
              </p:cNvPr>
              <p:cNvSpPr/>
              <p:nvPr/>
            </p:nvSpPr>
            <p:spPr>
              <a:xfrm>
                <a:off x="5105410" y="810226"/>
                <a:ext cx="6281261" cy="5541287"/>
              </a:xfrm>
              <a:custGeom>
                <a:avLst/>
                <a:gdLst>
                  <a:gd name="connsiteX0" fmla="*/ -128 w 6281261"/>
                  <a:gd name="connsiteY0" fmla="*/ 5239600 h 5541287"/>
                  <a:gd name="connsiteX1" fmla="*/ 854265 w 6281261"/>
                  <a:gd name="connsiteY1" fmla="*/ 5473249 h 5541287"/>
                  <a:gd name="connsiteX2" fmla="*/ 1308798 w 6281261"/>
                  <a:gd name="connsiteY2" fmla="*/ 5528875 h 5541287"/>
                  <a:gd name="connsiteX3" fmla="*/ 1773999 w 6281261"/>
                  <a:gd name="connsiteY3" fmla="*/ 5539352 h 5541287"/>
                  <a:gd name="connsiteX4" fmla="*/ 6031674 w 6281261"/>
                  <a:gd name="connsiteY4" fmla="*/ 2399912 h 5541287"/>
                  <a:gd name="connsiteX5" fmla="*/ 6184074 w 6281261"/>
                  <a:gd name="connsiteY5" fmla="*/ 1837937 h 5541287"/>
                  <a:gd name="connsiteX6" fmla="*/ 6264465 w 6281261"/>
                  <a:gd name="connsiteY6" fmla="*/ 1261103 h 5541287"/>
                  <a:gd name="connsiteX7" fmla="*/ 6273038 w 6281261"/>
                  <a:gd name="connsiteY7" fmla="*/ 1115751 h 5541287"/>
                  <a:gd name="connsiteX8" fmla="*/ 6276086 w 6281261"/>
                  <a:gd name="connsiteY8" fmla="*/ 1042980 h 5541287"/>
                  <a:gd name="connsiteX9" fmla="*/ 6277419 w 6281261"/>
                  <a:gd name="connsiteY9" fmla="*/ 970209 h 5541287"/>
                  <a:gd name="connsiteX10" fmla="*/ 6277991 w 6281261"/>
                  <a:gd name="connsiteY10" fmla="*/ 933824 h 5541287"/>
                  <a:gd name="connsiteX11" fmla="*/ 6277991 w 6281261"/>
                  <a:gd name="connsiteY11" fmla="*/ 915726 h 5541287"/>
                  <a:gd name="connsiteX12" fmla="*/ 6277991 w 6281261"/>
                  <a:gd name="connsiteY12" fmla="*/ 898581 h 5541287"/>
                  <a:gd name="connsiteX13" fmla="*/ 6277991 w 6281261"/>
                  <a:gd name="connsiteY13" fmla="*/ 830192 h 5541287"/>
                  <a:gd name="connsiteX14" fmla="*/ 6278562 w 6281261"/>
                  <a:gd name="connsiteY14" fmla="*/ 693318 h 5541287"/>
                  <a:gd name="connsiteX15" fmla="*/ 6281134 w 6281261"/>
                  <a:gd name="connsiteY15" fmla="*/ 145916 h 5541287"/>
                  <a:gd name="connsiteX16" fmla="*/ 6251797 w 6281261"/>
                  <a:gd name="connsiteY16" fmla="*/ -293 h 5541287"/>
                  <a:gd name="connsiteX17" fmla="*/ 6222460 w 6281261"/>
                  <a:gd name="connsiteY17" fmla="*/ 145916 h 5541287"/>
                  <a:gd name="connsiteX18" fmla="*/ 6225032 w 6281261"/>
                  <a:gd name="connsiteY18" fmla="*/ 693318 h 5541287"/>
                  <a:gd name="connsiteX19" fmla="*/ 6225603 w 6281261"/>
                  <a:gd name="connsiteY19" fmla="*/ 830192 h 5541287"/>
                  <a:gd name="connsiteX20" fmla="*/ 6225603 w 6281261"/>
                  <a:gd name="connsiteY20" fmla="*/ 898581 h 5541287"/>
                  <a:gd name="connsiteX21" fmla="*/ 6225603 w 6281261"/>
                  <a:gd name="connsiteY21" fmla="*/ 933633 h 5541287"/>
                  <a:gd name="connsiteX22" fmla="*/ 6225603 w 6281261"/>
                  <a:gd name="connsiteY22" fmla="*/ 969638 h 5541287"/>
                  <a:gd name="connsiteX23" fmla="*/ 6224746 w 6281261"/>
                  <a:gd name="connsiteY23" fmla="*/ 1041647 h 5541287"/>
                  <a:gd name="connsiteX24" fmla="*/ 6222270 w 6281261"/>
                  <a:gd name="connsiteY24" fmla="*/ 1113656 h 5541287"/>
                  <a:gd name="connsiteX25" fmla="*/ 6214650 w 6281261"/>
                  <a:gd name="connsiteY25" fmla="*/ 1257483 h 5541287"/>
                  <a:gd name="connsiteX26" fmla="*/ 5991098 w 6281261"/>
                  <a:gd name="connsiteY26" fmla="*/ 2386577 h 5541287"/>
                  <a:gd name="connsiteX27" fmla="*/ 143119 w 6281261"/>
                  <a:gd name="connsiteY27" fmla="*/ 5287940 h 5541287"/>
                  <a:gd name="connsiteX28" fmla="*/ 825 w 6281261"/>
                  <a:gd name="connsiteY28" fmla="*/ 5237410 h 5541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6281261" h="5541287">
                    <a:moveTo>
                      <a:pt x="-128" y="5239600"/>
                    </a:moveTo>
                    <a:cubicBezTo>
                      <a:pt x="276545" y="5344632"/>
                      <a:pt x="562648" y="5422871"/>
                      <a:pt x="854265" y="5473249"/>
                    </a:cubicBezTo>
                    <a:cubicBezTo>
                      <a:pt x="1003331" y="5498966"/>
                      <a:pt x="1155160" y="5517635"/>
                      <a:pt x="1308798" y="5528875"/>
                    </a:cubicBezTo>
                    <a:cubicBezTo>
                      <a:pt x="1462436" y="5540114"/>
                      <a:pt x="1617789" y="5543353"/>
                      <a:pt x="1773999" y="5539352"/>
                    </a:cubicBezTo>
                    <a:cubicBezTo>
                      <a:pt x="3710717" y="5488003"/>
                      <a:pt x="5410149" y="4234913"/>
                      <a:pt x="6031674" y="2399912"/>
                    </a:cubicBezTo>
                    <a:cubicBezTo>
                      <a:pt x="6094034" y="2215917"/>
                      <a:pt x="6144936" y="2028227"/>
                      <a:pt x="6184074" y="1837937"/>
                    </a:cubicBezTo>
                    <a:cubicBezTo>
                      <a:pt x="6222650" y="1647485"/>
                      <a:pt x="6249492" y="1454841"/>
                      <a:pt x="6264465" y="1261103"/>
                    </a:cubicBezTo>
                    <a:cubicBezTo>
                      <a:pt x="6267418" y="1212621"/>
                      <a:pt x="6271609" y="1164234"/>
                      <a:pt x="6273038" y="1115751"/>
                    </a:cubicBezTo>
                    <a:lnTo>
                      <a:pt x="6276086" y="1042980"/>
                    </a:lnTo>
                    <a:lnTo>
                      <a:pt x="6277419" y="970209"/>
                    </a:lnTo>
                    <a:lnTo>
                      <a:pt x="6277991" y="933824"/>
                    </a:lnTo>
                    <a:lnTo>
                      <a:pt x="6277991" y="915726"/>
                    </a:lnTo>
                    <a:lnTo>
                      <a:pt x="6277991" y="898581"/>
                    </a:lnTo>
                    <a:lnTo>
                      <a:pt x="6277991" y="830192"/>
                    </a:lnTo>
                    <a:lnTo>
                      <a:pt x="6278562" y="693318"/>
                    </a:lnTo>
                    <a:lnTo>
                      <a:pt x="6281134" y="145916"/>
                    </a:lnTo>
                    <a:cubicBezTo>
                      <a:pt x="6281134" y="66001"/>
                      <a:pt x="6263608" y="-293"/>
                      <a:pt x="6251797" y="-293"/>
                    </a:cubicBezTo>
                    <a:cubicBezTo>
                      <a:pt x="6239986" y="-293"/>
                      <a:pt x="6221983" y="66382"/>
                      <a:pt x="6222460" y="145916"/>
                    </a:cubicBezTo>
                    <a:lnTo>
                      <a:pt x="6225032" y="693318"/>
                    </a:lnTo>
                    <a:lnTo>
                      <a:pt x="6225603" y="830192"/>
                    </a:lnTo>
                    <a:lnTo>
                      <a:pt x="6225603" y="898581"/>
                    </a:lnTo>
                    <a:lnTo>
                      <a:pt x="6225603" y="933633"/>
                    </a:lnTo>
                    <a:lnTo>
                      <a:pt x="6225603" y="969638"/>
                    </a:lnTo>
                    <a:lnTo>
                      <a:pt x="6224746" y="1041647"/>
                    </a:lnTo>
                    <a:lnTo>
                      <a:pt x="6222270" y="1113656"/>
                    </a:lnTo>
                    <a:cubicBezTo>
                      <a:pt x="6221222" y="1161281"/>
                      <a:pt x="6217316" y="1209573"/>
                      <a:pt x="6214650" y="1257483"/>
                    </a:cubicBezTo>
                    <a:cubicBezTo>
                      <a:pt x="6187941" y="1641751"/>
                      <a:pt x="6112827" y="2021122"/>
                      <a:pt x="5991098" y="2386577"/>
                    </a:cubicBezTo>
                    <a:cubicBezTo>
                      <a:pt x="5177415" y="4802641"/>
                      <a:pt x="2559183" y="6101622"/>
                      <a:pt x="143119" y="5287940"/>
                    </a:cubicBezTo>
                    <a:cubicBezTo>
                      <a:pt x="95418" y="5271871"/>
                      <a:pt x="47974" y="5255031"/>
                      <a:pt x="825" y="52374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78A5498A-4BF7-4997-947D-6689200371B7}"/>
                  </a:ext>
                </a:extLst>
              </p:cNvPr>
              <p:cNvSpPr/>
              <p:nvPr/>
            </p:nvSpPr>
            <p:spPr>
              <a:xfrm>
                <a:off x="5068929" y="810321"/>
                <a:ext cx="6419278" cy="5644861"/>
              </a:xfrm>
              <a:custGeom>
                <a:avLst/>
                <a:gdLst>
                  <a:gd name="connsiteX0" fmla="*/ -128 w 6419278"/>
                  <a:gd name="connsiteY0" fmla="*/ 5336279 h 5644861"/>
                  <a:gd name="connsiteX1" fmla="*/ 873506 w 6419278"/>
                  <a:gd name="connsiteY1" fmla="*/ 5575071 h 5644861"/>
                  <a:gd name="connsiteX2" fmla="*/ 1338135 w 6419278"/>
                  <a:gd name="connsiteY2" fmla="*/ 5632221 h 5644861"/>
                  <a:gd name="connsiteX3" fmla="*/ 1813528 w 6419278"/>
                  <a:gd name="connsiteY3" fmla="*/ 5642889 h 5644861"/>
                  <a:gd name="connsiteX4" fmla="*/ 3700812 w 6419278"/>
                  <a:gd name="connsiteY4" fmla="*/ 5195214 h 5644861"/>
                  <a:gd name="connsiteX5" fmla="*/ 4540059 w 6419278"/>
                  <a:gd name="connsiteY5" fmla="*/ 4686484 h 5644861"/>
                  <a:gd name="connsiteX6" fmla="*/ 5794692 w 6419278"/>
                  <a:gd name="connsiteY6" fmla="*/ 3258305 h 5644861"/>
                  <a:gd name="connsiteX7" fmla="*/ 6165501 w 6419278"/>
                  <a:gd name="connsiteY7" fmla="*/ 2433154 h 5644861"/>
                  <a:gd name="connsiteX8" fmla="*/ 6321234 w 6419278"/>
                  <a:gd name="connsiteY8" fmla="*/ 1858130 h 5644861"/>
                  <a:gd name="connsiteX9" fmla="*/ 6403340 w 6419278"/>
                  <a:gd name="connsiteY9" fmla="*/ 1268532 h 5644861"/>
                  <a:gd name="connsiteX10" fmla="*/ 6412198 w 6419278"/>
                  <a:gd name="connsiteY10" fmla="*/ 1119942 h 5644861"/>
                  <a:gd name="connsiteX11" fmla="*/ 6415246 w 6419278"/>
                  <a:gd name="connsiteY11" fmla="*/ 1045647 h 5644861"/>
                  <a:gd name="connsiteX12" fmla="*/ 6416580 w 6419278"/>
                  <a:gd name="connsiteY12" fmla="*/ 971257 h 5644861"/>
                  <a:gd name="connsiteX13" fmla="*/ 6416484 w 6419278"/>
                  <a:gd name="connsiteY13" fmla="*/ 934205 h 5644861"/>
                  <a:gd name="connsiteX14" fmla="*/ 6416484 w 6419278"/>
                  <a:gd name="connsiteY14" fmla="*/ 898581 h 5644861"/>
                  <a:gd name="connsiteX15" fmla="*/ 6416484 w 6419278"/>
                  <a:gd name="connsiteY15" fmla="*/ 830192 h 5644861"/>
                  <a:gd name="connsiteX16" fmla="*/ 6416484 w 6419278"/>
                  <a:gd name="connsiteY16" fmla="*/ 693317 h 5644861"/>
                  <a:gd name="connsiteX17" fmla="*/ 6419152 w 6419278"/>
                  <a:gd name="connsiteY17" fmla="*/ 145916 h 5644861"/>
                  <a:gd name="connsiteX18" fmla="*/ 6389719 w 6419278"/>
                  <a:gd name="connsiteY18" fmla="*/ -293 h 5644861"/>
                  <a:gd name="connsiteX19" fmla="*/ 6360382 w 6419278"/>
                  <a:gd name="connsiteY19" fmla="*/ 145916 h 5644861"/>
                  <a:gd name="connsiteX20" fmla="*/ 6362954 w 6419278"/>
                  <a:gd name="connsiteY20" fmla="*/ 693317 h 5644861"/>
                  <a:gd name="connsiteX21" fmla="*/ 6363525 w 6419278"/>
                  <a:gd name="connsiteY21" fmla="*/ 830192 h 5644861"/>
                  <a:gd name="connsiteX22" fmla="*/ 6363525 w 6419278"/>
                  <a:gd name="connsiteY22" fmla="*/ 898581 h 5644861"/>
                  <a:gd name="connsiteX23" fmla="*/ 6363525 w 6419278"/>
                  <a:gd name="connsiteY23" fmla="*/ 915155 h 5644861"/>
                  <a:gd name="connsiteX24" fmla="*/ 6363525 w 6419278"/>
                  <a:gd name="connsiteY24" fmla="*/ 933443 h 5644861"/>
                  <a:gd name="connsiteX25" fmla="*/ 6363525 w 6419278"/>
                  <a:gd name="connsiteY25" fmla="*/ 970209 h 5644861"/>
                  <a:gd name="connsiteX26" fmla="*/ 6362668 w 6419278"/>
                  <a:gd name="connsiteY26" fmla="*/ 1043742 h 5644861"/>
                  <a:gd name="connsiteX27" fmla="*/ 6360192 w 6419278"/>
                  <a:gd name="connsiteY27" fmla="*/ 1117371 h 5644861"/>
                  <a:gd name="connsiteX28" fmla="*/ 6352381 w 6419278"/>
                  <a:gd name="connsiteY28" fmla="*/ 1264437 h 5644861"/>
                  <a:gd name="connsiteX29" fmla="*/ 6275800 w 6419278"/>
                  <a:gd name="connsiteY29" fmla="*/ 1848605 h 5644861"/>
                  <a:gd name="connsiteX30" fmla="*/ 6125019 w 6419278"/>
                  <a:gd name="connsiteY30" fmla="*/ 2418962 h 5644861"/>
                  <a:gd name="connsiteX31" fmla="*/ 145605 w 6419278"/>
                  <a:gd name="connsiteY31" fmla="*/ 5385161 h 5644861"/>
                  <a:gd name="connsiteX32" fmla="*/ 444 w 6419278"/>
                  <a:gd name="connsiteY32" fmla="*/ 5333612 h 5644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419278" h="5644861">
                    <a:moveTo>
                      <a:pt x="-128" y="5336279"/>
                    </a:moveTo>
                    <a:cubicBezTo>
                      <a:pt x="282775" y="5443636"/>
                      <a:pt x="575325" y="5523598"/>
                      <a:pt x="873506" y="5575071"/>
                    </a:cubicBezTo>
                    <a:cubicBezTo>
                      <a:pt x="1025906" y="5601360"/>
                      <a:pt x="1180782" y="5620410"/>
                      <a:pt x="1338135" y="5632221"/>
                    </a:cubicBezTo>
                    <a:cubicBezTo>
                      <a:pt x="1495107" y="5643651"/>
                      <a:pt x="1653889" y="5646985"/>
                      <a:pt x="1813528" y="5642889"/>
                    </a:cubicBezTo>
                    <a:cubicBezTo>
                      <a:pt x="2466829" y="5625915"/>
                      <a:pt x="3109490" y="5473477"/>
                      <a:pt x="3700812" y="5195214"/>
                    </a:cubicBezTo>
                    <a:cubicBezTo>
                      <a:pt x="3997553" y="5055396"/>
                      <a:pt x="4278836" y="4884889"/>
                      <a:pt x="4540059" y="4686484"/>
                    </a:cubicBezTo>
                    <a:cubicBezTo>
                      <a:pt x="5050475" y="4300093"/>
                      <a:pt x="5477281" y="3814251"/>
                      <a:pt x="5794692" y="3258305"/>
                    </a:cubicBezTo>
                    <a:cubicBezTo>
                      <a:pt x="5944425" y="2995758"/>
                      <a:pt x="6068603" y="2719438"/>
                      <a:pt x="6165501" y="2433154"/>
                    </a:cubicBezTo>
                    <a:cubicBezTo>
                      <a:pt x="6229270" y="2244892"/>
                      <a:pt x="6281277" y="2052840"/>
                      <a:pt x="6321234" y="1858130"/>
                    </a:cubicBezTo>
                    <a:cubicBezTo>
                      <a:pt x="6360668" y="1663467"/>
                      <a:pt x="6388081" y="1466566"/>
                      <a:pt x="6403340" y="1268532"/>
                    </a:cubicBezTo>
                    <a:cubicBezTo>
                      <a:pt x="6406388" y="1219002"/>
                      <a:pt x="6410674" y="1169567"/>
                      <a:pt x="6412198" y="1119942"/>
                    </a:cubicBezTo>
                    <a:lnTo>
                      <a:pt x="6415246" y="1045647"/>
                    </a:lnTo>
                    <a:lnTo>
                      <a:pt x="6416580" y="971257"/>
                    </a:lnTo>
                    <a:lnTo>
                      <a:pt x="6416484" y="934205"/>
                    </a:lnTo>
                    <a:lnTo>
                      <a:pt x="6416484" y="898581"/>
                    </a:lnTo>
                    <a:lnTo>
                      <a:pt x="6416484" y="830192"/>
                    </a:lnTo>
                    <a:lnTo>
                      <a:pt x="6416484" y="693317"/>
                    </a:lnTo>
                    <a:lnTo>
                      <a:pt x="6419152" y="145916"/>
                    </a:lnTo>
                    <a:cubicBezTo>
                      <a:pt x="6419152" y="66001"/>
                      <a:pt x="6401530" y="-293"/>
                      <a:pt x="6389719" y="-293"/>
                    </a:cubicBezTo>
                    <a:cubicBezTo>
                      <a:pt x="6377908" y="-293"/>
                      <a:pt x="6359906" y="66382"/>
                      <a:pt x="6360382" y="145916"/>
                    </a:cubicBezTo>
                    <a:lnTo>
                      <a:pt x="6362954" y="693317"/>
                    </a:lnTo>
                    <a:lnTo>
                      <a:pt x="6363525" y="830192"/>
                    </a:lnTo>
                    <a:lnTo>
                      <a:pt x="6363525" y="898581"/>
                    </a:lnTo>
                    <a:lnTo>
                      <a:pt x="6363525" y="915155"/>
                    </a:lnTo>
                    <a:lnTo>
                      <a:pt x="6363525" y="933443"/>
                    </a:lnTo>
                    <a:lnTo>
                      <a:pt x="6363525" y="970209"/>
                    </a:lnTo>
                    <a:lnTo>
                      <a:pt x="6362668" y="1043742"/>
                    </a:lnTo>
                    <a:lnTo>
                      <a:pt x="6360192" y="1117371"/>
                    </a:lnTo>
                    <a:cubicBezTo>
                      <a:pt x="6359048" y="1166424"/>
                      <a:pt x="6355048" y="1215383"/>
                      <a:pt x="6352381" y="1264437"/>
                    </a:cubicBezTo>
                    <a:cubicBezTo>
                      <a:pt x="6338903" y="1460547"/>
                      <a:pt x="6313328" y="1655647"/>
                      <a:pt x="6275800" y="1848605"/>
                    </a:cubicBezTo>
                    <a:cubicBezTo>
                      <a:pt x="6237424" y="2041667"/>
                      <a:pt x="6187065" y="2232158"/>
                      <a:pt x="6125019" y="2418962"/>
                    </a:cubicBezTo>
                    <a:cubicBezTo>
                      <a:pt x="5292944" y="4889223"/>
                      <a:pt x="2615866" y="6217237"/>
                      <a:pt x="145605" y="5385161"/>
                    </a:cubicBezTo>
                    <a:cubicBezTo>
                      <a:pt x="96942" y="5368769"/>
                      <a:pt x="48545" y="5351586"/>
                      <a:pt x="444" y="53336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</p:grp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FB9DA8AE-93B0-4E39-ABC8-86C57B021919}"/>
              </a:ext>
            </a:extLst>
          </p:cNvPr>
          <p:cNvSpPr/>
          <p:nvPr/>
        </p:nvSpPr>
        <p:spPr>
          <a:xfrm>
            <a:off x="0" y="0"/>
            <a:ext cx="38929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72" name="Title 9">
            <a:extLst>
              <a:ext uri="{FF2B5EF4-FFF2-40B4-BE49-F238E27FC236}">
                <a16:creationId xmlns:a16="http://schemas.microsoft.com/office/drawing/2014/main" id="{5B951409-D28C-49E7-BA8B-F5B8503A2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0478" y="516046"/>
            <a:ext cx="3802641" cy="2797521"/>
          </a:xfrm>
        </p:spPr>
        <p:txBody>
          <a:bodyPr/>
          <a:lstStyle>
            <a:lvl1pPr>
              <a:defRPr lang="aa-ET" sz="36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lvl="0" indent="0" algn="l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</a:pPr>
            <a:r>
              <a:rPr lang="en-US"/>
              <a:t>Click to edit Master title style</a:t>
            </a:r>
            <a:endParaRPr lang="aa-ET"/>
          </a:p>
        </p:txBody>
      </p:sp>
      <p:sp>
        <p:nvSpPr>
          <p:cNvPr id="74" name="Text Placeholder 4">
            <a:extLst>
              <a:ext uri="{FF2B5EF4-FFF2-40B4-BE49-F238E27FC236}">
                <a16:creationId xmlns:a16="http://schemas.microsoft.com/office/drawing/2014/main" id="{F18D17DC-E358-4843-A7F9-9D3DB026201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115" y="688756"/>
            <a:ext cx="6057851" cy="5705902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0220715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6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7223E80-E1BB-4B6B-986F-66D36F9C9539}"/>
              </a:ext>
            </a:extLst>
          </p:cNvPr>
          <p:cNvSpPr/>
          <p:nvPr/>
        </p:nvSpPr>
        <p:spPr>
          <a:xfrm>
            <a:off x="6537278" y="0"/>
            <a:ext cx="5718412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18900000" scaled="1"/>
            <a:tileRect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/>
          <a:p>
            <a:pPr lvl="0" indent="0" defTabSz="94190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</a:pPr>
            <a:endParaRPr lang="en-US" sz="2200" baseline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Freeform: Shape 32">
            <a:extLst>
              <a:ext uri="{FF2B5EF4-FFF2-40B4-BE49-F238E27FC236}">
                <a16:creationId xmlns:a16="http://schemas.microsoft.com/office/drawing/2014/main" id="{8809EBFA-02D4-4F2B-9D23-BE50FC86C483}"/>
              </a:ext>
            </a:extLst>
          </p:cNvPr>
          <p:cNvSpPr txBox="1">
            <a:spLocks/>
          </p:cNvSpPr>
          <p:nvPr/>
        </p:nvSpPr>
        <p:spPr bwMode="auto">
          <a:xfrm>
            <a:off x="6656439" y="1221469"/>
            <a:ext cx="5523531" cy="4614124"/>
          </a:xfrm>
          <a:custGeom>
            <a:avLst/>
            <a:gdLst>
              <a:gd name="connsiteX0" fmla="*/ 4707190 w 5523531"/>
              <a:gd name="connsiteY0" fmla="*/ 0 h 4614124"/>
              <a:gd name="connsiteX1" fmla="*/ 5523530 w 5523531"/>
              <a:gd name="connsiteY1" fmla="*/ 0 h 4614124"/>
              <a:gd name="connsiteX2" fmla="*/ 5523530 w 5523531"/>
              <a:gd name="connsiteY2" fmla="*/ 729022 h 4614124"/>
              <a:gd name="connsiteX3" fmla="*/ 5271924 w 5523531"/>
              <a:gd name="connsiteY3" fmla="*/ 2107230 h 4614124"/>
              <a:gd name="connsiteX4" fmla="*/ 268583 w 5523531"/>
              <a:gd name="connsiteY4" fmla="*/ 4361476 h 4614124"/>
              <a:gd name="connsiteX5" fmla="*/ 259590 w 5523531"/>
              <a:gd name="connsiteY5" fmla="*/ 4358052 h 4614124"/>
              <a:gd name="connsiteX6" fmla="*/ 28125 w 5523531"/>
              <a:gd name="connsiteY6" fmla="*/ 3829296 h 4614124"/>
              <a:gd name="connsiteX7" fmla="*/ 556960 w 5523531"/>
              <a:gd name="connsiteY7" fmla="*/ 3597831 h 4614124"/>
              <a:gd name="connsiteX8" fmla="*/ 1641542 w 5523531"/>
              <a:gd name="connsiteY8" fmla="*/ 3794670 h 4614124"/>
              <a:gd name="connsiteX9" fmla="*/ 4707190 w 5523531"/>
              <a:gd name="connsiteY9" fmla="*/ 729022 h 4614124"/>
              <a:gd name="connsiteX10" fmla="*/ 4707190 w 5523531"/>
              <a:gd name="connsiteY10" fmla="*/ 0 h 4614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523531" h="4614124">
                <a:moveTo>
                  <a:pt x="4707190" y="0"/>
                </a:moveTo>
                <a:lnTo>
                  <a:pt x="5523530" y="0"/>
                </a:lnTo>
                <a:lnTo>
                  <a:pt x="5523530" y="729022"/>
                </a:lnTo>
                <a:cubicBezTo>
                  <a:pt x="5524006" y="1199914"/>
                  <a:pt x="5438681" y="1666903"/>
                  <a:pt x="5271924" y="2107230"/>
                </a:cubicBezTo>
                <a:cubicBezTo>
                  <a:pt x="4512817" y="4111384"/>
                  <a:pt x="2272740" y="5120586"/>
                  <a:pt x="268583" y="4361476"/>
                </a:cubicBezTo>
                <a:cubicBezTo>
                  <a:pt x="265559" y="4360362"/>
                  <a:pt x="262614" y="4359248"/>
                  <a:pt x="259590" y="4358052"/>
                </a:cubicBezTo>
                <a:cubicBezTo>
                  <a:pt x="49693" y="4275989"/>
                  <a:pt x="-53941" y="4039193"/>
                  <a:pt x="28125" y="3829296"/>
                </a:cubicBezTo>
                <a:cubicBezTo>
                  <a:pt x="110264" y="3619320"/>
                  <a:pt x="346987" y="3515685"/>
                  <a:pt x="556960" y="3597831"/>
                </a:cubicBezTo>
                <a:cubicBezTo>
                  <a:pt x="903601" y="3728606"/>
                  <a:pt x="1271099" y="3795308"/>
                  <a:pt x="1641542" y="3794670"/>
                </a:cubicBezTo>
                <a:cubicBezTo>
                  <a:pt x="3331924" y="3794670"/>
                  <a:pt x="4707190" y="2419406"/>
                  <a:pt x="4707190" y="729022"/>
                </a:cubicBezTo>
                <a:lnTo>
                  <a:pt x="4707190" y="0"/>
                </a:lnTo>
                <a:close/>
              </a:path>
            </a:pathLst>
          </a:custGeom>
          <a:solidFill>
            <a:schemeClr val="bg1">
              <a:lumMod val="95000"/>
              <a:alpha val="30000"/>
            </a:schemeClr>
          </a:solidFill>
          <a:ln>
            <a:noFill/>
          </a:ln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he-IL"/>
            </a:defPPr>
            <a:lvl1pPr marL="298299" indent="-298299" defTabSz="94190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14390" indent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None/>
              <a:defRPr sz="200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5747" indent="-213342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itchFamily="2" charset="2"/>
              <a:buChar char="§"/>
              <a:defRPr sz="2000"/>
            </a:lvl3pPr>
            <a:lvl4pPr marL="960976" indent="-213342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685C2"/>
              </a:buClr>
              <a:buSzPct val="75000"/>
              <a:buFont typeface="Wingdings" pitchFamily="2" charset="2"/>
              <a:buChar char="§"/>
            </a:lvl4pPr>
            <a:lvl5pPr marL="1176202" indent="-213342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FB7DB"/>
              </a:buClr>
              <a:buSzPct val="80000"/>
              <a:buFont typeface="Wingdings" pitchFamily="2" charset="2"/>
              <a:buChar char="§"/>
            </a:lvl5pPr>
            <a:lvl6pPr marL="2989113" indent="-271740" defTabSz="1086950">
              <a:spcBef>
                <a:spcPct val="20000"/>
              </a:spcBef>
              <a:buFont typeface="Arial" pitchFamily="34" charset="0"/>
              <a:buChar char="•"/>
              <a:defRPr sz="2397"/>
            </a:lvl6pPr>
            <a:lvl7pPr marL="3532583" indent="-271740" defTabSz="1086950">
              <a:spcBef>
                <a:spcPct val="20000"/>
              </a:spcBef>
              <a:buFont typeface="Arial" pitchFamily="34" charset="0"/>
              <a:buChar char="•"/>
              <a:defRPr sz="2397"/>
            </a:lvl7pPr>
            <a:lvl8pPr marL="4076062" indent="-271740" defTabSz="1086950">
              <a:spcBef>
                <a:spcPct val="20000"/>
              </a:spcBef>
              <a:buFont typeface="Arial" pitchFamily="34" charset="0"/>
              <a:buChar char="•"/>
              <a:defRPr sz="2397"/>
            </a:lvl8pPr>
            <a:lvl9pPr marL="4619536" indent="-271740" defTabSz="1086950">
              <a:spcBef>
                <a:spcPct val="20000"/>
              </a:spcBef>
              <a:buFont typeface="Arial" pitchFamily="34" charset="0"/>
              <a:buChar char="•"/>
              <a:defRPr sz="2397"/>
            </a:lvl9pPr>
          </a:lstStyle>
          <a:p>
            <a:pPr lvl="0"/>
            <a:endParaRPr lang="en-US"/>
          </a:p>
        </p:txBody>
      </p:sp>
      <p:sp>
        <p:nvSpPr>
          <p:cNvPr id="22" name="Freeform: Shape 28">
            <a:extLst>
              <a:ext uri="{FF2B5EF4-FFF2-40B4-BE49-F238E27FC236}">
                <a16:creationId xmlns:a16="http://schemas.microsoft.com/office/drawing/2014/main" id="{DC6FC4A7-D0FE-46DC-8B70-EEE29D7FDCEA}"/>
              </a:ext>
            </a:extLst>
          </p:cNvPr>
          <p:cNvSpPr txBox="1">
            <a:spLocks/>
          </p:cNvSpPr>
          <p:nvPr/>
        </p:nvSpPr>
        <p:spPr bwMode="auto">
          <a:xfrm>
            <a:off x="9026074" y="1233831"/>
            <a:ext cx="954597" cy="954597"/>
          </a:xfrm>
          <a:custGeom>
            <a:avLst/>
            <a:gdLst>
              <a:gd name="connsiteX0" fmla="*/ 0 w 954597"/>
              <a:gd name="connsiteY0" fmla="*/ 0 h 954597"/>
              <a:gd name="connsiteX1" fmla="*/ 954597 w 954597"/>
              <a:gd name="connsiteY1" fmla="*/ 0 h 954597"/>
              <a:gd name="connsiteX2" fmla="*/ 954597 w 954597"/>
              <a:gd name="connsiteY2" fmla="*/ 954597 h 954597"/>
              <a:gd name="connsiteX3" fmla="*/ 0 w 954597"/>
              <a:gd name="connsiteY3" fmla="*/ 954597 h 954597"/>
              <a:gd name="connsiteX4" fmla="*/ 0 w 954597"/>
              <a:gd name="connsiteY4" fmla="*/ 0 h 95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4597" h="954597">
                <a:moveTo>
                  <a:pt x="0" y="0"/>
                </a:moveTo>
                <a:lnTo>
                  <a:pt x="954597" y="0"/>
                </a:lnTo>
                <a:lnTo>
                  <a:pt x="954597" y="954597"/>
                </a:lnTo>
                <a:lnTo>
                  <a:pt x="0" y="95459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  <a:alpha val="30000"/>
            </a:schemeClr>
          </a:solidFill>
          <a:ln>
            <a:noFill/>
          </a:ln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  <a:noAutofit/>
          </a:bodyPr>
          <a:lstStyle>
            <a:lvl1pPr marL="298299" indent="-298299" algn="l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200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14390" indent="0" algn="l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None/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5747" indent="-21334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976" indent="-21334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685C2"/>
              </a:buClr>
              <a:buSzPct val="7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76202" indent="-21334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FB7DB"/>
              </a:buClr>
              <a:buSzPct val="8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9113" indent="-271740" algn="l" defTabSz="10869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583" indent="-271740" algn="l" defTabSz="10869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6062" indent="-271740" algn="l" defTabSz="10869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9536" indent="-271740" algn="l" defTabSz="10869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EB1C7077-265B-49B9-B1A0-9589DB496550}"/>
              </a:ext>
            </a:extLst>
          </p:cNvPr>
          <p:cNvSpPr txBox="1">
            <a:spLocks/>
          </p:cNvSpPr>
          <p:nvPr/>
        </p:nvSpPr>
        <p:spPr bwMode="auto">
          <a:xfrm>
            <a:off x="7279160" y="1233831"/>
            <a:ext cx="954597" cy="954597"/>
          </a:xfrm>
          <a:custGeom>
            <a:avLst/>
            <a:gdLst>
              <a:gd name="connsiteX0" fmla="*/ 0 w 954597"/>
              <a:gd name="connsiteY0" fmla="*/ 0 h 954597"/>
              <a:gd name="connsiteX1" fmla="*/ 954597 w 954597"/>
              <a:gd name="connsiteY1" fmla="*/ 0 h 954597"/>
              <a:gd name="connsiteX2" fmla="*/ 954597 w 954597"/>
              <a:gd name="connsiteY2" fmla="*/ 954597 h 954597"/>
              <a:gd name="connsiteX3" fmla="*/ 0 w 954597"/>
              <a:gd name="connsiteY3" fmla="*/ 954597 h 954597"/>
              <a:gd name="connsiteX4" fmla="*/ 0 w 954597"/>
              <a:gd name="connsiteY4" fmla="*/ 0 h 95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4597" h="954597">
                <a:moveTo>
                  <a:pt x="0" y="0"/>
                </a:moveTo>
                <a:lnTo>
                  <a:pt x="954597" y="0"/>
                </a:lnTo>
                <a:lnTo>
                  <a:pt x="954597" y="954597"/>
                </a:lnTo>
                <a:lnTo>
                  <a:pt x="0" y="95459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  <a:alpha val="30000"/>
            </a:schemeClr>
          </a:solidFill>
          <a:ln>
            <a:noFill/>
          </a:ln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  <a:noAutofit/>
          </a:bodyPr>
          <a:lstStyle>
            <a:lvl1pPr marL="298299" indent="-298299" algn="l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200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14390" indent="0" algn="l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None/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5747" indent="-21334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976" indent="-21334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685C2"/>
              </a:buClr>
              <a:buSzPct val="7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76202" indent="-21334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FB7DB"/>
              </a:buClr>
              <a:buSzPct val="8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9113" indent="-271740" algn="l" defTabSz="10869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583" indent="-271740" algn="l" defTabSz="10869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6062" indent="-271740" algn="l" defTabSz="10869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9536" indent="-271740" algn="l" defTabSz="10869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DC5E0FE-AF6B-4551-95A6-1EDF35B25547}"/>
              </a:ext>
            </a:extLst>
          </p:cNvPr>
          <p:cNvGrpSpPr/>
          <p:nvPr/>
        </p:nvGrpSpPr>
        <p:grpSpPr>
          <a:xfrm>
            <a:off x="11217203" y="6437490"/>
            <a:ext cx="549385" cy="213656"/>
            <a:chOff x="11217203" y="6437490"/>
            <a:chExt cx="549385" cy="213656"/>
          </a:xfrm>
        </p:grpSpPr>
        <p:sp>
          <p:nvSpPr>
            <p:cNvPr id="48" name="Freeform 8">
              <a:extLst>
                <a:ext uri="{FF2B5EF4-FFF2-40B4-BE49-F238E27FC236}">
                  <a16:creationId xmlns:a16="http://schemas.microsoft.com/office/drawing/2014/main" id="{22E8AE3B-D37C-40A7-9D29-ABF15EEE1B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40445" y="6440752"/>
              <a:ext cx="126143" cy="20550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9" name="Freeform 9">
              <a:extLst>
                <a:ext uri="{FF2B5EF4-FFF2-40B4-BE49-F238E27FC236}">
                  <a16:creationId xmlns:a16="http://schemas.microsoft.com/office/drawing/2014/main" id="{4B5B1285-4443-4269-8F15-974F41889B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62850" y="6437490"/>
              <a:ext cx="156019" cy="21365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0" name="Rectangle 10">
              <a:extLst>
                <a:ext uri="{FF2B5EF4-FFF2-40B4-BE49-F238E27FC236}">
                  <a16:creationId xmlns:a16="http://schemas.microsoft.com/office/drawing/2014/main" id="{18EBF795-80B3-4A8B-88F1-FD4AA16031E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93139" y="6440752"/>
              <a:ext cx="51453" cy="2055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1" name="Freeform 11">
              <a:extLst>
                <a:ext uri="{FF2B5EF4-FFF2-40B4-BE49-F238E27FC236}">
                  <a16:creationId xmlns:a16="http://schemas.microsoft.com/office/drawing/2014/main" id="{58DA696A-B0E7-440E-9C4F-C5ACA80BBA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03" y="6440752"/>
              <a:ext cx="147720" cy="20550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2" name="Rectangle 13">
              <a:extLst>
                <a:ext uri="{FF2B5EF4-FFF2-40B4-BE49-F238E27FC236}">
                  <a16:creationId xmlns:a16="http://schemas.microsoft.com/office/drawing/2014/main" id="{87CC95A9-C7DF-4742-A3D0-6631D844B9C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443656" y="6522539"/>
              <a:ext cx="44814" cy="4566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3" name="Rectangle 14">
              <a:extLst>
                <a:ext uri="{FF2B5EF4-FFF2-40B4-BE49-F238E27FC236}">
                  <a16:creationId xmlns:a16="http://schemas.microsoft.com/office/drawing/2014/main" id="{070251C9-8CF1-4F3B-8A9B-1432AD366C0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47390" y="6522539"/>
              <a:ext cx="44814" cy="4566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4" name="Rectangle 12">
              <a:extLst>
                <a:ext uri="{FF2B5EF4-FFF2-40B4-BE49-F238E27FC236}">
                  <a16:creationId xmlns:a16="http://schemas.microsoft.com/office/drawing/2014/main" id="{9EA70F76-7543-4D86-ADF2-004BF5226DA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18868" y="6520669"/>
              <a:ext cx="46474" cy="4566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BD526F8E-A36C-4FCB-8F62-B7A39AE089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115" y="688756"/>
            <a:ext cx="5903213" cy="5705902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6A1EE91-9FC0-4FC6-A51E-911E1BE320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3631" y="1699147"/>
            <a:ext cx="4253572" cy="3589360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069022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05455C5A-7C5D-4CFC-A71C-CDAC9D4EA5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46075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39273" y="6378129"/>
            <a:ext cx="544201" cy="365125"/>
          </a:xfr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E8C0908D-B55B-4B4B-BAB0-A218E0E4451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83474" y="384902"/>
            <a:ext cx="5995126" cy="2833892"/>
          </a:xfrm>
        </p:spPr>
        <p:txBody>
          <a:bodyPr lIns="0" rIns="0" anchor="ctr">
            <a:noAutofit/>
          </a:bodyPr>
          <a:lstStyle>
            <a:lvl1pPr marL="0" indent="0">
              <a:buFontTx/>
              <a:buNone/>
              <a:defRPr lang="en-US" sz="32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  <a:lvl2pPr defTabSz="914400">
              <a:buFontTx/>
              <a:buNone/>
              <a:defRPr lang="en-US" sz="44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2pPr>
            <a:lvl3pPr>
              <a:defRPr lang="en-US" sz="44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3pPr>
            <a:lvl4pPr>
              <a:defRPr lang="en-US" sz="44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4pPr>
            <a:lvl5pPr>
              <a:defRPr lang="en-US" sz="4400" b="0" kern="1200" cap="none" baseline="0" dirty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Second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A87E380-53EE-4AAC-AC7D-BC5B234AB7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83474" y="3603694"/>
            <a:ext cx="11180896" cy="2734781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44955279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A561D63-05EE-469C-B010-233F51458CAD}"/>
              </a:ext>
            </a:extLst>
          </p:cNvPr>
          <p:cNvSpPr/>
          <p:nvPr/>
        </p:nvSpPr>
        <p:spPr>
          <a:xfrm>
            <a:off x="0" y="0"/>
            <a:ext cx="448550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39273" y="6378129"/>
            <a:ext cx="544201" cy="365125"/>
          </a:xfr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DD8832-0189-451B-B701-202EDF2903AD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546991" y="864974"/>
            <a:ext cx="2743200" cy="5332626"/>
          </a:xfrm>
          <a:prstGeom prst="roundRect">
            <a:avLst>
              <a:gd name="adj" fmla="val 6863"/>
            </a:avLst>
          </a:prstGeom>
          <a:gradFill>
            <a:gsLst>
              <a:gs pos="40000">
                <a:schemeClr val="accent1"/>
              </a:gs>
              <a:gs pos="0">
                <a:schemeClr val="accent6"/>
              </a:gs>
            </a:gsLst>
            <a:lin ang="24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228600" indent="-228600">
              <a:buClr>
                <a:schemeClr val="bg2"/>
              </a:buClr>
              <a:defRPr lang="en-US" sz="2200" dirty="0" smtClean="0">
                <a:solidFill>
                  <a:schemeClr val="bg1"/>
                </a:solidFill>
              </a:defRPr>
            </a:lvl1pPr>
            <a:lvl2pPr marL="457200" indent="-185738">
              <a:buClr>
                <a:schemeClr val="bg2"/>
              </a:buClr>
              <a:buFont typeface="Arial" panose="020B0604020202020204" pitchFamily="34" charset="0"/>
              <a:buChar char="•"/>
              <a:defRPr lang="en-US" sz="1800" dirty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136133D-E674-4395-B863-A0AB39626B97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6442591" y="864974"/>
            <a:ext cx="2743200" cy="5332626"/>
          </a:xfrm>
          <a:prstGeom prst="roundRect">
            <a:avLst>
              <a:gd name="adj" fmla="val 6863"/>
            </a:avLst>
          </a:prstGeom>
          <a:gradFill>
            <a:gsLst>
              <a:gs pos="23000">
                <a:schemeClr val="accent1"/>
              </a:gs>
              <a:gs pos="100000">
                <a:schemeClr val="accent2"/>
              </a:gs>
            </a:gsLst>
            <a:lin ang="2400000" scaled="0"/>
          </a:gra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228600" indent="-228600">
              <a:buClr>
                <a:schemeClr val="bg2"/>
              </a:buClr>
              <a:defRPr lang="en-US" sz="2200" dirty="0" smtClean="0">
                <a:solidFill>
                  <a:schemeClr val="bg1"/>
                </a:solidFill>
              </a:defRPr>
            </a:lvl1pPr>
            <a:lvl2pPr marL="457200" indent="-185738">
              <a:buClr>
                <a:schemeClr val="bg2"/>
              </a:buClr>
              <a:buFont typeface="Arial" panose="020B0604020202020204" pitchFamily="34" charset="0"/>
              <a:buChar char="•"/>
              <a:defRPr lang="en-US" sz="1800" dirty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41A1676-9397-4C23-9BFC-417FB3982004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312791" y="864974"/>
            <a:ext cx="2743200" cy="5332626"/>
          </a:xfrm>
          <a:prstGeom prst="roundRect">
            <a:avLst>
              <a:gd name="adj" fmla="val 6863"/>
            </a:avLst>
          </a:prstGeom>
          <a:gradFill>
            <a:gsLst>
              <a:gs pos="100000">
                <a:schemeClr val="accent3"/>
              </a:gs>
              <a:gs pos="25000">
                <a:schemeClr val="accent2"/>
              </a:gs>
            </a:gsLst>
            <a:lin ang="2400000" scaled="0"/>
          </a:gra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228600" indent="-228600">
              <a:buClr>
                <a:schemeClr val="bg2"/>
              </a:buClr>
              <a:defRPr lang="en-US" sz="2200" dirty="0" smtClean="0">
                <a:solidFill>
                  <a:schemeClr val="bg1"/>
                </a:solidFill>
              </a:defRPr>
            </a:lvl1pPr>
            <a:lvl2pPr marL="457200" indent="-185738">
              <a:buClr>
                <a:schemeClr val="bg2"/>
              </a:buClr>
              <a:buFont typeface="Arial" panose="020B0604020202020204" pitchFamily="34" charset="0"/>
              <a:buChar char="•"/>
              <a:defRPr lang="en-US" sz="1800" dirty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19D37E7-4CC0-4AE0-9311-36C9300BB90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7200" y="1895650"/>
            <a:ext cx="2937391" cy="2833892"/>
          </a:xfrm>
        </p:spPr>
        <p:txBody>
          <a:bodyPr lIns="0" rIns="0" anchor="ctr">
            <a:noAutofit/>
          </a:bodyPr>
          <a:lstStyle>
            <a:lvl1pPr marL="0" indent="0">
              <a:buFontTx/>
              <a:buNone/>
              <a:defRPr lang="en-US" sz="32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  <a:lvl2pPr defTabSz="914400">
              <a:buFontTx/>
              <a:buNone/>
              <a:defRPr lang="en-US" sz="44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2pPr>
            <a:lvl3pPr>
              <a:defRPr lang="en-US" sz="44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3pPr>
            <a:lvl4pPr>
              <a:defRPr lang="en-US" sz="44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4pPr>
            <a:lvl5pPr>
              <a:defRPr lang="en-US" sz="4400" b="0" kern="1200" cap="none" baseline="0" dirty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320552469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B7FA32B-09FD-45B0-A9E3-E4AAE0380883}"/>
              </a:ext>
            </a:extLst>
          </p:cNvPr>
          <p:cNvSpPr/>
          <p:nvPr/>
        </p:nvSpPr>
        <p:spPr>
          <a:xfrm>
            <a:off x="0" y="0"/>
            <a:ext cx="12192000" cy="377818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39273" y="6378129"/>
            <a:ext cx="544201" cy="365125"/>
          </a:xfr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21" name="Rectangle 25">
            <a:extLst>
              <a:ext uri="{FF2B5EF4-FFF2-40B4-BE49-F238E27FC236}">
                <a16:creationId xmlns:a16="http://schemas.microsoft.com/office/drawing/2014/main" id="{F3DD4E19-A0EC-4B50-A93D-C9F29D831EB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83474" y="370761"/>
            <a:ext cx="379934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DFD07DA2-5291-4B98-AA27-37F463854BF5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78783" y="3501518"/>
            <a:ext cx="2834640" cy="2825367"/>
          </a:xfrm>
          <a:prstGeom prst="roundRect">
            <a:avLst>
              <a:gd name="adj" fmla="val 6863"/>
            </a:avLst>
          </a:prstGeom>
          <a:gradFill>
            <a:gsLst>
              <a:gs pos="40000">
                <a:schemeClr val="accent1"/>
              </a:gs>
              <a:gs pos="0">
                <a:schemeClr val="accent6"/>
              </a:gs>
            </a:gsLst>
            <a:lin ang="2400000" scaled="0"/>
          </a:gradFill>
          <a:ln>
            <a:noFill/>
          </a:ln>
        </p:spPr>
        <p:txBody>
          <a:bodyPr vert="horz" wrap="square" lIns="0" tIns="18288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2800"/>
              </a:lnSpc>
              <a:spcBef>
                <a:spcPts val="0"/>
              </a:spcBef>
              <a:defRPr lang="en-US" sz="2200" dirty="0" smtClean="0">
                <a:solidFill>
                  <a:schemeClr val="bg1"/>
                </a:solidFill>
              </a:defRPr>
            </a:lvl1pPr>
            <a:lvl2pPr marL="614362" indent="-342900">
              <a:buClr>
                <a:schemeClr val="bg2"/>
              </a:buClr>
              <a:buFont typeface="Arial" panose="020B0604020202020204" pitchFamily="34" charset="0"/>
              <a:buChar char="•"/>
              <a:defRPr lang="en-US" sz="18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marL="179710" lvl="0" indent="-179710">
              <a:lnSpc>
                <a:spcPct val="100000"/>
              </a:lnSpc>
              <a:buClr>
                <a:schemeClr val="bg1"/>
              </a:buClr>
            </a:pPr>
            <a:r>
              <a:rPr lang="en-US"/>
              <a:t>Click to edit Master text styles</a:t>
            </a:r>
          </a:p>
          <a:p>
            <a:pPr marL="179710" lvl="1" indent="-179710">
              <a:lnSpc>
                <a:spcPct val="100000"/>
              </a:lnSpc>
              <a:buClr>
                <a:schemeClr val="bg1"/>
              </a:buClr>
            </a:pPr>
            <a:r>
              <a:rPr lang="en-US"/>
              <a:t>Second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367171D-DE37-48C1-818B-08C5299BBAA7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3291605" y="3501518"/>
            <a:ext cx="2834640" cy="2825367"/>
          </a:xfrm>
          <a:prstGeom prst="roundRect">
            <a:avLst>
              <a:gd name="adj" fmla="val 6863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400000" scaled="0"/>
          </a:gradFill>
          <a:ln>
            <a:noFill/>
          </a:ln>
        </p:spPr>
        <p:txBody>
          <a:bodyPr vert="horz" wrap="square" lIns="0" tIns="18288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2200" dirty="0" smtClean="0">
                <a:solidFill>
                  <a:schemeClr val="bg1"/>
                </a:solidFill>
              </a:defRPr>
            </a:lvl1pPr>
            <a:lvl2pPr marL="614362" indent="-342900">
              <a:buClr>
                <a:schemeClr val="bg2"/>
              </a:buClr>
              <a:buFont typeface="Arial" panose="020B0604020202020204" pitchFamily="34" charset="0"/>
              <a:buChar char="•"/>
              <a:defRPr lang="en-US" sz="18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marL="179710" lvl="0" indent="-179710">
              <a:lnSpc>
                <a:spcPct val="100000"/>
              </a:lnSpc>
              <a:buClr>
                <a:schemeClr val="bg1"/>
              </a:buClr>
            </a:pPr>
            <a:r>
              <a:rPr lang="en-US"/>
              <a:t>Click to edit Master text styles</a:t>
            </a:r>
          </a:p>
          <a:p>
            <a:pPr marL="179710" lvl="1" indent="-179710">
              <a:lnSpc>
                <a:spcPct val="100000"/>
              </a:lnSpc>
              <a:buClr>
                <a:schemeClr val="bg1"/>
              </a:buClr>
            </a:pPr>
            <a:r>
              <a:rPr lang="en-US"/>
              <a:t>Second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9B20AD3-A376-45DE-A1FF-95B2A2BC3D75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204427" y="3501518"/>
            <a:ext cx="2834640" cy="2825367"/>
          </a:xfrm>
          <a:prstGeom prst="roundRect">
            <a:avLst>
              <a:gd name="adj" fmla="val 6863"/>
            </a:avLst>
          </a:prstGeom>
          <a:gradFill>
            <a:gsLst>
              <a:gs pos="92000">
                <a:schemeClr val="accent3"/>
              </a:gs>
              <a:gs pos="31000">
                <a:schemeClr val="accent2"/>
              </a:gs>
            </a:gsLst>
            <a:lin ang="2400000" scaled="0"/>
          </a:gradFill>
          <a:ln>
            <a:noFill/>
          </a:ln>
        </p:spPr>
        <p:txBody>
          <a:bodyPr vert="horz" wrap="square" lIns="0" tIns="18288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2200" dirty="0" smtClean="0">
                <a:solidFill>
                  <a:schemeClr val="bg1"/>
                </a:solidFill>
              </a:defRPr>
            </a:lvl1pPr>
            <a:lvl2pPr marL="614362" indent="-342900">
              <a:buClr>
                <a:schemeClr val="bg2"/>
              </a:buClr>
              <a:buFont typeface="Arial" panose="020B0604020202020204" pitchFamily="34" charset="0"/>
              <a:buChar char="•"/>
              <a:defRPr lang="en-US" sz="18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marL="179710" lvl="0" indent="-179710">
              <a:lnSpc>
                <a:spcPct val="100000"/>
              </a:lnSpc>
              <a:buClr>
                <a:schemeClr val="bg1"/>
              </a:buClr>
            </a:pPr>
            <a:r>
              <a:rPr lang="en-US"/>
              <a:t>Click to edit Master text styles</a:t>
            </a:r>
          </a:p>
          <a:p>
            <a:pPr marL="179710" lvl="1" indent="-179710">
              <a:lnSpc>
                <a:spcPct val="100000"/>
              </a:lnSpc>
              <a:buClr>
                <a:schemeClr val="bg1"/>
              </a:buClr>
            </a:pPr>
            <a:r>
              <a:rPr lang="en-US"/>
              <a:t>Secon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4E0270C-70A9-4A51-903C-E203ABEFF095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9117248" y="3501518"/>
            <a:ext cx="2834640" cy="2825367"/>
          </a:xfrm>
          <a:prstGeom prst="roundRect">
            <a:avLst>
              <a:gd name="adj" fmla="val 6863"/>
            </a:avLst>
          </a:prstGeom>
          <a:gradFill>
            <a:gsLst>
              <a:gs pos="14000">
                <a:schemeClr val="accent3"/>
              </a:gs>
              <a:gs pos="100000">
                <a:schemeClr val="accent3">
                  <a:lumMod val="50000"/>
                </a:schemeClr>
              </a:gs>
            </a:gsLst>
            <a:lin ang="2400000" scaled="0"/>
          </a:gradFill>
          <a:ln>
            <a:noFill/>
          </a:ln>
        </p:spPr>
        <p:txBody>
          <a:bodyPr vert="horz" wrap="square" lIns="0" tIns="18288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2200" dirty="0" smtClean="0">
                <a:solidFill>
                  <a:schemeClr val="bg1"/>
                </a:solidFill>
              </a:defRPr>
            </a:lvl1pPr>
            <a:lvl2pPr marL="614362" indent="-342900">
              <a:buClr>
                <a:schemeClr val="bg2"/>
              </a:buClr>
              <a:buFont typeface="Arial" panose="020B0604020202020204" pitchFamily="34" charset="0"/>
              <a:buChar char="•"/>
              <a:defRPr lang="en-US" sz="18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marL="179710" lvl="0" indent="-179710">
              <a:lnSpc>
                <a:spcPct val="100000"/>
              </a:lnSpc>
              <a:buClr>
                <a:schemeClr val="bg1"/>
              </a:buClr>
            </a:pPr>
            <a:r>
              <a:rPr lang="en-US"/>
              <a:t>Click to edit Master text styles</a:t>
            </a:r>
          </a:p>
          <a:p>
            <a:pPr marL="179710" lvl="1" indent="-179710">
              <a:lnSpc>
                <a:spcPct val="100000"/>
              </a:lnSpc>
              <a:buClr>
                <a:schemeClr val="bg1"/>
              </a:buClr>
            </a:pPr>
            <a:r>
              <a:rPr lang="en-US"/>
              <a:t>Second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C958A6C-A811-4925-AC19-663372B0ABD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3474" y="1152084"/>
            <a:ext cx="11274486" cy="2243319"/>
          </a:xfrm>
        </p:spPr>
        <p:txBody>
          <a:bodyPr lIns="0" rIns="0">
            <a:normAutofit/>
          </a:bodyPr>
          <a:lstStyle>
            <a:lvl1pPr>
              <a:defRPr sz="2000">
                <a:solidFill>
                  <a:schemeClr val="bg2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16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27063" indent="0">
              <a:buSzPct val="75000"/>
              <a:buFont typeface="Arial" panose="020B0604020202020204" pitchFamily="34" charset="0"/>
              <a:buNone/>
              <a:defRPr sz="2000">
                <a:solidFill>
                  <a:schemeClr val="bg2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bg2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10900498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Four Horizontal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30AE362C-9B6B-4086-808D-F381F6B96F25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3647" y="1165707"/>
            <a:ext cx="2975443" cy="1669367"/>
          </a:xfrm>
          <a:prstGeom prst="round1Rect">
            <a:avLst>
              <a:gd name="adj" fmla="val 15433"/>
            </a:avLst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18900000" scaled="1"/>
            <a:tileRect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dirty="0">
                <a:solidFill>
                  <a:schemeClr val="bg1"/>
                </a:solidFill>
              </a:defRPr>
            </a:lvl1pPr>
          </a:lstStyle>
          <a:p>
            <a:pPr marL="298299" lvl="0" indent="-298299">
              <a:buClr>
                <a:schemeClr val="bg2"/>
              </a:buClr>
            </a:pPr>
            <a:r>
              <a:rPr lang="en-US"/>
              <a:t> 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7EF52193-65F6-41E6-AC99-35F01F1688A3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1" y="2929543"/>
            <a:ext cx="2988860" cy="1700212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Clr>
                <a:schemeClr val="bg2"/>
              </a:buClr>
              <a:buNone/>
              <a:defRPr lang="en-US" sz="2200" dirty="0" smtClean="0">
                <a:solidFill>
                  <a:schemeClr val="bg1"/>
                </a:solidFill>
              </a:defRPr>
            </a:lvl1pPr>
            <a:lvl2pPr marL="457200" indent="-185738">
              <a:buClr>
                <a:schemeClr val="bg2"/>
              </a:buClr>
              <a:buFont typeface="Arial" panose="020B0604020202020204" pitchFamily="34" charset="0"/>
              <a:buChar char="•"/>
              <a:defRPr lang="en-US" sz="1800" dirty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CDC163D3-47F3-4690-8A5C-2D9C2BDD3989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1" y="4724223"/>
            <a:ext cx="2988860" cy="1700212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Clr>
                <a:schemeClr val="bg2"/>
              </a:buClr>
              <a:buNone/>
              <a:defRPr lang="en-US" sz="2200" dirty="0" smtClean="0">
                <a:solidFill>
                  <a:schemeClr val="bg1"/>
                </a:solidFill>
              </a:defRPr>
            </a:lvl1pPr>
            <a:lvl2pPr marL="457200" indent="-185738">
              <a:buClr>
                <a:schemeClr val="bg2"/>
              </a:buClr>
              <a:buFont typeface="Arial" panose="020B0604020202020204" pitchFamily="34" charset="0"/>
              <a:buChar char="•"/>
              <a:defRPr lang="en-US" sz="1800" dirty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FDE14A-2EF7-4898-9DF7-AE96EAEAF710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040063" y="1134862"/>
            <a:ext cx="9151937" cy="1700212"/>
          </a:xfrm>
          <a:solidFill>
            <a:srgbClr val="000000"/>
          </a:solidFill>
          <a:ln>
            <a:noFill/>
          </a:ln>
        </p:spPr>
        <p:txBody>
          <a:bodyPr vert="horz" wrap="square" lIns="182880" tIns="144000" rIns="108000" bIns="81610" numCol="1" anchor="t" anchorCtr="0" compatLnSpc="1">
            <a:prstTxWarp prst="textNoShape">
              <a:avLst/>
            </a:prstTxWarp>
            <a:normAutofit/>
          </a:bodyPr>
          <a:lstStyle>
            <a:lvl1pPr marL="177800" indent="-177800">
              <a:tabLst>
                <a:tab pos="0" algn="l"/>
                <a:tab pos="114300" algn="l"/>
              </a:tabLst>
              <a:defRPr lang="en-US" sz="20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00140" indent="-285750">
              <a:buFont typeface="Arial" panose="020B0604020202020204" pitchFamily="34" charset="0"/>
              <a:buChar char="•"/>
              <a:defRPr lang="en-US" sz="1400" dirty="0" smtClean="0">
                <a:solidFill>
                  <a:schemeClr val="bg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98299" lvl="0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298299" lvl="1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D308CE5-E127-42EF-84CC-8C39DCB0376D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255588" y="1466850"/>
            <a:ext cx="2405062" cy="1038225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14390" indent="0">
              <a:buFont typeface="Arial" panose="020B0604020202020204" pitchFamily="34" charset="0"/>
              <a:buNone/>
              <a:defRPr/>
            </a:lvl2pPr>
            <a:lvl3pPr marL="532405" indent="0">
              <a:buNone/>
              <a:defRPr/>
            </a:lvl3pPr>
            <a:lvl4pPr marL="747634" indent="0">
              <a:buNone/>
              <a:defRPr/>
            </a:lvl4pPr>
            <a:lvl5pPr marL="962860" indent="0">
              <a:buNone/>
              <a:defRPr/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5556F63-D09D-45BF-9E37-C5428CCACF3F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255588" y="3261530"/>
            <a:ext cx="2405062" cy="1038225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14390" indent="0">
              <a:buFont typeface="Arial" panose="020B0604020202020204" pitchFamily="34" charset="0"/>
              <a:buNone/>
              <a:defRPr/>
            </a:lvl2pPr>
            <a:lvl3pPr marL="532405" indent="0">
              <a:buNone/>
              <a:defRPr/>
            </a:lvl3pPr>
            <a:lvl4pPr marL="747634" indent="0">
              <a:buNone/>
              <a:defRPr/>
            </a:lvl4pPr>
            <a:lvl5pPr marL="962860" indent="0">
              <a:buNone/>
              <a:defRPr/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EF1986C6-DA9E-479D-91D8-8410F2ECBF4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255588" y="5063034"/>
            <a:ext cx="2405062" cy="1038225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14390" indent="0">
              <a:buFont typeface="Arial" panose="020B0604020202020204" pitchFamily="34" charset="0"/>
              <a:buNone/>
              <a:defRPr/>
            </a:lvl2pPr>
            <a:lvl3pPr marL="532405" indent="0">
              <a:buNone/>
              <a:defRPr/>
            </a:lvl3pPr>
            <a:lvl4pPr marL="747634" indent="0">
              <a:buNone/>
              <a:defRPr/>
            </a:lvl4pPr>
            <a:lvl5pPr marL="962860" indent="0">
              <a:buNone/>
              <a:defRPr/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30808AB5-D7A5-4090-B1F7-2494EABE1E22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>
          <a:xfrm>
            <a:off x="3040063" y="2929543"/>
            <a:ext cx="9151937" cy="1700212"/>
          </a:xfrm>
          <a:solidFill>
            <a:srgbClr val="000000"/>
          </a:solidFill>
          <a:ln>
            <a:noFill/>
          </a:ln>
        </p:spPr>
        <p:txBody>
          <a:bodyPr vert="horz" wrap="square" lIns="182880" tIns="144000" rIns="108000" bIns="81610" numCol="1" anchor="t" anchorCtr="0" compatLnSpc="1">
            <a:prstTxWarp prst="textNoShape">
              <a:avLst/>
            </a:prstTxWarp>
            <a:normAutofit/>
          </a:bodyPr>
          <a:lstStyle>
            <a:lvl1pPr marL="177800" indent="-177800">
              <a:tabLst>
                <a:tab pos="0" algn="l"/>
                <a:tab pos="114300" algn="l"/>
              </a:tabLst>
              <a:defRPr lang="en-US" sz="20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00140" indent="-285750">
              <a:buFont typeface="Arial" panose="020B0604020202020204" pitchFamily="34" charset="0"/>
              <a:buChar char="•"/>
              <a:defRPr lang="en-US" sz="1400" dirty="0" smtClean="0">
                <a:solidFill>
                  <a:schemeClr val="bg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98299" lvl="0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298299" lvl="1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9D5441F3-C4D5-4770-8404-74B18BB2DBF6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>
          <a:xfrm>
            <a:off x="3040063" y="4724223"/>
            <a:ext cx="9151937" cy="1700212"/>
          </a:xfrm>
          <a:solidFill>
            <a:srgbClr val="000000"/>
          </a:solidFill>
          <a:ln>
            <a:noFill/>
          </a:ln>
        </p:spPr>
        <p:txBody>
          <a:bodyPr vert="horz" wrap="square" lIns="182880" tIns="144000" rIns="108000" bIns="81610" numCol="1" anchor="t" anchorCtr="0" compatLnSpc="1">
            <a:prstTxWarp prst="textNoShape">
              <a:avLst/>
            </a:prstTxWarp>
            <a:normAutofit/>
          </a:bodyPr>
          <a:lstStyle>
            <a:lvl1pPr marL="177800" indent="-177800">
              <a:tabLst>
                <a:tab pos="0" algn="l"/>
                <a:tab pos="114300" algn="l"/>
              </a:tabLst>
              <a:defRPr lang="en-US" sz="20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00140" indent="-285750">
              <a:buFont typeface="Arial" panose="020B0604020202020204" pitchFamily="34" charset="0"/>
              <a:buChar char="•"/>
              <a:defRPr lang="en-US" sz="1400" dirty="0" smtClean="0">
                <a:solidFill>
                  <a:schemeClr val="bg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98299" lvl="0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298299" lvl="1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43032444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Four Horizontal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07DA25B9-E637-4C84-AD93-6590C4FAC193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3646" y="1230924"/>
            <a:ext cx="3381067" cy="1213042"/>
          </a:xfrm>
          <a:prstGeom prst="round1Rect">
            <a:avLst>
              <a:gd name="adj" fmla="val 15433"/>
            </a:avLst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dirty="0">
                <a:solidFill>
                  <a:schemeClr val="bg1"/>
                </a:solidFill>
              </a:defRPr>
            </a:lvl1pPr>
          </a:lstStyle>
          <a:p>
            <a:pPr marL="298299" lvl="0" indent="-298299">
              <a:buClr>
                <a:schemeClr val="bg2"/>
              </a:buClr>
            </a:pPr>
            <a:r>
              <a:rPr lang="en-US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58D235EE-9936-4403-9359-35AEB2FF0C1E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3447138" y="1233978"/>
            <a:ext cx="8744862" cy="1213041"/>
          </a:xfrm>
          <a:solidFill>
            <a:schemeClr val="tx1"/>
          </a:solidFill>
          <a:ln>
            <a:noFill/>
          </a:ln>
        </p:spPr>
        <p:txBody>
          <a:bodyPr vert="horz" wrap="square" lIns="182880" tIns="144000" rIns="108000" bIns="81610" numCol="1" anchor="t" anchorCtr="0" compatLnSpc="1">
            <a:prstTxWarp prst="textNoShape">
              <a:avLst/>
            </a:prstTxWarp>
            <a:normAutofit/>
          </a:bodyPr>
          <a:lstStyle>
            <a:lvl1pPr marL="298299" indent="-298299">
              <a:defRPr lang="en-US" sz="200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00140" indent="-285750">
              <a:defRPr lang="en-US" sz="16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98299" lvl="0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Click to edit Master text styles</a:t>
            </a:r>
          </a:p>
          <a:p>
            <a:pPr marL="298299" lvl="1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Second level</a:t>
            </a:r>
          </a:p>
          <a:p>
            <a:pPr marL="298299" lvl="2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Third level</a:t>
            </a:r>
          </a:p>
          <a:p>
            <a:pPr marL="298299" lvl="3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Fourth level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57C7D518-41C0-436C-A932-FD47E9D4BDF2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307075" y="1318332"/>
            <a:ext cx="2927443" cy="1038225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14390" indent="0">
              <a:buFont typeface="Arial" panose="020B0604020202020204" pitchFamily="34" charset="0"/>
              <a:buNone/>
              <a:defRPr/>
            </a:lvl2pPr>
            <a:lvl3pPr marL="532405" indent="0">
              <a:buNone/>
              <a:defRPr/>
            </a:lvl3pPr>
            <a:lvl4pPr marL="747634" indent="0">
              <a:buNone/>
              <a:defRPr/>
            </a:lvl4pPr>
            <a:lvl5pPr marL="962860" indent="0">
              <a:buNone/>
              <a:defRPr/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D347FE31-0F52-4425-AFDE-277526A2BD49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13646" y="2506989"/>
            <a:ext cx="3381067" cy="1213042"/>
          </a:xfrm>
          <a:prstGeom prst="round1Rect">
            <a:avLst>
              <a:gd name="adj" fmla="val 0"/>
            </a:avLst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dirty="0">
                <a:solidFill>
                  <a:schemeClr val="bg1"/>
                </a:solidFill>
              </a:defRPr>
            </a:lvl1pPr>
          </a:lstStyle>
          <a:p>
            <a:pPr marL="298299" lvl="0" indent="-298299">
              <a:buClr>
                <a:schemeClr val="bg2"/>
              </a:buClr>
            </a:pPr>
            <a:r>
              <a:rPr lang="en-US"/>
              <a:t> 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0A2DEDDC-E6BA-4504-B7C1-E0FA5637E43B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307075" y="2594397"/>
            <a:ext cx="2927443" cy="1038225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14390" indent="0">
              <a:buFont typeface="Arial" panose="020B0604020202020204" pitchFamily="34" charset="0"/>
              <a:buNone/>
              <a:defRPr/>
            </a:lvl2pPr>
            <a:lvl3pPr marL="532405" indent="0">
              <a:buNone/>
              <a:defRPr/>
            </a:lvl3pPr>
            <a:lvl4pPr marL="747634" indent="0">
              <a:buNone/>
              <a:defRPr/>
            </a:lvl4pPr>
            <a:lvl5pPr marL="962860" indent="0">
              <a:buNone/>
              <a:defRPr/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7AA94E32-55F9-47D1-84CA-33C86377277B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13646" y="3810350"/>
            <a:ext cx="3381067" cy="1213042"/>
          </a:xfrm>
          <a:prstGeom prst="round1Rect">
            <a:avLst>
              <a:gd name="adj" fmla="val 0"/>
            </a:avLst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dirty="0">
                <a:solidFill>
                  <a:schemeClr val="bg1"/>
                </a:solidFill>
              </a:defRPr>
            </a:lvl1pPr>
          </a:lstStyle>
          <a:p>
            <a:pPr marL="298299" lvl="0" indent="-298299">
              <a:buClr>
                <a:schemeClr val="bg2"/>
              </a:buClr>
            </a:pPr>
            <a:r>
              <a:rPr lang="en-US"/>
              <a:t> 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F555C3B6-FFAE-4E9D-8878-1EAEEB1B8A6E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307075" y="3884110"/>
            <a:ext cx="2927443" cy="1038225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14390" indent="0">
              <a:buFont typeface="Arial" panose="020B0604020202020204" pitchFamily="34" charset="0"/>
              <a:buNone/>
              <a:defRPr/>
            </a:lvl2pPr>
            <a:lvl3pPr marL="532405" indent="0">
              <a:buNone/>
              <a:defRPr/>
            </a:lvl3pPr>
            <a:lvl4pPr marL="747634" indent="0">
              <a:buNone/>
              <a:defRPr/>
            </a:lvl4pPr>
            <a:lvl5pPr marL="962860" indent="0">
              <a:buNone/>
              <a:defRPr/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9A0F1F38-745F-46FE-8C49-8039670DB153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13646" y="5086415"/>
            <a:ext cx="3381067" cy="1213042"/>
          </a:xfrm>
          <a:prstGeom prst="round1Rect">
            <a:avLst>
              <a:gd name="adj" fmla="val 0"/>
            </a:avLst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dirty="0">
                <a:solidFill>
                  <a:schemeClr val="bg1"/>
                </a:solidFill>
              </a:defRPr>
            </a:lvl1pPr>
          </a:lstStyle>
          <a:p>
            <a:pPr marL="298299" lvl="0" indent="-298299">
              <a:buClr>
                <a:schemeClr val="bg2"/>
              </a:buClr>
            </a:pPr>
            <a:r>
              <a:rPr lang="en-US"/>
              <a:t> 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A180A0AE-6928-4542-AEFD-35D34BAA6B83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307075" y="5160175"/>
            <a:ext cx="2927443" cy="1038225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14390" indent="0">
              <a:buFont typeface="Arial" panose="020B0604020202020204" pitchFamily="34" charset="0"/>
              <a:buNone/>
              <a:defRPr/>
            </a:lvl2pPr>
            <a:lvl3pPr marL="532405" indent="0">
              <a:buNone/>
              <a:defRPr/>
            </a:lvl3pPr>
            <a:lvl4pPr marL="747634" indent="0">
              <a:buNone/>
              <a:defRPr/>
            </a:lvl4pPr>
            <a:lvl5pPr marL="962860" indent="0">
              <a:buNone/>
              <a:defRPr/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AECB0E7F-A993-4FEA-9A79-063A0031CE7F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>
          <a:xfrm>
            <a:off x="3447138" y="2506990"/>
            <a:ext cx="8744862" cy="1213041"/>
          </a:xfrm>
          <a:solidFill>
            <a:schemeClr val="tx1"/>
          </a:solidFill>
          <a:ln>
            <a:noFill/>
          </a:ln>
        </p:spPr>
        <p:txBody>
          <a:bodyPr vert="horz" wrap="square" lIns="182880" tIns="144000" rIns="108000" bIns="81610" numCol="1" anchor="t" anchorCtr="0" compatLnSpc="1">
            <a:prstTxWarp prst="textNoShape">
              <a:avLst/>
            </a:prstTxWarp>
            <a:normAutofit/>
          </a:bodyPr>
          <a:lstStyle>
            <a:lvl1pPr marL="298299" indent="-298299">
              <a:defRPr lang="en-US" sz="200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00140" indent="-285750">
              <a:defRPr lang="en-US" sz="16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98299" lvl="0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Click to edit Master text styles</a:t>
            </a:r>
          </a:p>
          <a:p>
            <a:pPr marL="298299" lvl="1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Second level</a:t>
            </a:r>
          </a:p>
          <a:p>
            <a:pPr marL="298299" lvl="2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Third level</a:t>
            </a:r>
          </a:p>
          <a:p>
            <a:pPr marL="298299" lvl="3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Fourth level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27E45D89-57FB-4C08-A4CC-9DA19AF320F1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>
          <a:xfrm>
            <a:off x="3447138" y="3810351"/>
            <a:ext cx="8744862" cy="1213041"/>
          </a:xfrm>
          <a:solidFill>
            <a:schemeClr val="tx1"/>
          </a:solidFill>
          <a:ln>
            <a:noFill/>
          </a:ln>
        </p:spPr>
        <p:txBody>
          <a:bodyPr vert="horz" wrap="square" lIns="182880" tIns="144000" rIns="108000" bIns="81610" numCol="1" anchor="t" anchorCtr="0" compatLnSpc="1">
            <a:prstTxWarp prst="textNoShape">
              <a:avLst/>
            </a:prstTxWarp>
            <a:normAutofit/>
          </a:bodyPr>
          <a:lstStyle>
            <a:lvl1pPr marL="298299" indent="-298299">
              <a:defRPr lang="en-US" sz="200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00140" indent="-285750">
              <a:defRPr lang="en-US" sz="16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98299" lvl="0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Click to edit Master text styles</a:t>
            </a:r>
          </a:p>
          <a:p>
            <a:pPr marL="298299" lvl="1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Second level</a:t>
            </a:r>
          </a:p>
          <a:p>
            <a:pPr marL="298299" lvl="2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Third level</a:t>
            </a:r>
          </a:p>
          <a:p>
            <a:pPr marL="298299" lvl="3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Fourth level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AF0F317-AF52-405B-ACDC-618F922258ED}"/>
              </a:ext>
            </a:extLst>
          </p:cNvPr>
          <p:cNvSpPr>
            <a:spLocks noGrp="1"/>
          </p:cNvSpPr>
          <p:nvPr>
            <p:ph type="body" sz="quarter" idx="90"/>
          </p:nvPr>
        </p:nvSpPr>
        <p:spPr>
          <a:xfrm>
            <a:off x="3447138" y="5086416"/>
            <a:ext cx="8744862" cy="1213041"/>
          </a:xfrm>
          <a:solidFill>
            <a:schemeClr val="tx1"/>
          </a:solidFill>
          <a:ln>
            <a:noFill/>
          </a:ln>
        </p:spPr>
        <p:txBody>
          <a:bodyPr vert="horz" wrap="square" lIns="182880" tIns="144000" rIns="108000" bIns="81610" numCol="1" anchor="t" anchorCtr="0" compatLnSpc="1">
            <a:prstTxWarp prst="textNoShape">
              <a:avLst/>
            </a:prstTxWarp>
            <a:normAutofit/>
          </a:bodyPr>
          <a:lstStyle>
            <a:lvl1pPr marL="298299" indent="-298299">
              <a:defRPr lang="en-US" sz="200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00140" indent="-285750">
              <a:defRPr lang="en-US" sz="16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98299" lvl="0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Click to edit Master text styles</a:t>
            </a:r>
          </a:p>
          <a:p>
            <a:pPr marL="298299" lvl="1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Second level</a:t>
            </a:r>
          </a:p>
          <a:p>
            <a:pPr marL="298299" lvl="2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Third level</a:t>
            </a:r>
          </a:p>
          <a:p>
            <a:pPr marL="298299" lvl="3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97420023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54555E14-22CA-4D8C-B245-BE40EAD5928D}"/>
              </a:ext>
            </a:extLst>
          </p:cNvPr>
          <p:cNvSpPr/>
          <p:nvPr/>
        </p:nvSpPr>
        <p:spPr>
          <a:xfrm>
            <a:off x="1715306" y="3430613"/>
            <a:ext cx="1715306" cy="13447"/>
          </a:xfrm>
          <a:custGeom>
            <a:avLst/>
            <a:gdLst>
              <a:gd name="connsiteX0" fmla="*/ 0 w 1715306"/>
              <a:gd name="connsiteY0" fmla="*/ 0 h 13447"/>
              <a:gd name="connsiteX1" fmla="*/ 1715307 w 1715306"/>
              <a:gd name="connsiteY1" fmla="*/ 0 h 13447"/>
              <a:gd name="connsiteX2" fmla="*/ 1715307 w 1715306"/>
              <a:gd name="connsiteY2" fmla="*/ 0 h 13447"/>
              <a:gd name="connsiteX3" fmla="*/ 0 w 1715306"/>
              <a:gd name="connsiteY3" fmla="*/ 0 h 13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15306" h="13447">
                <a:moveTo>
                  <a:pt x="0" y="0"/>
                </a:moveTo>
                <a:lnTo>
                  <a:pt x="1715307" y="0"/>
                </a:lnTo>
                <a:lnTo>
                  <a:pt x="1715307" y="0"/>
                </a:lnTo>
                <a:lnTo>
                  <a:pt x="0" y="0"/>
                </a:lnTo>
                <a:close/>
              </a:path>
            </a:pathLst>
          </a:custGeom>
          <a:solidFill>
            <a:srgbClr val="ED3493"/>
          </a:solidFill>
          <a:ln w="13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E438FB1-9588-4BAD-99C1-7B154D484B64}"/>
              </a:ext>
            </a:extLst>
          </p:cNvPr>
          <p:cNvSpPr/>
          <p:nvPr/>
        </p:nvSpPr>
        <p:spPr>
          <a:xfrm>
            <a:off x="0" y="3430613"/>
            <a:ext cx="1072537" cy="13447"/>
          </a:xfrm>
          <a:custGeom>
            <a:avLst/>
            <a:gdLst>
              <a:gd name="connsiteX0" fmla="*/ 0 w 1072537"/>
              <a:gd name="connsiteY0" fmla="*/ 0 h 13447"/>
              <a:gd name="connsiteX1" fmla="*/ 1072538 w 1072537"/>
              <a:gd name="connsiteY1" fmla="*/ 0 h 13447"/>
              <a:gd name="connsiteX2" fmla="*/ 1072538 w 1072537"/>
              <a:gd name="connsiteY2" fmla="*/ 0 h 13447"/>
              <a:gd name="connsiteX3" fmla="*/ 0 w 1072537"/>
              <a:gd name="connsiteY3" fmla="*/ 0 h 13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2537" h="13447">
                <a:moveTo>
                  <a:pt x="0" y="0"/>
                </a:moveTo>
                <a:lnTo>
                  <a:pt x="1072538" y="0"/>
                </a:lnTo>
                <a:lnTo>
                  <a:pt x="1072538" y="0"/>
                </a:lnTo>
                <a:lnTo>
                  <a:pt x="0" y="0"/>
                </a:lnTo>
                <a:close/>
              </a:path>
            </a:pathLst>
          </a:custGeom>
          <a:solidFill>
            <a:srgbClr val="ED3493"/>
          </a:solidFill>
          <a:ln w="13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931D5B2-4909-447A-8B0A-D5EEB60BE25A}"/>
              </a:ext>
            </a:extLst>
          </p:cNvPr>
          <p:cNvSpPr/>
          <p:nvPr/>
        </p:nvSpPr>
        <p:spPr>
          <a:xfrm>
            <a:off x="3203500" y="0"/>
            <a:ext cx="8988499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ED823C-1954-43A4-9849-E5C58AB227F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22" name="Graphic 6">
            <a:extLst>
              <a:ext uri="{FF2B5EF4-FFF2-40B4-BE49-F238E27FC236}">
                <a16:creationId xmlns:a16="http://schemas.microsoft.com/office/drawing/2014/main" id="{94596DCF-BED3-42A8-B4CC-3AA332E658AD}"/>
              </a:ext>
            </a:extLst>
          </p:cNvPr>
          <p:cNvGrpSpPr/>
          <p:nvPr/>
        </p:nvGrpSpPr>
        <p:grpSpPr>
          <a:xfrm>
            <a:off x="682806" y="4537956"/>
            <a:ext cx="1876897" cy="1568143"/>
            <a:chOff x="675385" y="4919794"/>
            <a:chExt cx="1876897" cy="1568143"/>
          </a:xfrm>
          <a:gradFill flip="none" rotWithShape="1">
            <a:gsLst>
              <a:gs pos="14000">
                <a:schemeClr val="accent2"/>
              </a:gs>
              <a:gs pos="100000">
                <a:schemeClr val="accent3"/>
              </a:gs>
            </a:gsLst>
            <a:lin ang="5400000" scaled="1"/>
            <a:tileRect/>
          </a:gradFill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4BAC622-6384-4E32-AC34-28E9BEC10EC6}"/>
                </a:ext>
              </a:extLst>
            </p:cNvPr>
            <p:cNvSpPr/>
            <p:nvPr/>
          </p:nvSpPr>
          <p:spPr>
            <a:xfrm>
              <a:off x="881654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5"/>
                </a:gs>
                <a:gs pos="0">
                  <a:schemeClr val="accent4"/>
                </a:gs>
              </a:gsLst>
              <a:lin ang="10800000" scaled="1"/>
              <a:tileRect/>
            </a:gra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aa-ET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99119023-80F6-4CA3-A4D9-7660D5D5B743}"/>
                </a:ext>
              </a:extLst>
            </p:cNvPr>
            <p:cNvSpPr/>
            <p:nvPr/>
          </p:nvSpPr>
          <p:spPr>
            <a:xfrm>
              <a:off x="1473513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5"/>
                </a:gs>
                <a:gs pos="0">
                  <a:schemeClr val="accent4"/>
                </a:gs>
              </a:gsLst>
              <a:lin ang="10800000" scaled="1"/>
              <a:tileRect/>
            </a:gra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aa-ET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6C2E1B1-646D-4DCB-B7EB-391C633DFD86}"/>
                </a:ext>
              </a:extLst>
            </p:cNvPr>
            <p:cNvSpPr/>
            <p:nvPr/>
          </p:nvSpPr>
          <p:spPr>
            <a:xfrm>
              <a:off x="673859" y="4919793"/>
              <a:ext cx="1879452" cy="1570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5"/>
                </a:gs>
                <a:gs pos="0">
                  <a:schemeClr val="accent4"/>
                </a:gs>
              </a:gsLst>
              <a:lin ang="10800000" scaled="1"/>
              <a:tileRect/>
            </a:gra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aa-ET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2BFE7D0-8C77-46F2-9473-D48A1AAE9FF8}"/>
              </a:ext>
            </a:extLst>
          </p:cNvPr>
          <p:cNvGrpSpPr/>
          <p:nvPr/>
        </p:nvGrpSpPr>
        <p:grpSpPr>
          <a:xfrm>
            <a:off x="1974642" y="633046"/>
            <a:ext cx="839458" cy="3013984"/>
            <a:chOff x="3796071" y="1627814"/>
            <a:chExt cx="992307" cy="3562771"/>
          </a:xfrm>
          <a:solidFill>
            <a:schemeClr val="tx1"/>
          </a:solidFill>
        </p:grpSpPr>
        <p:sp>
          <p:nvSpPr>
            <p:cNvPr id="28" name="Freeform 14">
              <a:extLst>
                <a:ext uri="{FF2B5EF4-FFF2-40B4-BE49-F238E27FC236}">
                  <a16:creationId xmlns:a16="http://schemas.microsoft.com/office/drawing/2014/main" id="{06BCB32A-104A-4139-A97B-505437ABA0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 rot="16200000">
              <a:off x="3885964" y="4522027"/>
              <a:ext cx="620650" cy="716466"/>
            </a:xfrm>
            <a:custGeom>
              <a:avLst/>
              <a:gdLst>
                <a:gd name="T0" fmla="*/ 97 w 226"/>
                <a:gd name="T1" fmla="*/ 0 h 254"/>
                <a:gd name="T2" fmla="*/ 0 w 226"/>
                <a:gd name="T3" fmla="*/ 254 h 254"/>
                <a:gd name="T4" fmla="*/ 29 w 226"/>
                <a:gd name="T5" fmla="*/ 254 h 254"/>
                <a:gd name="T6" fmla="*/ 55 w 226"/>
                <a:gd name="T7" fmla="*/ 184 h 254"/>
                <a:gd name="T8" fmla="*/ 169 w 226"/>
                <a:gd name="T9" fmla="*/ 184 h 254"/>
                <a:gd name="T10" fmla="*/ 195 w 226"/>
                <a:gd name="T11" fmla="*/ 254 h 254"/>
                <a:gd name="T12" fmla="*/ 226 w 226"/>
                <a:gd name="T13" fmla="*/ 254 h 254"/>
                <a:gd name="T14" fmla="*/ 129 w 226"/>
                <a:gd name="T15" fmla="*/ 0 h 254"/>
                <a:gd name="T16" fmla="*/ 97 w 226"/>
                <a:gd name="T17" fmla="*/ 0 h 254"/>
                <a:gd name="T18" fmla="*/ 158 w 226"/>
                <a:gd name="T19" fmla="*/ 156 h 254"/>
                <a:gd name="T20" fmla="*/ 66 w 226"/>
                <a:gd name="T21" fmla="*/ 156 h 254"/>
                <a:gd name="T22" fmla="*/ 91 w 226"/>
                <a:gd name="T23" fmla="*/ 91 h 254"/>
                <a:gd name="T24" fmla="*/ 97 w 226"/>
                <a:gd name="T25" fmla="*/ 73 h 254"/>
                <a:gd name="T26" fmla="*/ 104 w 226"/>
                <a:gd name="T27" fmla="*/ 54 h 254"/>
                <a:gd name="T28" fmla="*/ 110 w 226"/>
                <a:gd name="T29" fmla="*/ 36 h 254"/>
                <a:gd name="T30" fmla="*/ 112 w 226"/>
                <a:gd name="T31" fmla="*/ 28 h 254"/>
                <a:gd name="T32" fmla="*/ 114 w 226"/>
                <a:gd name="T33" fmla="*/ 34 h 254"/>
                <a:gd name="T34" fmla="*/ 121 w 226"/>
                <a:gd name="T35" fmla="*/ 54 h 254"/>
                <a:gd name="T36" fmla="*/ 127 w 226"/>
                <a:gd name="T37" fmla="*/ 73 h 254"/>
                <a:gd name="T38" fmla="*/ 133 w 226"/>
                <a:gd name="T39" fmla="*/ 89 h 254"/>
                <a:gd name="T40" fmla="*/ 158 w 226"/>
                <a:gd name="T41" fmla="*/ 156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6" h="254">
                  <a:moveTo>
                    <a:pt x="97" y="0"/>
                  </a:moveTo>
                  <a:cubicBezTo>
                    <a:pt x="0" y="254"/>
                    <a:pt x="0" y="254"/>
                    <a:pt x="0" y="254"/>
                  </a:cubicBezTo>
                  <a:cubicBezTo>
                    <a:pt x="29" y="254"/>
                    <a:pt x="29" y="254"/>
                    <a:pt x="29" y="254"/>
                  </a:cubicBezTo>
                  <a:cubicBezTo>
                    <a:pt x="55" y="184"/>
                    <a:pt x="55" y="184"/>
                    <a:pt x="55" y="184"/>
                  </a:cubicBezTo>
                  <a:cubicBezTo>
                    <a:pt x="169" y="184"/>
                    <a:pt x="169" y="184"/>
                    <a:pt x="169" y="184"/>
                  </a:cubicBezTo>
                  <a:cubicBezTo>
                    <a:pt x="195" y="254"/>
                    <a:pt x="195" y="254"/>
                    <a:pt x="195" y="254"/>
                  </a:cubicBezTo>
                  <a:cubicBezTo>
                    <a:pt x="226" y="254"/>
                    <a:pt x="226" y="254"/>
                    <a:pt x="226" y="254"/>
                  </a:cubicBezTo>
                  <a:cubicBezTo>
                    <a:pt x="129" y="0"/>
                    <a:pt x="129" y="0"/>
                    <a:pt x="129" y="0"/>
                  </a:cubicBezTo>
                  <a:lnTo>
                    <a:pt x="97" y="0"/>
                  </a:lnTo>
                  <a:close/>
                  <a:moveTo>
                    <a:pt x="158" y="156"/>
                  </a:moveTo>
                  <a:cubicBezTo>
                    <a:pt x="66" y="156"/>
                    <a:pt x="66" y="156"/>
                    <a:pt x="66" y="156"/>
                  </a:cubicBezTo>
                  <a:cubicBezTo>
                    <a:pt x="91" y="91"/>
                    <a:pt x="91" y="91"/>
                    <a:pt x="91" y="91"/>
                  </a:cubicBezTo>
                  <a:cubicBezTo>
                    <a:pt x="93" y="85"/>
                    <a:pt x="95" y="79"/>
                    <a:pt x="97" y="73"/>
                  </a:cubicBezTo>
                  <a:cubicBezTo>
                    <a:pt x="99" y="67"/>
                    <a:pt x="101" y="60"/>
                    <a:pt x="104" y="54"/>
                  </a:cubicBezTo>
                  <a:cubicBezTo>
                    <a:pt x="106" y="48"/>
                    <a:pt x="108" y="42"/>
                    <a:pt x="110" y="36"/>
                  </a:cubicBezTo>
                  <a:cubicBezTo>
                    <a:pt x="111" y="33"/>
                    <a:pt x="112" y="31"/>
                    <a:pt x="112" y="28"/>
                  </a:cubicBezTo>
                  <a:cubicBezTo>
                    <a:pt x="113" y="30"/>
                    <a:pt x="114" y="32"/>
                    <a:pt x="114" y="34"/>
                  </a:cubicBezTo>
                  <a:cubicBezTo>
                    <a:pt x="116" y="40"/>
                    <a:pt x="119" y="47"/>
                    <a:pt x="121" y="54"/>
                  </a:cubicBezTo>
                  <a:cubicBezTo>
                    <a:pt x="123" y="60"/>
                    <a:pt x="125" y="67"/>
                    <a:pt x="127" y="73"/>
                  </a:cubicBezTo>
                  <a:cubicBezTo>
                    <a:pt x="129" y="79"/>
                    <a:pt x="131" y="84"/>
                    <a:pt x="133" y="89"/>
                  </a:cubicBezTo>
                  <a:lnTo>
                    <a:pt x="158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9" name="Freeform 15">
              <a:extLst>
                <a:ext uri="{FF2B5EF4-FFF2-40B4-BE49-F238E27FC236}">
                  <a16:creationId xmlns:a16="http://schemas.microsoft.com/office/drawing/2014/main" id="{39D5C8FE-02EC-456B-B357-BF648AA734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 rot="16200000">
              <a:off x="4138267" y="3872081"/>
              <a:ext cx="519198" cy="781025"/>
            </a:xfrm>
            <a:custGeom>
              <a:avLst/>
              <a:gdLst>
                <a:gd name="T0" fmla="*/ 161 w 189"/>
                <a:gd name="T1" fmla="*/ 36 h 277"/>
                <a:gd name="T2" fmla="*/ 149 w 189"/>
                <a:gd name="T3" fmla="*/ 22 h 277"/>
                <a:gd name="T4" fmla="*/ 133 w 189"/>
                <a:gd name="T5" fmla="*/ 11 h 277"/>
                <a:gd name="T6" fmla="*/ 114 w 189"/>
                <a:gd name="T7" fmla="*/ 3 h 277"/>
                <a:gd name="T8" fmla="*/ 92 w 189"/>
                <a:gd name="T9" fmla="*/ 0 h 277"/>
                <a:gd name="T10" fmla="*/ 45 w 189"/>
                <a:gd name="T11" fmla="*/ 13 h 277"/>
                <a:gd name="T12" fmla="*/ 13 w 189"/>
                <a:gd name="T13" fmla="*/ 48 h 277"/>
                <a:gd name="T14" fmla="*/ 0 w 189"/>
                <a:gd name="T15" fmla="*/ 99 h 277"/>
                <a:gd name="T16" fmla="*/ 12 w 189"/>
                <a:gd name="T17" fmla="*/ 150 h 277"/>
                <a:gd name="T18" fmla="*/ 45 w 189"/>
                <a:gd name="T19" fmla="*/ 185 h 277"/>
                <a:gd name="T20" fmla="*/ 93 w 189"/>
                <a:gd name="T21" fmla="*/ 197 h 277"/>
                <a:gd name="T22" fmla="*/ 126 w 189"/>
                <a:gd name="T23" fmla="*/ 190 h 277"/>
                <a:gd name="T24" fmla="*/ 152 w 189"/>
                <a:gd name="T25" fmla="*/ 171 h 277"/>
                <a:gd name="T26" fmla="*/ 162 w 189"/>
                <a:gd name="T27" fmla="*/ 157 h 277"/>
                <a:gd name="T28" fmla="*/ 162 w 189"/>
                <a:gd name="T29" fmla="*/ 183 h 277"/>
                <a:gd name="T30" fmla="*/ 154 w 189"/>
                <a:gd name="T31" fmla="*/ 221 h 277"/>
                <a:gd name="T32" fmla="*/ 132 w 189"/>
                <a:gd name="T33" fmla="*/ 244 h 277"/>
                <a:gd name="T34" fmla="*/ 96 w 189"/>
                <a:gd name="T35" fmla="*/ 252 h 277"/>
                <a:gd name="T36" fmla="*/ 73 w 189"/>
                <a:gd name="T37" fmla="*/ 249 h 277"/>
                <a:gd name="T38" fmla="*/ 52 w 189"/>
                <a:gd name="T39" fmla="*/ 242 h 277"/>
                <a:gd name="T40" fmla="*/ 35 w 189"/>
                <a:gd name="T41" fmla="*/ 231 h 277"/>
                <a:gd name="T42" fmla="*/ 24 w 189"/>
                <a:gd name="T43" fmla="*/ 254 h 277"/>
                <a:gd name="T44" fmla="*/ 56 w 189"/>
                <a:gd name="T45" fmla="*/ 271 h 277"/>
                <a:gd name="T46" fmla="*/ 95 w 189"/>
                <a:gd name="T47" fmla="*/ 277 h 277"/>
                <a:gd name="T48" fmla="*/ 134 w 189"/>
                <a:gd name="T49" fmla="*/ 271 h 277"/>
                <a:gd name="T50" fmla="*/ 163 w 189"/>
                <a:gd name="T51" fmla="*/ 252 h 277"/>
                <a:gd name="T52" fmla="*/ 183 w 189"/>
                <a:gd name="T53" fmla="*/ 222 h 277"/>
                <a:gd name="T54" fmla="*/ 189 w 189"/>
                <a:gd name="T55" fmla="*/ 182 h 277"/>
                <a:gd name="T56" fmla="*/ 189 w 189"/>
                <a:gd name="T57" fmla="*/ 4 h 277"/>
                <a:gd name="T58" fmla="*/ 162 w 189"/>
                <a:gd name="T59" fmla="*/ 4 h 277"/>
                <a:gd name="T60" fmla="*/ 161 w 189"/>
                <a:gd name="T61" fmla="*/ 36 h 277"/>
                <a:gd name="T62" fmla="*/ 130 w 189"/>
                <a:gd name="T63" fmla="*/ 162 h 277"/>
                <a:gd name="T64" fmla="*/ 96 w 189"/>
                <a:gd name="T65" fmla="*/ 171 h 277"/>
                <a:gd name="T66" fmla="*/ 61 w 189"/>
                <a:gd name="T67" fmla="*/ 162 h 277"/>
                <a:gd name="T68" fmla="*/ 37 w 189"/>
                <a:gd name="T69" fmla="*/ 136 h 277"/>
                <a:gd name="T70" fmla="*/ 29 w 189"/>
                <a:gd name="T71" fmla="*/ 99 h 277"/>
                <a:gd name="T72" fmla="*/ 37 w 189"/>
                <a:gd name="T73" fmla="*/ 61 h 277"/>
                <a:gd name="T74" fmla="*/ 61 w 189"/>
                <a:gd name="T75" fmla="*/ 35 h 277"/>
                <a:gd name="T76" fmla="*/ 96 w 189"/>
                <a:gd name="T77" fmla="*/ 26 h 277"/>
                <a:gd name="T78" fmla="*/ 130 w 189"/>
                <a:gd name="T79" fmla="*/ 35 h 277"/>
                <a:gd name="T80" fmla="*/ 154 w 189"/>
                <a:gd name="T81" fmla="*/ 61 h 277"/>
                <a:gd name="T82" fmla="*/ 163 w 189"/>
                <a:gd name="T83" fmla="*/ 99 h 277"/>
                <a:gd name="T84" fmla="*/ 154 w 189"/>
                <a:gd name="T85" fmla="*/ 136 h 277"/>
                <a:gd name="T86" fmla="*/ 130 w 189"/>
                <a:gd name="T87" fmla="*/ 162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9" h="277">
                  <a:moveTo>
                    <a:pt x="161" y="36"/>
                  </a:moveTo>
                  <a:cubicBezTo>
                    <a:pt x="158" y="31"/>
                    <a:pt x="154" y="27"/>
                    <a:pt x="149" y="22"/>
                  </a:cubicBezTo>
                  <a:cubicBezTo>
                    <a:pt x="144" y="18"/>
                    <a:pt x="139" y="14"/>
                    <a:pt x="133" y="11"/>
                  </a:cubicBezTo>
                  <a:cubicBezTo>
                    <a:pt x="127" y="7"/>
                    <a:pt x="121" y="5"/>
                    <a:pt x="114" y="3"/>
                  </a:cubicBezTo>
                  <a:cubicBezTo>
                    <a:pt x="107" y="1"/>
                    <a:pt x="99" y="0"/>
                    <a:pt x="92" y="0"/>
                  </a:cubicBezTo>
                  <a:cubicBezTo>
                    <a:pt x="75" y="0"/>
                    <a:pt x="59" y="4"/>
                    <a:pt x="45" y="13"/>
                  </a:cubicBezTo>
                  <a:cubicBezTo>
                    <a:pt x="32" y="21"/>
                    <a:pt x="21" y="33"/>
                    <a:pt x="13" y="48"/>
                  </a:cubicBezTo>
                  <a:cubicBezTo>
                    <a:pt x="4" y="63"/>
                    <a:pt x="0" y="80"/>
                    <a:pt x="0" y="99"/>
                  </a:cubicBezTo>
                  <a:cubicBezTo>
                    <a:pt x="0" y="118"/>
                    <a:pt x="4" y="135"/>
                    <a:pt x="12" y="150"/>
                  </a:cubicBezTo>
                  <a:cubicBezTo>
                    <a:pt x="20" y="164"/>
                    <a:pt x="31" y="176"/>
                    <a:pt x="45" y="185"/>
                  </a:cubicBezTo>
                  <a:cubicBezTo>
                    <a:pt x="59" y="193"/>
                    <a:pt x="75" y="197"/>
                    <a:pt x="93" y="197"/>
                  </a:cubicBezTo>
                  <a:cubicBezTo>
                    <a:pt x="104" y="197"/>
                    <a:pt x="115" y="195"/>
                    <a:pt x="126" y="190"/>
                  </a:cubicBezTo>
                  <a:cubicBezTo>
                    <a:pt x="136" y="185"/>
                    <a:pt x="145" y="179"/>
                    <a:pt x="152" y="171"/>
                  </a:cubicBezTo>
                  <a:cubicBezTo>
                    <a:pt x="156" y="167"/>
                    <a:pt x="159" y="162"/>
                    <a:pt x="162" y="157"/>
                  </a:cubicBezTo>
                  <a:cubicBezTo>
                    <a:pt x="162" y="183"/>
                    <a:pt x="162" y="183"/>
                    <a:pt x="162" y="183"/>
                  </a:cubicBezTo>
                  <a:cubicBezTo>
                    <a:pt x="162" y="198"/>
                    <a:pt x="159" y="211"/>
                    <a:pt x="154" y="221"/>
                  </a:cubicBezTo>
                  <a:cubicBezTo>
                    <a:pt x="149" y="231"/>
                    <a:pt x="141" y="239"/>
                    <a:pt x="132" y="244"/>
                  </a:cubicBezTo>
                  <a:cubicBezTo>
                    <a:pt x="122" y="249"/>
                    <a:pt x="110" y="252"/>
                    <a:pt x="96" y="252"/>
                  </a:cubicBezTo>
                  <a:cubicBezTo>
                    <a:pt x="88" y="252"/>
                    <a:pt x="80" y="251"/>
                    <a:pt x="73" y="249"/>
                  </a:cubicBezTo>
                  <a:cubicBezTo>
                    <a:pt x="65" y="247"/>
                    <a:pt x="59" y="245"/>
                    <a:pt x="52" y="242"/>
                  </a:cubicBezTo>
                  <a:cubicBezTo>
                    <a:pt x="46" y="239"/>
                    <a:pt x="40" y="235"/>
                    <a:pt x="35" y="231"/>
                  </a:cubicBezTo>
                  <a:cubicBezTo>
                    <a:pt x="24" y="254"/>
                    <a:pt x="24" y="254"/>
                    <a:pt x="24" y="254"/>
                  </a:cubicBezTo>
                  <a:cubicBezTo>
                    <a:pt x="33" y="261"/>
                    <a:pt x="43" y="266"/>
                    <a:pt x="56" y="271"/>
                  </a:cubicBezTo>
                  <a:cubicBezTo>
                    <a:pt x="68" y="275"/>
                    <a:pt x="81" y="277"/>
                    <a:pt x="95" y="277"/>
                  </a:cubicBezTo>
                  <a:cubicBezTo>
                    <a:pt x="109" y="277"/>
                    <a:pt x="122" y="275"/>
                    <a:pt x="134" y="271"/>
                  </a:cubicBezTo>
                  <a:cubicBezTo>
                    <a:pt x="145" y="267"/>
                    <a:pt x="155" y="260"/>
                    <a:pt x="163" y="252"/>
                  </a:cubicBezTo>
                  <a:cubicBezTo>
                    <a:pt x="172" y="244"/>
                    <a:pt x="178" y="234"/>
                    <a:pt x="183" y="222"/>
                  </a:cubicBezTo>
                  <a:cubicBezTo>
                    <a:pt x="187" y="211"/>
                    <a:pt x="189" y="197"/>
                    <a:pt x="189" y="182"/>
                  </a:cubicBezTo>
                  <a:cubicBezTo>
                    <a:pt x="189" y="4"/>
                    <a:pt x="189" y="4"/>
                    <a:pt x="189" y="4"/>
                  </a:cubicBezTo>
                  <a:cubicBezTo>
                    <a:pt x="162" y="4"/>
                    <a:pt x="162" y="4"/>
                    <a:pt x="162" y="4"/>
                  </a:cubicBezTo>
                  <a:lnTo>
                    <a:pt x="161" y="36"/>
                  </a:lnTo>
                  <a:close/>
                  <a:moveTo>
                    <a:pt x="130" y="162"/>
                  </a:moveTo>
                  <a:cubicBezTo>
                    <a:pt x="120" y="168"/>
                    <a:pt x="109" y="171"/>
                    <a:pt x="96" y="171"/>
                  </a:cubicBezTo>
                  <a:cubicBezTo>
                    <a:pt x="83" y="171"/>
                    <a:pt x="71" y="168"/>
                    <a:pt x="61" y="162"/>
                  </a:cubicBezTo>
                  <a:cubicBezTo>
                    <a:pt x="51" y="155"/>
                    <a:pt x="43" y="147"/>
                    <a:pt x="37" y="136"/>
                  </a:cubicBezTo>
                  <a:cubicBezTo>
                    <a:pt x="32" y="125"/>
                    <a:pt x="29" y="112"/>
                    <a:pt x="29" y="99"/>
                  </a:cubicBezTo>
                  <a:cubicBezTo>
                    <a:pt x="29" y="85"/>
                    <a:pt x="32" y="72"/>
                    <a:pt x="37" y="61"/>
                  </a:cubicBezTo>
                  <a:cubicBezTo>
                    <a:pt x="43" y="50"/>
                    <a:pt x="51" y="42"/>
                    <a:pt x="61" y="35"/>
                  </a:cubicBezTo>
                  <a:cubicBezTo>
                    <a:pt x="71" y="29"/>
                    <a:pt x="83" y="26"/>
                    <a:pt x="96" y="26"/>
                  </a:cubicBezTo>
                  <a:cubicBezTo>
                    <a:pt x="109" y="26"/>
                    <a:pt x="120" y="29"/>
                    <a:pt x="130" y="35"/>
                  </a:cubicBezTo>
                  <a:cubicBezTo>
                    <a:pt x="140" y="42"/>
                    <a:pt x="148" y="50"/>
                    <a:pt x="154" y="61"/>
                  </a:cubicBezTo>
                  <a:cubicBezTo>
                    <a:pt x="160" y="72"/>
                    <a:pt x="163" y="85"/>
                    <a:pt x="163" y="99"/>
                  </a:cubicBezTo>
                  <a:cubicBezTo>
                    <a:pt x="163" y="113"/>
                    <a:pt x="160" y="125"/>
                    <a:pt x="154" y="136"/>
                  </a:cubicBezTo>
                  <a:cubicBezTo>
                    <a:pt x="148" y="147"/>
                    <a:pt x="140" y="156"/>
                    <a:pt x="130" y="1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0" name="Freeform 16">
              <a:extLst>
                <a:ext uri="{FF2B5EF4-FFF2-40B4-BE49-F238E27FC236}">
                  <a16:creationId xmlns:a16="http://schemas.microsoft.com/office/drawing/2014/main" id="{D9D0AC65-F9A8-42F8-968A-D62F9A0DE58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 rot="16200000">
              <a:off x="4037338" y="3370264"/>
              <a:ext cx="495327" cy="555295"/>
            </a:xfrm>
            <a:custGeom>
              <a:avLst/>
              <a:gdLst>
                <a:gd name="T0" fmla="*/ 156 w 179"/>
                <a:gd name="T1" fmla="*/ 26 h 197"/>
                <a:gd name="T2" fmla="*/ 129 w 179"/>
                <a:gd name="T3" fmla="*/ 7 h 197"/>
                <a:gd name="T4" fmla="*/ 94 w 179"/>
                <a:gd name="T5" fmla="*/ 0 h 197"/>
                <a:gd name="T6" fmla="*/ 56 w 179"/>
                <a:gd name="T7" fmla="*/ 7 h 197"/>
                <a:gd name="T8" fmla="*/ 26 w 179"/>
                <a:gd name="T9" fmla="*/ 28 h 197"/>
                <a:gd name="T10" fmla="*/ 7 w 179"/>
                <a:gd name="T11" fmla="*/ 60 h 197"/>
                <a:gd name="T12" fmla="*/ 0 w 179"/>
                <a:gd name="T13" fmla="*/ 100 h 197"/>
                <a:gd name="T14" fmla="*/ 12 w 179"/>
                <a:gd name="T15" fmla="*/ 150 h 197"/>
                <a:gd name="T16" fmla="*/ 46 w 179"/>
                <a:gd name="T17" fmla="*/ 185 h 197"/>
                <a:gd name="T18" fmla="*/ 97 w 179"/>
                <a:gd name="T19" fmla="*/ 197 h 197"/>
                <a:gd name="T20" fmla="*/ 125 w 179"/>
                <a:gd name="T21" fmla="*/ 193 h 197"/>
                <a:gd name="T22" fmla="*/ 150 w 179"/>
                <a:gd name="T23" fmla="*/ 183 h 197"/>
                <a:gd name="T24" fmla="*/ 170 w 179"/>
                <a:gd name="T25" fmla="*/ 169 h 197"/>
                <a:gd name="T26" fmla="*/ 156 w 179"/>
                <a:gd name="T27" fmla="*/ 149 h 197"/>
                <a:gd name="T28" fmla="*/ 127 w 179"/>
                <a:gd name="T29" fmla="*/ 167 h 197"/>
                <a:gd name="T30" fmla="*/ 100 w 179"/>
                <a:gd name="T31" fmla="*/ 172 h 197"/>
                <a:gd name="T32" fmla="*/ 61 w 179"/>
                <a:gd name="T33" fmla="*/ 162 h 197"/>
                <a:gd name="T34" fmla="*/ 36 w 179"/>
                <a:gd name="T35" fmla="*/ 137 h 197"/>
                <a:gd name="T36" fmla="*/ 28 w 179"/>
                <a:gd name="T37" fmla="*/ 104 h 197"/>
                <a:gd name="T38" fmla="*/ 178 w 179"/>
                <a:gd name="T39" fmla="*/ 104 h 197"/>
                <a:gd name="T40" fmla="*/ 178 w 179"/>
                <a:gd name="T41" fmla="*/ 91 h 197"/>
                <a:gd name="T42" fmla="*/ 173 w 179"/>
                <a:gd name="T43" fmla="*/ 55 h 197"/>
                <a:gd name="T44" fmla="*/ 156 w 179"/>
                <a:gd name="T45" fmla="*/ 26 h 197"/>
                <a:gd name="T46" fmla="*/ 58 w 179"/>
                <a:gd name="T47" fmla="*/ 34 h 197"/>
                <a:gd name="T48" fmla="*/ 94 w 179"/>
                <a:gd name="T49" fmla="*/ 26 h 197"/>
                <a:gd name="T50" fmla="*/ 124 w 179"/>
                <a:gd name="T51" fmla="*/ 34 h 197"/>
                <a:gd name="T52" fmla="*/ 143 w 179"/>
                <a:gd name="T53" fmla="*/ 53 h 197"/>
                <a:gd name="T54" fmla="*/ 151 w 179"/>
                <a:gd name="T55" fmla="*/ 79 h 197"/>
                <a:gd name="T56" fmla="*/ 151 w 179"/>
                <a:gd name="T57" fmla="*/ 81 h 197"/>
                <a:gd name="T58" fmla="*/ 29 w 179"/>
                <a:gd name="T59" fmla="*/ 81 h 197"/>
                <a:gd name="T60" fmla="*/ 36 w 179"/>
                <a:gd name="T61" fmla="*/ 58 h 197"/>
                <a:gd name="T62" fmla="*/ 58 w 179"/>
                <a:gd name="T63" fmla="*/ 34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9" h="197">
                  <a:moveTo>
                    <a:pt x="156" y="26"/>
                  </a:moveTo>
                  <a:cubicBezTo>
                    <a:pt x="148" y="18"/>
                    <a:pt x="139" y="11"/>
                    <a:pt x="129" y="7"/>
                  </a:cubicBezTo>
                  <a:cubicBezTo>
                    <a:pt x="118" y="2"/>
                    <a:pt x="106" y="0"/>
                    <a:pt x="94" y="0"/>
                  </a:cubicBezTo>
                  <a:cubicBezTo>
                    <a:pt x="80" y="0"/>
                    <a:pt x="67" y="2"/>
                    <a:pt x="56" y="7"/>
                  </a:cubicBezTo>
                  <a:cubicBezTo>
                    <a:pt x="44" y="12"/>
                    <a:pt x="34" y="19"/>
                    <a:pt x="26" y="28"/>
                  </a:cubicBezTo>
                  <a:cubicBezTo>
                    <a:pt x="18" y="37"/>
                    <a:pt x="11" y="48"/>
                    <a:pt x="7" y="60"/>
                  </a:cubicBezTo>
                  <a:cubicBezTo>
                    <a:pt x="2" y="72"/>
                    <a:pt x="0" y="85"/>
                    <a:pt x="0" y="100"/>
                  </a:cubicBezTo>
                  <a:cubicBezTo>
                    <a:pt x="0" y="119"/>
                    <a:pt x="4" y="136"/>
                    <a:pt x="12" y="150"/>
                  </a:cubicBezTo>
                  <a:cubicBezTo>
                    <a:pt x="20" y="165"/>
                    <a:pt x="32" y="177"/>
                    <a:pt x="46" y="185"/>
                  </a:cubicBezTo>
                  <a:cubicBezTo>
                    <a:pt x="61" y="193"/>
                    <a:pt x="78" y="197"/>
                    <a:pt x="97" y="197"/>
                  </a:cubicBezTo>
                  <a:cubicBezTo>
                    <a:pt x="106" y="197"/>
                    <a:pt x="116" y="196"/>
                    <a:pt x="125" y="193"/>
                  </a:cubicBezTo>
                  <a:cubicBezTo>
                    <a:pt x="134" y="191"/>
                    <a:pt x="142" y="188"/>
                    <a:pt x="150" y="183"/>
                  </a:cubicBezTo>
                  <a:cubicBezTo>
                    <a:pt x="158" y="179"/>
                    <a:pt x="165" y="174"/>
                    <a:pt x="170" y="169"/>
                  </a:cubicBezTo>
                  <a:cubicBezTo>
                    <a:pt x="156" y="149"/>
                    <a:pt x="156" y="149"/>
                    <a:pt x="156" y="149"/>
                  </a:cubicBezTo>
                  <a:cubicBezTo>
                    <a:pt x="145" y="158"/>
                    <a:pt x="136" y="164"/>
                    <a:pt x="127" y="167"/>
                  </a:cubicBezTo>
                  <a:cubicBezTo>
                    <a:pt x="118" y="170"/>
                    <a:pt x="109" y="172"/>
                    <a:pt x="100" y="172"/>
                  </a:cubicBezTo>
                  <a:cubicBezTo>
                    <a:pt x="85" y="172"/>
                    <a:pt x="72" y="168"/>
                    <a:pt x="61" y="162"/>
                  </a:cubicBezTo>
                  <a:cubicBezTo>
                    <a:pt x="50" y="156"/>
                    <a:pt x="42" y="148"/>
                    <a:pt x="36" y="137"/>
                  </a:cubicBezTo>
                  <a:cubicBezTo>
                    <a:pt x="31" y="127"/>
                    <a:pt x="28" y="116"/>
                    <a:pt x="28" y="104"/>
                  </a:cubicBezTo>
                  <a:cubicBezTo>
                    <a:pt x="178" y="104"/>
                    <a:pt x="178" y="104"/>
                    <a:pt x="178" y="104"/>
                  </a:cubicBezTo>
                  <a:cubicBezTo>
                    <a:pt x="178" y="91"/>
                    <a:pt x="178" y="91"/>
                    <a:pt x="178" y="91"/>
                  </a:cubicBezTo>
                  <a:cubicBezTo>
                    <a:pt x="179" y="78"/>
                    <a:pt x="177" y="66"/>
                    <a:pt x="173" y="55"/>
                  </a:cubicBezTo>
                  <a:cubicBezTo>
                    <a:pt x="169" y="44"/>
                    <a:pt x="163" y="34"/>
                    <a:pt x="156" y="26"/>
                  </a:cubicBezTo>
                  <a:close/>
                  <a:moveTo>
                    <a:pt x="58" y="34"/>
                  </a:moveTo>
                  <a:cubicBezTo>
                    <a:pt x="68" y="29"/>
                    <a:pt x="80" y="26"/>
                    <a:pt x="94" y="26"/>
                  </a:cubicBezTo>
                  <a:cubicBezTo>
                    <a:pt x="105" y="26"/>
                    <a:pt x="115" y="29"/>
                    <a:pt x="124" y="34"/>
                  </a:cubicBezTo>
                  <a:cubicBezTo>
                    <a:pt x="132" y="39"/>
                    <a:pt x="138" y="45"/>
                    <a:pt x="143" y="53"/>
                  </a:cubicBezTo>
                  <a:cubicBezTo>
                    <a:pt x="148" y="62"/>
                    <a:pt x="150" y="70"/>
                    <a:pt x="151" y="79"/>
                  </a:cubicBezTo>
                  <a:cubicBezTo>
                    <a:pt x="151" y="81"/>
                    <a:pt x="151" y="81"/>
                    <a:pt x="151" y="81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30" y="73"/>
                    <a:pt x="32" y="65"/>
                    <a:pt x="36" y="58"/>
                  </a:cubicBezTo>
                  <a:cubicBezTo>
                    <a:pt x="41" y="48"/>
                    <a:pt x="48" y="40"/>
                    <a:pt x="58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1" name="Freeform 17">
              <a:extLst>
                <a:ext uri="{FF2B5EF4-FFF2-40B4-BE49-F238E27FC236}">
                  <a16:creationId xmlns:a16="http://schemas.microsoft.com/office/drawing/2014/main" id="{234595FE-3663-45BC-AB1F-483A8CC92027}"/>
                </a:ext>
              </a:extLst>
            </p:cNvPr>
            <p:cNvSpPr>
              <a:spLocks/>
            </p:cNvSpPr>
            <p:nvPr userDrawn="1"/>
          </p:nvSpPr>
          <p:spPr bwMode="auto">
            <a:xfrm rot="16200000">
              <a:off x="4063114" y="2807387"/>
              <a:ext cx="435649" cy="547169"/>
            </a:xfrm>
            <a:custGeom>
              <a:avLst/>
              <a:gdLst>
                <a:gd name="T0" fmla="*/ 128 w 157"/>
                <a:gd name="T1" fmla="*/ 9 h 194"/>
                <a:gd name="T2" fmla="*/ 93 w 157"/>
                <a:gd name="T3" fmla="*/ 0 h 194"/>
                <a:gd name="T4" fmla="*/ 63 w 157"/>
                <a:gd name="T5" fmla="*/ 7 h 194"/>
                <a:gd name="T6" fmla="*/ 38 w 157"/>
                <a:gd name="T7" fmla="*/ 23 h 194"/>
                <a:gd name="T8" fmla="*/ 28 w 157"/>
                <a:gd name="T9" fmla="*/ 36 h 194"/>
                <a:gd name="T10" fmla="*/ 27 w 157"/>
                <a:gd name="T11" fmla="*/ 4 h 194"/>
                <a:gd name="T12" fmla="*/ 0 w 157"/>
                <a:gd name="T13" fmla="*/ 4 h 194"/>
                <a:gd name="T14" fmla="*/ 0 w 157"/>
                <a:gd name="T15" fmla="*/ 194 h 194"/>
                <a:gd name="T16" fmla="*/ 8 w 157"/>
                <a:gd name="T17" fmla="*/ 194 h 194"/>
                <a:gd name="T18" fmla="*/ 14 w 157"/>
                <a:gd name="T19" fmla="*/ 194 h 194"/>
                <a:gd name="T20" fmla="*/ 27 w 157"/>
                <a:gd name="T21" fmla="*/ 194 h 194"/>
                <a:gd name="T22" fmla="*/ 27 w 157"/>
                <a:gd name="T23" fmla="*/ 78 h 194"/>
                <a:gd name="T24" fmla="*/ 32 w 157"/>
                <a:gd name="T25" fmla="*/ 58 h 194"/>
                <a:gd name="T26" fmla="*/ 44 w 157"/>
                <a:gd name="T27" fmla="*/ 41 h 194"/>
                <a:gd name="T28" fmla="*/ 62 w 157"/>
                <a:gd name="T29" fmla="*/ 30 h 194"/>
                <a:gd name="T30" fmla="*/ 85 w 157"/>
                <a:gd name="T31" fmla="*/ 26 h 194"/>
                <a:gd name="T32" fmla="*/ 110 w 157"/>
                <a:gd name="T33" fmla="*/ 31 h 194"/>
                <a:gd name="T34" fmla="*/ 125 w 157"/>
                <a:gd name="T35" fmla="*/ 49 h 194"/>
                <a:gd name="T36" fmla="*/ 129 w 157"/>
                <a:gd name="T37" fmla="*/ 80 h 194"/>
                <a:gd name="T38" fmla="*/ 129 w 157"/>
                <a:gd name="T39" fmla="*/ 194 h 194"/>
                <a:gd name="T40" fmla="*/ 157 w 157"/>
                <a:gd name="T41" fmla="*/ 194 h 194"/>
                <a:gd name="T42" fmla="*/ 157 w 157"/>
                <a:gd name="T43" fmla="*/ 79 h 194"/>
                <a:gd name="T44" fmla="*/ 150 w 157"/>
                <a:gd name="T45" fmla="*/ 34 h 194"/>
                <a:gd name="T46" fmla="*/ 128 w 157"/>
                <a:gd name="T47" fmla="*/ 9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7" h="194">
                  <a:moveTo>
                    <a:pt x="128" y="9"/>
                  </a:moveTo>
                  <a:cubicBezTo>
                    <a:pt x="119" y="3"/>
                    <a:pt x="107" y="0"/>
                    <a:pt x="93" y="0"/>
                  </a:cubicBezTo>
                  <a:cubicBezTo>
                    <a:pt x="83" y="0"/>
                    <a:pt x="73" y="2"/>
                    <a:pt x="63" y="7"/>
                  </a:cubicBezTo>
                  <a:cubicBezTo>
                    <a:pt x="53" y="11"/>
                    <a:pt x="45" y="16"/>
                    <a:pt x="38" y="23"/>
                  </a:cubicBezTo>
                  <a:cubicBezTo>
                    <a:pt x="34" y="27"/>
                    <a:pt x="30" y="31"/>
                    <a:pt x="28" y="36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3" y="194"/>
                    <a:pt x="6" y="194"/>
                    <a:pt x="8" y="194"/>
                  </a:cubicBezTo>
                  <a:cubicBezTo>
                    <a:pt x="10" y="194"/>
                    <a:pt x="12" y="194"/>
                    <a:pt x="14" y="194"/>
                  </a:cubicBezTo>
                  <a:cubicBezTo>
                    <a:pt x="27" y="194"/>
                    <a:pt x="27" y="194"/>
                    <a:pt x="27" y="194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1"/>
                    <a:pt x="29" y="64"/>
                    <a:pt x="32" y="58"/>
                  </a:cubicBezTo>
                  <a:cubicBezTo>
                    <a:pt x="34" y="52"/>
                    <a:pt x="38" y="46"/>
                    <a:pt x="44" y="41"/>
                  </a:cubicBezTo>
                  <a:cubicBezTo>
                    <a:pt x="49" y="36"/>
                    <a:pt x="55" y="33"/>
                    <a:pt x="62" y="30"/>
                  </a:cubicBezTo>
                  <a:cubicBezTo>
                    <a:pt x="69" y="27"/>
                    <a:pt x="76" y="26"/>
                    <a:pt x="85" y="26"/>
                  </a:cubicBezTo>
                  <a:cubicBezTo>
                    <a:pt x="94" y="25"/>
                    <a:pt x="103" y="27"/>
                    <a:pt x="110" y="31"/>
                  </a:cubicBezTo>
                  <a:cubicBezTo>
                    <a:pt x="116" y="35"/>
                    <a:pt x="121" y="41"/>
                    <a:pt x="125" y="49"/>
                  </a:cubicBezTo>
                  <a:cubicBezTo>
                    <a:pt x="128" y="57"/>
                    <a:pt x="129" y="67"/>
                    <a:pt x="129" y="80"/>
                  </a:cubicBezTo>
                  <a:cubicBezTo>
                    <a:pt x="129" y="194"/>
                    <a:pt x="129" y="194"/>
                    <a:pt x="129" y="194"/>
                  </a:cubicBezTo>
                  <a:cubicBezTo>
                    <a:pt x="157" y="194"/>
                    <a:pt x="157" y="194"/>
                    <a:pt x="157" y="194"/>
                  </a:cubicBezTo>
                  <a:cubicBezTo>
                    <a:pt x="157" y="79"/>
                    <a:pt x="157" y="79"/>
                    <a:pt x="157" y="79"/>
                  </a:cubicBezTo>
                  <a:cubicBezTo>
                    <a:pt x="157" y="61"/>
                    <a:pt x="155" y="46"/>
                    <a:pt x="150" y="34"/>
                  </a:cubicBezTo>
                  <a:cubicBezTo>
                    <a:pt x="145" y="23"/>
                    <a:pt x="138" y="14"/>
                    <a:pt x="128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2" name="Freeform 18">
              <a:extLst>
                <a:ext uri="{FF2B5EF4-FFF2-40B4-BE49-F238E27FC236}">
                  <a16:creationId xmlns:a16="http://schemas.microsoft.com/office/drawing/2014/main" id="{708190C3-DC12-486A-B5A8-8E8769D9FE7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 rot="16200000">
              <a:off x="3925729" y="2118806"/>
              <a:ext cx="507262" cy="766578"/>
            </a:xfrm>
            <a:custGeom>
              <a:avLst/>
              <a:gdLst>
                <a:gd name="T0" fmla="*/ 158 w 185"/>
                <a:gd name="T1" fmla="*/ 110 h 272"/>
                <a:gd name="T2" fmla="*/ 141 w 185"/>
                <a:gd name="T3" fmla="*/ 92 h 272"/>
                <a:gd name="T4" fmla="*/ 117 w 185"/>
                <a:gd name="T5" fmla="*/ 80 h 272"/>
                <a:gd name="T6" fmla="*/ 90 w 185"/>
                <a:gd name="T7" fmla="*/ 75 h 272"/>
                <a:gd name="T8" fmla="*/ 44 w 185"/>
                <a:gd name="T9" fmla="*/ 88 h 272"/>
                <a:gd name="T10" fmla="*/ 11 w 185"/>
                <a:gd name="T11" fmla="*/ 123 h 272"/>
                <a:gd name="T12" fmla="*/ 0 w 185"/>
                <a:gd name="T13" fmla="*/ 174 h 272"/>
                <a:gd name="T14" fmla="*/ 11 w 185"/>
                <a:gd name="T15" fmla="*/ 225 h 272"/>
                <a:gd name="T16" fmla="*/ 44 w 185"/>
                <a:gd name="T17" fmla="*/ 260 h 272"/>
                <a:gd name="T18" fmla="*/ 90 w 185"/>
                <a:gd name="T19" fmla="*/ 272 h 272"/>
                <a:gd name="T20" fmla="*/ 117 w 185"/>
                <a:gd name="T21" fmla="*/ 268 h 272"/>
                <a:gd name="T22" fmla="*/ 140 w 185"/>
                <a:gd name="T23" fmla="*/ 256 h 272"/>
                <a:gd name="T24" fmla="*/ 156 w 185"/>
                <a:gd name="T25" fmla="*/ 239 h 272"/>
                <a:gd name="T26" fmla="*/ 158 w 185"/>
                <a:gd name="T27" fmla="*/ 236 h 272"/>
                <a:gd name="T28" fmla="*/ 158 w 185"/>
                <a:gd name="T29" fmla="*/ 269 h 272"/>
                <a:gd name="T30" fmla="*/ 185 w 185"/>
                <a:gd name="T31" fmla="*/ 269 h 272"/>
                <a:gd name="T32" fmla="*/ 185 w 185"/>
                <a:gd name="T33" fmla="*/ 0 h 272"/>
                <a:gd name="T34" fmla="*/ 158 w 185"/>
                <a:gd name="T35" fmla="*/ 0 h 272"/>
                <a:gd name="T36" fmla="*/ 158 w 185"/>
                <a:gd name="T37" fmla="*/ 110 h 272"/>
                <a:gd name="T38" fmla="*/ 151 w 185"/>
                <a:gd name="T39" fmla="*/ 212 h 272"/>
                <a:gd name="T40" fmla="*/ 128 w 185"/>
                <a:gd name="T41" fmla="*/ 238 h 272"/>
                <a:gd name="T42" fmla="*/ 94 w 185"/>
                <a:gd name="T43" fmla="*/ 247 h 272"/>
                <a:gd name="T44" fmla="*/ 59 w 185"/>
                <a:gd name="T45" fmla="*/ 238 h 272"/>
                <a:gd name="T46" fmla="*/ 36 w 185"/>
                <a:gd name="T47" fmla="*/ 211 h 272"/>
                <a:gd name="T48" fmla="*/ 28 w 185"/>
                <a:gd name="T49" fmla="*/ 174 h 272"/>
                <a:gd name="T50" fmla="*/ 36 w 185"/>
                <a:gd name="T51" fmla="*/ 136 h 272"/>
                <a:gd name="T52" fmla="*/ 60 w 185"/>
                <a:gd name="T53" fmla="*/ 110 h 272"/>
                <a:gd name="T54" fmla="*/ 94 w 185"/>
                <a:gd name="T55" fmla="*/ 100 h 272"/>
                <a:gd name="T56" fmla="*/ 128 w 185"/>
                <a:gd name="T57" fmla="*/ 110 h 272"/>
                <a:gd name="T58" fmla="*/ 151 w 185"/>
                <a:gd name="T59" fmla="*/ 136 h 272"/>
                <a:gd name="T60" fmla="*/ 160 w 185"/>
                <a:gd name="T61" fmla="*/ 174 h 272"/>
                <a:gd name="T62" fmla="*/ 151 w 185"/>
                <a:gd name="T63" fmla="*/ 21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5" h="272">
                  <a:moveTo>
                    <a:pt x="158" y="110"/>
                  </a:moveTo>
                  <a:cubicBezTo>
                    <a:pt x="153" y="103"/>
                    <a:pt x="148" y="97"/>
                    <a:pt x="141" y="92"/>
                  </a:cubicBezTo>
                  <a:cubicBezTo>
                    <a:pt x="134" y="87"/>
                    <a:pt x="126" y="83"/>
                    <a:pt x="117" y="80"/>
                  </a:cubicBezTo>
                  <a:cubicBezTo>
                    <a:pt x="108" y="77"/>
                    <a:pt x="99" y="75"/>
                    <a:pt x="90" y="75"/>
                  </a:cubicBezTo>
                  <a:cubicBezTo>
                    <a:pt x="73" y="75"/>
                    <a:pt x="57" y="79"/>
                    <a:pt x="44" y="88"/>
                  </a:cubicBezTo>
                  <a:cubicBezTo>
                    <a:pt x="30" y="96"/>
                    <a:pt x="19" y="108"/>
                    <a:pt x="11" y="123"/>
                  </a:cubicBezTo>
                  <a:cubicBezTo>
                    <a:pt x="4" y="138"/>
                    <a:pt x="0" y="155"/>
                    <a:pt x="0" y="174"/>
                  </a:cubicBezTo>
                  <a:cubicBezTo>
                    <a:pt x="0" y="193"/>
                    <a:pt x="3" y="210"/>
                    <a:pt x="11" y="225"/>
                  </a:cubicBezTo>
                  <a:cubicBezTo>
                    <a:pt x="19" y="239"/>
                    <a:pt x="30" y="251"/>
                    <a:pt x="44" y="260"/>
                  </a:cubicBezTo>
                  <a:cubicBezTo>
                    <a:pt x="57" y="268"/>
                    <a:pt x="73" y="272"/>
                    <a:pt x="90" y="272"/>
                  </a:cubicBezTo>
                  <a:cubicBezTo>
                    <a:pt x="99" y="272"/>
                    <a:pt x="108" y="271"/>
                    <a:pt x="117" y="268"/>
                  </a:cubicBezTo>
                  <a:cubicBezTo>
                    <a:pt x="125" y="265"/>
                    <a:pt x="133" y="261"/>
                    <a:pt x="140" y="256"/>
                  </a:cubicBezTo>
                  <a:cubicBezTo>
                    <a:pt x="146" y="251"/>
                    <a:pt x="152" y="245"/>
                    <a:pt x="156" y="239"/>
                  </a:cubicBezTo>
                  <a:cubicBezTo>
                    <a:pt x="157" y="238"/>
                    <a:pt x="157" y="237"/>
                    <a:pt x="158" y="236"/>
                  </a:cubicBezTo>
                  <a:cubicBezTo>
                    <a:pt x="158" y="269"/>
                    <a:pt x="158" y="269"/>
                    <a:pt x="158" y="269"/>
                  </a:cubicBezTo>
                  <a:cubicBezTo>
                    <a:pt x="185" y="269"/>
                    <a:pt x="185" y="269"/>
                    <a:pt x="185" y="269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58" y="0"/>
                    <a:pt x="158" y="0"/>
                    <a:pt x="158" y="0"/>
                  </a:cubicBezTo>
                  <a:lnTo>
                    <a:pt x="158" y="110"/>
                  </a:lnTo>
                  <a:close/>
                  <a:moveTo>
                    <a:pt x="151" y="212"/>
                  </a:moveTo>
                  <a:cubicBezTo>
                    <a:pt x="145" y="223"/>
                    <a:pt x="138" y="232"/>
                    <a:pt x="128" y="238"/>
                  </a:cubicBezTo>
                  <a:cubicBezTo>
                    <a:pt x="118" y="244"/>
                    <a:pt x="106" y="247"/>
                    <a:pt x="94" y="247"/>
                  </a:cubicBezTo>
                  <a:cubicBezTo>
                    <a:pt x="81" y="247"/>
                    <a:pt x="69" y="244"/>
                    <a:pt x="59" y="238"/>
                  </a:cubicBezTo>
                  <a:cubicBezTo>
                    <a:pt x="49" y="231"/>
                    <a:pt x="42" y="222"/>
                    <a:pt x="36" y="211"/>
                  </a:cubicBezTo>
                  <a:cubicBezTo>
                    <a:pt x="31" y="200"/>
                    <a:pt x="28" y="188"/>
                    <a:pt x="28" y="174"/>
                  </a:cubicBezTo>
                  <a:cubicBezTo>
                    <a:pt x="28" y="159"/>
                    <a:pt x="31" y="147"/>
                    <a:pt x="36" y="136"/>
                  </a:cubicBezTo>
                  <a:cubicBezTo>
                    <a:pt x="42" y="125"/>
                    <a:pt x="50" y="116"/>
                    <a:pt x="60" y="110"/>
                  </a:cubicBezTo>
                  <a:cubicBezTo>
                    <a:pt x="69" y="103"/>
                    <a:pt x="81" y="100"/>
                    <a:pt x="94" y="100"/>
                  </a:cubicBezTo>
                  <a:cubicBezTo>
                    <a:pt x="106" y="100"/>
                    <a:pt x="118" y="103"/>
                    <a:pt x="128" y="110"/>
                  </a:cubicBezTo>
                  <a:cubicBezTo>
                    <a:pt x="138" y="116"/>
                    <a:pt x="145" y="125"/>
                    <a:pt x="151" y="136"/>
                  </a:cubicBezTo>
                  <a:cubicBezTo>
                    <a:pt x="157" y="147"/>
                    <a:pt x="160" y="159"/>
                    <a:pt x="160" y="174"/>
                  </a:cubicBezTo>
                  <a:cubicBezTo>
                    <a:pt x="160" y="188"/>
                    <a:pt x="157" y="201"/>
                    <a:pt x="151" y="2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3" name="Freeform 19">
              <a:extLst>
                <a:ext uri="{FF2B5EF4-FFF2-40B4-BE49-F238E27FC236}">
                  <a16:creationId xmlns:a16="http://schemas.microsoft.com/office/drawing/2014/main" id="{DFB76F86-5B93-4934-8A31-370D731EB4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 rot="16200000">
              <a:off x="4028386" y="1606781"/>
              <a:ext cx="513230" cy="555295"/>
            </a:xfrm>
            <a:custGeom>
              <a:avLst/>
              <a:gdLst>
                <a:gd name="T0" fmla="*/ 159 w 186"/>
                <a:gd name="T1" fmla="*/ 4 h 197"/>
                <a:gd name="T2" fmla="*/ 158 w 186"/>
                <a:gd name="T3" fmla="*/ 38 h 197"/>
                <a:gd name="T4" fmla="*/ 157 w 186"/>
                <a:gd name="T5" fmla="*/ 35 h 197"/>
                <a:gd name="T6" fmla="*/ 140 w 186"/>
                <a:gd name="T7" fmla="*/ 17 h 197"/>
                <a:gd name="T8" fmla="*/ 117 w 186"/>
                <a:gd name="T9" fmla="*/ 5 h 197"/>
                <a:gd name="T10" fmla="*/ 90 w 186"/>
                <a:gd name="T11" fmla="*/ 0 h 197"/>
                <a:gd name="T12" fmla="*/ 45 w 186"/>
                <a:gd name="T13" fmla="*/ 13 h 197"/>
                <a:gd name="T14" fmla="*/ 12 w 186"/>
                <a:gd name="T15" fmla="*/ 48 h 197"/>
                <a:gd name="T16" fmla="*/ 0 w 186"/>
                <a:gd name="T17" fmla="*/ 99 h 197"/>
                <a:gd name="T18" fmla="*/ 12 w 186"/>
                <a:gd name="T19" fmla="*/ 149 h 197"/>
                <a:gd name="T20" fmla="*/ 44 w 186"/>
                <a:gd name="T21" fmla="*/ 184 h 197"/>
                <a:gd name="T22" fmla="*/ 88 w 186"/>
                <a:gd name="T23" fmla="*/ 197 h 197"/>
                <a:gd name="T24" fmla="*/ 115 w 186"/>
                <a:gd name="T25" fmla="*/ 193 h 197"/>
                <a:gd name="T26" fmla="*/ 139 w 186"/>
                <a:gd name="T27" fmla="*/ 181 h 197"/>
                <a:gd name="T28" fmla="*/ 156 w 186"/>
                <a:gd name="T29" fmla="*/ 163 h 197"/>
                <a:gd name="T30" fmla="*/ 159 w 186"/>
                <a:gd name="T31" fmla="*/ 159 h 197"/>
                <a:gd name="T32" fmla="*/ 159 w 186"/>
                <a:gd name="T33" fmla="*/ 194 h 197"/>
                <a:gd name="T34" fmla="*/ 186 w 186"/>
                <a:gd name="T35" fmla="*/ 194 h 197"/>
                <a:gd name="T36" fmla="*/ 186 w 186"/>
                <a:gd name="T37" fmla="*/ 4 h 197"/>
                <a:gd name="T38" fmla="*/ 159 w 186"/>
                <a:gd name="T39" fmla="*/ 4 h 197"/>
                <a:gd name="T40" fmla="*/ 152 w 186"/>
                <a:gd name="T41" fmla="*/ 136 h 197"/>
                <a:gd name="T42" fmla="*/ 128 w 186"/>
                <a:gd name="T43" fmla="*/ 162 h 197"/>
                <a:gd name="T44" fmla="*/ 94 w 186"/>
                <a:gd name="T45" fmla="*/ 171 h 197"/>
                <a:gd name="T46" fmla="*/ 60 w 186"/>
                <a:gd name="T47" fmla="*/ 162 h 197"/>
                <a:gd name="T48" fmla="*/ 37 w 186"/>
                <a:gd name="T49" fmla="*/ 136 h 197"/>
                <a:gd name="T50" fmla="*/ 29 w 186"/>
                <a:gd name="T51" fmla="*/ 99 h 197"/>
                <a:gd name="T52" fmla="*/ 37 w 186"/>
                <a:gd name="T53" fmla="*/ 61 h 197"/>
                <a:gd name="T54" fmla="*/ 61 w 186"/>
                <a:gd name="T55" fmla="*/ 35 h 197"/>
                <a:gd name="T56" fmla="*/ 94 w 186"/>
                <a:gd name="T57" fmla="*/ 26 h 197"/>
                <a:gd name="T58" fmla="*/ 128 w 186"/>
                <a:gd name="T59" fmla="*/ 35 h 197"/>
                <a:gd name="T60" fmla="*/ 152 w 186"/>
                <a:gd name="T61" fmla="*/ 61 h 197"/>
                <a:gd name="T62" fmla="*/ 160 w 186"/>
                <a:gd name="T63" fmla="*/ 99 h 197"/>
                <a:gd name="T64" fmla="*/ 152 w 186"/>
                <a:gd name="T65" fmla="*/ 13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86" h="197">
                  <a:moveTo>
                    <a:pt x="159" y="4"/>
                  </a:moveTo>
                  <a:cubicBezTo>
                    <a:pt x="158" y="38"/>
                    <a:pt x="158" y="38"/>
                    <a:pt x="158" y="38"/>
                  </a:cubicBezTo>
                  <a:cubicBezTo>
                    <a:pt x="158" y="37"/>
                    <a:pt x="157" y="36"/>
                    <a:pt x="157" y="35"/>
                  </a:cubicBezTo>
                  <a:cubicBezTo>
                    <a:pt x="152" y="28"/>
                    <a:pt x="147" y="22"/>
                    <a:pt x="140" y="17"/>
                  </a:cubicBezTo>
                  <a:cubicBezTo>
                    <a:pt x="133" y="12"/>
                    <a:pt x="126" y="8"/>
                    <a:pt x="117" y="5"/>
                  </a:cubicBezTo>
                  <a:cubicBezTo>
                    <a:pt x="109" y="2"/>
                    <a:pt x="100" y="0"/>
                    <a:pt x="90" y="0"/>
                  </a:cubicBezTo>
                  <a:cubicBezTo>
                    <a:pt x="73" y="0"/>
                    <a:pt x="58" y="4"/>
                    <a:pt x="45" y="13"/>
                  </a:cubicBezTo>
                  <a:cubicBezTo>
                    <a:pt x="31" y="21"/>
                    <a:pt x="20" y="33"/>
                    <a:pt x="12" y="48"/>
                  </a:cubicBezTo>
                  <a:cubicBezTo>
                    <a:pt x="4" y="63"/>
                    <a:pt x="0" y="79"/>
                    <a:pt x="0" y="99"/>
                  </a:cubicBezTo>
                  <a:cubicBezTo>
                    <a:pt x="0" y="117"/>
                    <a:pt x="4" y="134"/>
                    <a:pt x="12" y="149"/>
                  </a:cubicBezTo>
                  <a:cubicBezTo>
                    <a:pt x="20" y="164"/>
                    <a:pt x="30" y="176"/>
                    <a:pt x="44" y="184"/>
                  </a:cubicBezTo>
                  <a:cubicBezTo>
                    <a:pt x="57" y="193"/>
                    <a:pt x="72" y="197"/>
                    <a:pt x="88" y="197"/>
                  </a:cubicBezTo>
                  <a:cubicBezTo>
                    <a:pt x="98" y="197"/>
                    <a:pt x="107" y="196"/>
                    <a:pt x="115" y="193"/>
                  </a:cubicBezTo>
                  <a:cubicBezTo>
                    <a:pt x="124" y="190"/>
                    <a:pt x="132" y="186"/>
                    <a:pt x="139" y="181"/>
                  </a:cubicBezTo>
                  <a:cubicBezTo>
                    <a:pt x="145" y="176"/>
                    <a:pt x="151" y="170"/>
                    <a:pt x="156" y="163"/>
                  </a:cubicBezTo>
                  <a:cubicBezTo>
                    <a:pt x="157" y="162"/>
                    <a:pt x="158" y="161"/>
                    <a:pt x="159" y="159"/>
                  </a:cubicBezTo>
                  <a:cubicBezTo>
                    <a:pt x="159" y="194"/>
                    <a:pt x="159" y="194"/>
                    <a:pt x="159" y="194"/>
                  </a:cubicBezTo>
                  <a:cubicBezTo>
                    <a:pt x="186" y="194"/>
                    <a:pt x="186" y="194"/>
                    <a:pt x="186" y="194"/>
                  </a:cubicBezTo>
                  <a:cubicBezTo>
                    <a:pt x="186" y="4"/>
                    <a:pt x="186" y="4"/>
                    <a:pt x="186" y="4"/>
                  </a:cubicBezTo>
                  <a:lnTo>
                    <a:pt x="159" y="4"/>
                  </a:lnTo>
                  <a:close/>
                  <a:moveTo>
                    <a:pt x="152" y="136"/>
                  </a:moveTo>
                  <a:cubicBezTo>
                    <a:pt x="146" y="147"/>
                    <a:pt x="138" y="156"/>
                    <a:pt x="128" y="162"/>
                  </a:cubicBezTo>
                  <a:cubicBezTo>
                    <a:pt x="118" y="168"/>
                    <a:pt x="107" y="171"/>
                    <a:pt x="94" y="171"/>
                  </a:cubicBezTo>
                  <a:cubicBezTo>
                    <a:pt x="82" y="171"/>
                    <a:pt x="70" y="168"/>
                    <a:pt x="60" y="162"/>
                  </a:cubicBezTo>
                  <a:cubicBezTo>
                    <a:pt x="50" y="155"/>
                    <a:pt x="43" y="147"/>
                    <a:pt x="37" y="136"/>
                  </a:cubicBezTo>
                  <a:cubicBezTo>
                    <a:pt x="32" y="125"/>
                    <a:pt x="29" y="112"/>
                    <a:pt x="29" y="99"/>
                  </a:cubicBezTo>
                  <a:cubicBezTo>
                    <a:pt x="29" y="85"/>
                    <a:pt x="32" y="72"/>
                    <a:pt x="37" y="61"/>
                  </a:cubicBezTo>
                  <a:cubicBezTo>
                    <a:pt x="43" y="50"/>
                    <a:pt x="51" y="42"/>
                    <a:pt x="61" y="35"/>
                  </a:cubicBezTo>
                  <a:cubicBezTo>
                    <a:pt x="70" y="29"/>
                    <a:pt x="82" y="26"/>
                    <a:pt x="94" y="26"/>
                  </a:cubicBezTo>
                  <a:cubicBezTo>
                    <a:pt x="107" y="26"/>
                    <a:pt x="118" y="29"/>
                    <a:pt x="128" y="35"/>
                  </a:cubicBezTo>
                  <a:cubicBezTo>
                    <a:pt x="138" y="42"/>
                    <a:pt x="146" y="50"/>
                    <a:pt x="152" y="61"/>
                  </a:cubicBezTo>
                  <a:cubicBezTo>
                    <a:pt x="157" y="72"/>
                    <a:pt x="160" y="85"/>
                    <a:pt x="160" y="99"/>
                  </a:cubicBezTo>
                  <a:cubicBezTo>
                    <a:pt x="160" y="113"/>
                    <a:pt x="157" y="125"/>
                    <a:pt x="152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7071CDD4-FEFA-4271-A0A1-82B74CB2EAC3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1216268" y="6439360"/>
            <a:chExt cx="549385" cy="213656"/>
          </a:xfrm>
        </p:grpSpPr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id="{6D60CBAB-7CEF-4CD5-9AC2-ED8A6580F7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39510" y="6442622"/>
              <a:ext cx="126143" cy="20550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id="{425FA7C1-DE53-4DD7-8C07-5ECE30A1F2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61915" y="6439360"/>
              <a:ext cx="156019" cy="21365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1" name="Rectangle 10">
              <a:extLst>
                <a:ext uri="{FF2B5EF4-FFF2-40B4-BE49-F238E27FC236}">
                  <a16:creationId xmlns:a16="http://schemas.microsoft.com/office/drawing/2014/main" id="{50ACC1DB-6B24-44DE-9550-A1C220F71CE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92204" y="6442622"/>
              <a:ext cx="51453" cy="2055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id="{D6CB0094-CC84-475F-8B8F-4578025E33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6268" y="6442622"/>
              <a:ext cx="147720" cy="20550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3" name="Rectangle 12">
              <a:extLst>
                <a:ext uri="{FF2B5EF4-FFF2-40B4-BE49-F238E27FC236}">
                  <a16:creationId xmlns:a16="http://schemas.microsoft.com/office/drawing/2014/main" id="{D746C678-89BC-4DFD-931A-FABF65A033F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17933" y="6522539"/>
              <a:ext cx="4647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4" name="Rectangle 13">
              <a:extLst>
                <a:ext uri="{FF2B5EF4-FFF2-40B4-BE49-F238E27FC236}">
                  <a16:creationId xmlns:a16="http://schemas.microsoft.com/office/drawing/2014/main" id="{C5942D70-D634-4EF9-9595-7CF554934B3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443656" y="6522539"/>
              <a:ext cx="4481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5" name="Rectangle 14">
              <a:extLst>
                <a:ext uri="{FF2B5EF4-FFF2-40B4-BE49-F238E27FC236}">
                  <a16:creationId xmlns:a16="http://schemas.microsoft.com/office/drawing/2014/main" id="{DF21F44F-5551-4341-A106-D2A7052AAF4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47390" y="6522539"/>
              <a:ext cx="4481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A91ECF8A-8657-4730-897C-B2B38AC8CF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7843" y="425061"/>
            <a:ext cx="8156714" cy="5969597"/>
          </a:xfrm>
        </p:spPr>
        <p:txBody>
          <a:bodyPr lIns="0" rIns="0">
            <a:normAutofit/>
          </a:bodyPr>
          <a:lstStyle>
            <a:lvl1pPr>
              <a:defRPr sz="2500">
                <a:solidFill>
                  <a:schemeClr val="bg2"/>
                </a:solidFill>
              </a:defRPr>
            </a:lvl1pPr>
            <a:lvl2pPr marL="569913" indent="-225425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569913" algn="l"/>
              </a:tabLst>
              <a:defRPr lang="en-US" sz="2000" kern="1200" baseline="0" dirty="0" smtClean="0">
                <a:solidFill>
                  <a:schemeClr val="bg2"/>
                </a:solidFill>
                <a:latin typeface="2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  <a:latin typeface="20"/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bg2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sz="18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0851645"/>
      </p:ext>
    </p:extLst>
  </p:cSld>
  <p:clrMapOvr>
    <a:masterClrMapping/>
  </p:clrMapOvr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6_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toShape 3"/>
          <p:cNvSpPr>
            <a:spLocks noChangeAspect="1" noChangeArrowheads="1" noTextEdit="1"/>
          </p:cNvSpPr>
          <p:nvPr/>
        </p:nvSpPr>
        <p:spPr bwMode="auto">
          <a:xfrm>
            <a:off x="1" y="0"/>
            <a:ext cx="12214221" cy="6861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894" tIns="30447" rIns="60894" bIns="30447" numCol="1" anchor="t" anchorCtr="0" compatLnSpc="1">
            <a:prstTxWarp prst="textNoShape">
              <a:avLst/>
            </a:prstTxWarp>
          </a:bodyPr>
          <a:lstStyle/>
          <a:p>
            <a:endParaRPr lang="en-US" sz="1199"/>
          </a:p>
        </p:txBody>
      </p:sp>
      <p:sp>
        <p:nvSpPr>
          <p:cNvPr id="25" name="Freeform 6"/>
          <p:cNvSpPr>
            <a:spLocks/>
          </p:cNvSpPr>
          <p:nvPr/>
        </p:nvSpPr>
        <p:spPr bwMode="auto">
          <a:xfrm>
            <a:off x="1" y="-2115"/>
            <a:ext cx="3185030" cy="4309112"/>
          </a:xfrm>
          <a:custGeom>
            <a:avLst/>
            <a:gdLst>
              <a:gd name="T0" fmla="*/ 1502 w 1502"/>
              <a:gd name="T1" fmla="*/ 0 h 2033"/>
              <a:gd name="T2" fmla="*/ 0 w 1502"/>
              <a:gd name="T3" fmla="*/ 2033 h 2033"/>
              <a:gd name="T4" fmla="*/ 1502 w 1502"/>
              <a:gd name="T5" fmla="*/ 0 h 20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02" h="2033">
                <a:moveTo>
                  <a:pt x="1502" y="0"/>
                </a:moveTo>
                <a:cubicBezTo>
                  <a:pt x="1308" y="1026"/>
                  <a:pt x="783" y="1698"/>
                  <a:pt x="0" y="2033"/>
                </a:cubicBezTo>
                <a:cubicBezTo>
                  <a:pt x="783" y="1698"/>
                  <a:pt x="1308" y="1026"/>
                  <a:pt x="1502" y="0"/>
                </a:cubicBezTo>
              </a:path>
            </a:pathLst>
          </a:custGeom>
          <a:solidFill>
            <a:srgbClr val="B0C83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0894" tIns="30447" rIns="60894" bIns="30447" numCol="1" anchor="t" anchorCtr="0" compatLnSpc="1">
            <a:prstTxWarp prst="textNoShape">
              <a:avLst/>
            </a:prstTxWarp>
          </a:bodyPr>
          <a:lstStyle/>
          <a:p>
            <a:endParaRPr lang="en-US" sz="1199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23388FED-4E60-4690-AC44-8AA0204F1E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85031" y="2928346"/>
            <a:ext cx="5350419" cy="2897505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943E9A71-2D9F-4FEC-817B-FDEBA1ACBC2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38406" y="1171648"/>
            <a:ext cx="5586416" cy="851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028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457200" y="1184276"/>
            <a:ext cx="11286067" cy="51943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  <a:norm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 marL="718839" indent="-304449">
              <a:buFontTx/>
              <a:buNone/>
              <a:defRPr lang="en-US" sz="173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065237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6343805" y="1217884"/>
            <a:ext cx="5437967" cy="5031786"/>
          </a:xfrm>
          <a:solidFill>
            <a:schemeClr val="tx1">
              <a:lumMod val="20000"/>
              <a:lumOff val="80000"/>
              <a:alpha val="76863"/>
            </a:schemeClr>
          </a:solidFill>
        </p:spPr>
        <p:txBody>
          <a:bodyPr tIns="1152000">
            <a:normAutofit/>
          </a:bodyPr>
          <a:lstStyle>
            <a:lvl1pPr>
              <a:lnSpc>
                <a:spcPts val="2237"/>
              </a:lnSpc>
              <a:spcBef>
                <a:spcPts val="799"/>
              </a:spcBef>
              <a:spcAft>
                <a:spcPts val="0"/>
              </a:spcAft>
              <a:defRPr sz="1865">
                <a:solidFill>
                  <a:schemeClr val="tx2"/>
                </a:solidFill>
              </a:defRPr>
            </a:lvl1pPr>
            <a:lvl2pPr marL="718839" indent="-304449">
              <a:buClr>
                <a:schemeClr val="tx2"/>
              </a:buClr>
              <a:defRPr lang="en-US" sz="173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85889" y="1217884"/>
            <a:ext cx="5437967" cy="5031786"/>
          </a:xfrm>
          <a:solidFill>
            <a:schemeClr val="tx1">
              <a:lumMod val="20000"/>
              <a:lumOff val="80000"/>
              <a:alpha val="76863"/>
            </a:schemeClr>
          </a:solidFill>
        </p:spPr>
        <p:txBody>
          <a:bodyPr tIns="1152000">
            <a:normAutofit/>
          </a:bodyPr>
          <a:lstStyle>
            <a:lvl1pPr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defRPr sz="1865">
                <a:solidFill>
                  <a:schemeClr val="tx2"/>
                </a:solidFill>
              </a:defRPr>
            </a:lvl1pPr>
            <a:lvl2pPr marL="718839" indent="-304449">
              <a:spcBef>
                <a:spcPts val="799"/>
              </a:spcBef>
              <a:spcAft>
                <a:spcPts val="0"/>
              </a:spcAft>
              <a:buClr>
                <a:schemeClr val="tx2"/>
              </a:buClr>
              <a:defRPr lang="en-US" sz="173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0" y="1352663"/>
            <a:ext cx="6023237" cy="527615"/>
          </a:xfrm>
          <a:gradFill flip="none" rotWithShape="1"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163229" tIns="81610" rIns="163229" bIns="81610" numCol="1" anchor="ctr" anchorCtr="0" compatLnSpc="1">
            <a:prstTxWarp prst="textNoShape">
              <a:avLst/>
            </a:prstTxWarp>
          </a:bodyPr>
          <a:lstStyle>
            <a:lvl1pPr marL="537015" indent="0">
              <a:buFontTx/>
              <a:buNone/>
              <a:defRPr lang="en-US" sz="2131" dirty="0" smtClean="0">
                <a:solidFill>
                  <a:schemeClr val="bg1"/>
                </a:solidFill>
              </a:defRPr>
            </a:lvl1pPr>
            <a:lvl2pPr marL="640020" marR="0" indent="-320952" algn="l" defTabSz="608899" rtl="0" eaLnBrk="0" fontAlgn="base" latinLnBrk="0" hangingPunct="0">
              <a:lnSpc>
                <a:spcPct val="100000"/>
              </a:lnSpc>
              <a:spcBef>
                <a:spcPts val="714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tabLst/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6224325" y="1352663"/>
            <a:ext cx="5965559" cy="527615"/>
          </a:xfrm>
          <a:gradFill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1800000" scaled="0"/>
          </a:gradFill>
          <a:ln>
            <a:noFill/>
          </a:ln>
        </p:spPr>
        <p:txBody>
          <a:bodyPr vert="horz" wrap="square" lIns="163229" tIns="81610" rIns="163229" bIns="81610" numCol="1" anchor="ctr" anchorCtr="0" compatLnSpc="1">
            <a:prstTxWarp prst="textNoShape">
              <a:avLst/>
            </a:prstTxWarp>
          </a:bodyPr>
          <a:lstStyle>
            <a:lvl1pPr marL="119454" indent="0">
              <a:buFontTx/>
              <a:buNone/>
              <a:defRPr lang="en-US" sz="2131" dirty="0" smtClean="0">
                <a:solidFill>
                  <a:schemeClr val="bg1"/>
                </a:solidFill>
              </a:defRPr>
            </a:lvl1pPr>
            <a:lvl2pPr marL="640020" marR="0" indent="-320952" algn="l" defTabSz="608899" rtl="0" eaLnBrk="0" fontAlgn="base" latinLnBrk="0" hangingPunct="0">
              <a:lnSpc>
                <a:spcPct val="100000"/>
              </a:lnSpc>
              <a:spcBef>
                <a:spcPts val="714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tabLst/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939392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72873" y="573103"/>
            <a:ext cx="7104983" cy="5248452"/>
          </a:xfrm>
          <a:prstGeom prst="rect">
            <a:avLst/>
          </a:prstGeom>
          <a:noFill/>
        </p:spPr>
        <p:txBody>
          <a:bodyPr lIns="548640" tIns="1414476" rIns="1097280"/>
          <a:lstStyle>
            <a:lvl1pPr marL="968318" indent="-968318" algn="l" rtl="0" eaLnBrk="0" fontAlgn="base" hangingPunct="0">
              <a:lnSpc>
                <a:spcPts val="5354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>
                <a:tab pos="5754517" algn="r"/>
              </a:tabLst>
              <a:defRPr lang="en-US" sz="5261" b="1" kern="1200" cap="all" spc="-119" baseline="0" dirty="0" smtClean="0">
                <a:solidFill>
                  <a:srgbClr val="FFFFFF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>
              <a:lnSpc>
                <a:spcPct val="72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754517" algn="r"/>
              </a:tabLst>
              <a:defRPr sz="6925" kern="1200" spc="-321" baseline="0">
                <a:solidFill>
                  <a:schemeClr val="bg1"/>
                </a:solidFill>
              </a:defRPr>
            </a:lvl2pPr>
            <a:lvl3pPr>
              <a:lnSpc>
                <a:spcPct val="72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754517" algn="r"/>
              </a:tabLst>
              <a:defRPr sz="6925" kern="1200" spc="-321" baseline="0">
                <a:solidFill>
                  <a:schemeClr val="bg1"/>
                </a:solidFill>
              </a:defRPr>
            </a:lvl3pPr>
            <a:lvl4pPr>
              <a:lnSpc>
                <a:spcPct val="72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754517" algn="r"/>
              </a:tabLst>
              <a:defRPr sz="6925" kern="1200" spc="-321" baseline="0">
                <a:solidFill>
                  <a:schemeClr val="bg1"/>
                </a:solidFill>
              </a:defRPr>
            </a:lvl4pPr>
            <a:lvl5pPr>
              <a:lnSpc>
                <a:spcPct val="72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754517" algn="r"/>
              </a:tabLst>
              <a:defRPr sz="6925" kern="1200" spc="-321" baseline="0">
                <a:solidFill>
                  <a:schemeClr val="bg1"/>
                </a:solidFill>
              </a:defRPr>
            </a:lvl5pPr>
          </a:lstStyle>
          <a:p>
            <a:pPr marL="0" lvl="0" indent="0" algn="l" rtl="0" eaLnBrk="0" fontAlgn="base" hangingPunct="0">
              <a:lnSpc>
                <a:spcPts val="5354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>
                <a:tab pos="5754517" algn="r"/>
              </a:tabLst>
            </a:pPr>
            <a:r>
              <a:rPr lang="en-GB"/>
              <a:t>TITLE WITH STRONG</a:t>
            </a:r>
            <a:br>
              <a:rPr lang="en-GB"/>
            </a:br>
            <a:r>
              <a:rPr lang="en-GB"/>
              <a:t>MESSAGE / CALL TO</a:t>
            </a:r>
            <a:br>
              <a:rPr lang="en-GB"/>
            </a:br>
            <a:r>
              <a:rPr lang="en-GB"/>
              <a:t>ACTION. Not MORE </a:t>
            </a:r>
          </a:p>
          <a:p>
            <a:pPr marL="0" lvl="0" indent="0" algn="l" rtl="0" eaLnBrk="0" fontAlgn="base" hangingPunct="0">
              <a:lnSpc>
                <a:spcPts val="5354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>
                <a:tab pos="5754517" algn="r"/>
              </a:tabLst>
            </a:pPr>
            <a:r>
              <a:rPr lang="en-GB"/>
              <a:t>THAN 4 LINES.</a:t>
            </a:r>
            <a:endParaRPr lang="en-US"/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420163F4-0103-4DA6-8777-8BECBBC45C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10143" y="1967112"/>
            <a:ext cx="3792748" cy="379674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3200" dirty="0" smtClean="0">
                <a:solidFill>
                  <a:schemeClr val="tx1"/>
                </a:solidFill>
              </a:defRPr>
            </a:lvl1pPr>
            <a:lvl2pPr marL="718839" indent="-304449">
              <a:buFontTx/>
              <a:buNone/>
              <a:defRPr lang="en-US" sz="173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94640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0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50EB1C0-21F1-43BD-8893-149006FECD0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0318" y="1184276"/>
            <a:ext cx="11267239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9293579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7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9CDF910D-17AC-434A-B944-D7CE303760E2}"/>
              </a:ext>
            </a:extLst>
          </p:cNvPr>
          <p:cNvGrpSpPr/>
          <p:nvPr/>
        </p:nvGrpSpPr>
        <p:grpSpPr>
          <a:xfrm>
            <a:off x="9007754" y="0"/>
            <a:ext cx="3181928" cy="2658049"/>
            <a:chOff x="4125180" y="-4"/>
            <a:chExt cx="8071239" cy="6742373"/>
          </a:xfrm>
          <a:solidFill>
            <a:schemeClr val="bg1">
              <a:lumMod val="95000"/>
            </a:schemeClr>
          </a:solidFill>
        </p:grpSpPr>
        <p:sp>
          <p:nvSpPr>
            <p:cNvPr id="7" name="Freeform: Shape 17">
              <a:extLst>
                <a:ext uri="{FF2B5EF4-FFF2-40B4-BE49-F238E27FC236}">
                  <a16:creationId xmlns:a16="http://schemas.microsoft.com/office/drawing/2014/main" id="{27848A05-1B96-4EDB-ABC7-3F2304454564}"/>
                </a:ext>
              </a:extLst>
            </p:cNvPr>
            <p:cNvSpPr/>
            <p:nvPr/>
          </p:nvSpPr>
          <p:spPr>
            <a:xfrm>
              <a:off x="5017548" y="13025"/>
              <a:ext cx="1394902" cy="1394902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9" name="Freeform: Shape 18">
              <a:extLst>
                <a:ext uri="{FF2B5EF4-FFF2-40B4-BE49-F238E27FC236}">
                  <a16:creationId xmlns:a16="http://schemas.microsoft.com/office/drawing/2014/main" id="{48D92EE4-5943-433B-B3E5-EFE1D7082988}"/>
                </a:ext>
              </a:extLst>
            </p:cNvPr>
            <p:cNvSpPr/>
            <p:nvPr/>
          </p:nvSpPr>
          <p:spPr>
            <a:xfrm>
              <a:off x="7559265" y="13025"/>
              <a:ext cx="1394902" cy="1394902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0" name="Freeform: Shape 19">
              <a:extLst>
                <a:ext uri="{FF2B5EF4-FFF2-40B4-BE49-F238E27FC236}">
                  <a16:creationId xmlns:a16="http://schemas.microsoft.com/office/drawing/2014/main" id="{E6083B81-FC24-4D63-8AB2-CC93B4B53388}"/>
                </a:ext>
              </a:extLst>
            </p:cNvPr>
            <p:cNvSpPr/>
            <p:nvPr/>
          </p:nvSpPr>
          <p:spPr>
            <a:xfrm>
              <a:off x="4125180" y="-4"/>
              <a:ext cx="8071239" cy="6742373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50EB1C0-21F1-43BD-8893-149006FECD0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0318" y="1184276"/>
            <a:ext cx="11267239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4929352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8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50EB1C0-21F1-43BD-8893-149006FECD0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0318" y="1184276"/>
            <a:ext cx="11267239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DA543B8-EF36-4A2A-B26E-05FFF7DB104E}"/>
              </a:ext>
            </a:extLst>
          </p:cNvPr>
          <p:cNvSpPr/>
          <p:nvPr/>
        </p:nvSpPr>
        <p:spPr>
          <a:xfrm>
            <a:off x="-18643" y="1184276"/>
            <a:ext cx="204759" cy="5673724"/>
          </a:xfrm>
          <a:custGeom>
            <a:avLst/>
            <a:gdLst>
              <a:gd name="connsiteX0" fmla="*/ 0 w 1715306"/>
              <a:gd name="connsiteY0" fmla="*/ 0 h 3430613"/>
              <a:gd name="connsiteX1" fmla="*/ 0 w 1715306"/>
              <a:gd name="connsiteY1" fmla="*/ 1715307 h 3430613"/>
              <a:gd name="connsiteX2" fmla="*/ 0 w 1715306"/>
              <a:gd name="connsiteY2" fmla="*/ 3430614 h 3430613"/>
              <a:gd name="connsiteX3" fmla="*/ 1715307 w 1715306"/>
              <a:gd name="connsiteY3" fmla="*/ 3430614 h 3430613"/>
              <a:gd name="connsiteX4" fmla="*/ 1715307 w 1715306"/>
              <a:gd name="connsiteY4" fmla="*/ 0 h 3430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306" h="3430613">
                <a:moveTo>
                  <a:pt x="0" y="0"/>
                </a:moveTo>
                <a:lnTo>
                  <a:pt x="0" y="1715307"/>
                </a:lnTo>
                <a:lnTo>
                  <a:pt x="0" y="3430614"/>
                </a:lnTo>
                <a:lnTo>
                  <a:pt x="1715307" y="3430614"/>
                </a:lnTo>
                <a:lnTo>
                  <a:pt x="1715307" y="0"/>
                </a:lnTo>
                <a:close/>
              </a:path>
            </a:pathLst>
          </a:custGeom>
          <a:gradFill flip="none" rotWithShape="1">
            <a:gsLst>
              <a:gs pos="69000">
                <a:schemeClr val="accent3"/>
              </a:gs>
              <a:gs pos="0">
                <a:schemeClr val="accent1"/>
              </a:gs>
            </a:gsLst>
            <a:path path="circle">
              <a:fillToRect l="100000" b="100000"/>
            </a:path>
            <a:tileRect t="-100000" r="-100000"/>
          </a:gradFill>
          <a:ln w="1486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D3FC1A6-D7BB-449A-80C7-F8C0DAB73E51}"/>
              </a:ext>
            </a:extLst>
          </p:cNvPr>
          <p:cNvSpPr/>
          <p:nvPr/>
        </p:nvSpPr>
        <p:spPr>
          <a:xfrm>
            <a:off x="-18643" y="0"/>
            <a:ext cx="204759" cy="1184276"/>
          </a:xfrm>
          <a:custGeom>
            <a:avLst/>
            <a:gdLst>
              <a:gd name="connsiteX0" fmla="*/ 0 w 1715306"/>
              <a:gd name="connsiteY0" fmla="*/ 0 h 3430613"/>
              <a:gd name="connsiteX1" fmla="*/ 0 w 1715306"/>
              <a:gd name="connsiteY1" fmla="*/ 1715307 h 3430613"/>
              <a:gd name="connsiteX2" fmla="*/ 0 w 1715306"/>
              <a:gd name="connsiteY2" fmla="*/ 3430614 h 3430613"/>
              <a:gd name="connsiteX3" fmla="*/ 1715307 w 1715306"/>
              <a:gd name="connsiteY3" fmla="*/ 3430614 h 3430613"/>
              <a:gd name="connsiteX4" fmla="*/ 1715307 w 1715306"/>
              <a:gd name="connsiteY4" fmla="*/ 0 h 3430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306" h="3430613">
                <a:moveTo>
                  <a:pt x="0" y="0"/>
                </a:moveTo>
                <a:lnTo>
                  <a:pt x="0" y="1715307"/>
                </a:lnTo>
                <a:lnTo>
                  <a:pt x="0" y="3430614"/>
                </a:lnTo>
                <a:lnTo>
                  <a:pt x="1715307" y="3430614"/>
                </a:lnTo>
                <a:lnTo>
                  <a:pt x="1715307" y="0"/>
                </a:lnTo>
                <a:close/>
              </a:path>
            </a:pathLst>
          </a:custGeom>
          <a:gradFill flip="none" rotWithShape="1">
            <a:gsLst>
              <a:gs pos="38000">
                <a:schemeClr val="accent3"/>
              </a:gs>
              <a:gs pos="100000">
                <a:schemeClr val="accent2"/>
              </a:gs>
            </a:gsLst>
            <a:path path="circle">
              <a:fillToRect l="50000" t="130000" r="50000" b="-30000"/>
            </a:path>
            <a:tileRect/>
          </a:gradFill>
          <a:ln w="1486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3847775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5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50EB1C0-21F1-43BD-8893-149006FECD0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0318" y="1184276"/>
            <a:ext cx="11267239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DA543B8-EF36-4A2A-B26E-05FFF7DB104E}"/>
              </a:ext>
            </a:extLst>
          </p:cNvPr>
          <p:cNvSpPr/>
          <p:nvPr/>
        </p:nvSpPr>
        <p:spPr>
          <a:xfrm>
            <a:off x="-18643" y="1184276"/>
            <a:ext cx="204759" cy="5673724"/>
          </a:xfrm>
          <a:custGeom>
            <a:avLst/>
            <a:gdLst>
              <a:gd name="connsiteX0" fmla="*/ 0 w 1715306"/>
              <a:gd name="connsiteY0" fmla="*/ 0 h 3430613"/>
              <a:gd name="connsiteX1" fmla="*/ 0 w 1715306"/>
              <a:gd name="connsiteY1" fmla="*/ 1715307 h 3430613"/>
              <a:gd name="connsiteX2" fmla="*/ 0 w 1715306"/>
              <a:gd name="connsiteY2" fmla="*/ 3430614 h 3430613"/>
              <a:gd name="connsiteX3" fmla="*/ 1715307 w 1715306"/>
              <a:gd name="connsiteY3" fmla="*/ 3430614 h 3430613"/>
              <a:gd name="connsiteX4" fmla="*/ 1715307 w 1715306"/>
              <a:gd name="connsiteY4" fmla="*/ 0 h 3430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306" h="3430613">
                <a:moveTo>
                  <a:pt x="0" y="0"/>
                </a:moveTo>
                <a:lnTo>
                  <a:pt x="0" y="1715307"/>
                </a:lnTo>
                <a:lnTo>
                  <a:pt x="0" y="3430614"/>
                </a:lnTo>
                <a:lnTo>
                  <a:pt x="1715307" y="3430614"/>
                </a:lnTo>
                <a:lnTo>
                  <a:pt x="1715307" y="0"/>
                </a:lnTo>
                <a:close/>
              </a:path>
            </a:pathLst>
          </a:custGeom>
          <a:gradFill flip="none" rotWithShape="1">
            <a:gsLst>
              <a:gs pos="69000">
                <a:schemeClr val="accent3"/>
              </a:gs>
              <a:gs pos="0">
                <a:schemeClr val="accent1"/>
              </a:gs>
            </a:gsLst>
            <a:path path="circle">
              <a:fillToRect l="50000" t="130000" r="50000" b="-30000"/>
            </a:path>
            <a:tileRect/>
          </a:gradFill>
          <a:ln w="1486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D3FC1A6-D7BB-449A-80C7-F8C0DAB73E51}"/>
              </a:ext>
            </a:extLst>
          </p:cNvPr>
          <p:cNvSpPr/>
          <p:nvPr/>
        </p:nvSpPr>
        <p:spPr>
          <a:xfrm>
            <a:off x="-18643" y="0"/>
            <a:ext cx="204759" cy="1184276"/>
          </a:xfrm>
          <a:custGeom>
            <a:avLst/>
            <a:gdLst>
              <a:gd name="connsiteX0" fmla="*/ 0 w 1715306"/>
              <a:gd name="connsiteY0" fmla="*/ 0 h 3430613"/>
              <a:gd name="connsiteX1" fmla="*/ 0 w 1715306"/>
              <a:gd name="connsiteY1" fmla="*/ 1715307 h 3430613"/>
              <a:gd name="connsiteX2" fmla="*/ 0 w 1715306"/>
              <a:gd name="connsiteY2" fmla="*/ 3430614 h 3430613"/>
              <a:gd name="connsiteX3" fmla="*/ 1715307 w 1715306"/>
              <a:gd name="connsiteY3" fmla="*/ 3430614 h 3430613"/>
              <a:gd name="connsiteX4" fmla="*/ 1715307 w 1715306"/>
              <a:gd name="connsiteY4" fmla="*/ 0 h 3430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306" h="3430613">
                <a:moveTo>
                  <a:pt x="0" y="0"/>
                </a:moveTo>
                <a:lnTo>
                  <a:pt x="0" y="1715307"/>
                </a:lnTo>
                <a:lnTo>
                  <a:pt x="0" y="3430614"/>
                </a:lnTo>
                <a:lnTo>
                  <a:pt x="1715307" y="3430614"/>
                </a:lnTo>
                <a:lnTo>
                  <a:pt x="1715307" y="0"/>
                </a:lnTo>
                <a:close/>
              </a:path>
            </a:pathLst>
          </a:custGeom>
          <a:gradFill flip="none" rotWithShape="1">
            <a:gsLst>
              <a:gs pos="38000">
                <a:schemeClr val="accent4"/>
              </a:gs>
              <a:gs pos="100000">
                <a:schemeClr val="accent5"/>
              </a:gs>
            </a:gsLst>
            <a:path path="circle">
              <a:fillToRect l="50000" t="130000" r="50000" b="-30000"/>
            </a:path>
            <a:tileRect/>
          </a:gradFill>
          <a:ln w="1486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2155793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oleObject" Target="../embeddings/oleObject2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875CD4E-E3B6-4F35-8E6F-F4EB54C1E523}"/>
              </a:ext>
            </a:extLst>
          </p:cNvPr>
          <p:cNvGraphicFramePr>
            <a:graphicFrameLocks noChangeAspect="1"/>
          </p:cNvGraphicFramePr>
          <p:nvPr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71997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7" imgW="327" imgH="327" progId="TCLayout.ActiveDocument.1">
                  <p:embed/>
                </p:oleObj>
              </mc:Choice>
              <mc:Fallback>
                <p:oleObj name="think-cell Slide" r:id="rId57" imgW="327" imgH="32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875CD4E-E3B6-4F35-8E6F-F4EB54C1E5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" name="Rectangl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9"/>
          </a:p>
        </p:txBody>
      </p:sp>
      <p:sp>
        <p:nvSpPr>
          <p:cNvPr id="512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76251" y="1179513"/>
            <a:ext cx="11286067" cy="5199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marL="600442" lvl="1" indent="-186052" algn="l" rtl="0" eaLnBrk="0" fontAlgn="base" hangingPunct="0">
              <a:spcBef>
                <a:spcPts val="400"/>
              </a:spcBef>
              <a:spcAft>
                <a:spcPts val="400"/>
              </a:spcAft>
              <a:buClr>
                <a:schemeClr val="bg2">
                  <a:lumMod val="75000"/>
                </a:schemeClr>
              </a:buClr>
              <a:buSzPct val="80000"/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  <a:p>
            <a:pPr marL="931799" lvl="2" indent="-186052" algn="l" rtl="0" eaLnBrk="0" fontAlgn="base" hangingPunct="0">
              <a:spcBef>
                <a:spcPts val="400"/>
              </a:spcBef>
              <a:spcAft>
                <a:spcPts val="400"/>
              </a:spcAft>
              <a:buClr>
                <a:schemeClr val="bg2">
                  <a:lumMod val="75000"/>
                </a:schemeClr>
              </a:buClr>
              <a:buSzPct val="80000"/>
              <a:buFont typeface="Arial" panose="020B0604020202020204" pitchFamily="34" charset="0"/>
              <a:buChar char="•"/>
            </a:pPr>
            <a:r>
              <a:rPr lang="en-US"/>
              <a:t>3 level</a:t>
            </a:r>
          </a:p>
          <a:p>
            <a:pPr marL="1147028" marR="0" lvl="3" indent="-186052" algn="l" defTabSz="914400" rtl="0" eaLnBrk="0" fontAlgn="base" latinLnBrk="0" hangingPunc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>
                  <a:lumMod val="75000"/>
                </a:schemeClr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4 Second level</a:t>
            </a:r>
          </a:p>
          <a:p>
            <a:pPr marL="1362254" lvl="4" indent="-186052" algn="l" rtl="0" eaLnBrk="0" fontAlgn="base" hangingPunct="0">
              <a:spcBef>
                <a:spcPts val="400"/>
              </a:spcBef>
              <a:spcAft>
                <a:spcPts val="400"/>
              </a:spcAft>
              <a:buClr>
                <a:schemeClr val="bg2">
                  <a:lumMod val="75000"/>
                </a:schemeClr>
              </a:buClr>
              <a:buSzPct val="80000"/>
              <a:buFont typeface="Arial" panose="020B0604020202020204" pitchFamily="34" charset="0"/>
              <a:buChar char="•"/>
            </a:pPr>
            <a:r>
              <a:rPr lang="en-US"/>
              <a:t>5 level</a:t>
            </a:r>
          </a:p>
        </p:txBody>
      </p:sp>
      <p:sp>
        <p:nvSpPr>
          <p:cNvPr id="512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hort Title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255595" y="6394658"/>
            <a:ext cx="857032" cy="365125"/>
          </a:xfrm>
          <a:prstGeom prst="rect">
            <a:avLst/>
          </a:prstGeom>
        </p:spPr>
        <p:txBody>
          <a:bodyPr vert="horz" wrap="square" lIns="163229" tIns="81610" rIns="163229" bIns="81610" numCol="1" anchor="ctr" anchorCtr="0" compatLnSpc="1">
            <a:prstTxWarp prst="textNoShape">
              <a:avLst/>
            </a:prstTxWarp>
          </a:bodyPr>
          <a:lstStyle>
            <a:lvl1pPr algn="l">
              <a:defRPr sz="1332" smtClean="0">
                <a:solidFill>
                  <a:schemeClr val="tx2"/>
                </a:solidFill>
                <a:latin typeface="Arial MT Std Light" panose="020B0302030403020204" pitchFamily="34" charset="0"/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24" name="Group 23"/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6" name="Freeform 9"/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7" name="Rectangle 10"/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8" name="Freeform 11"/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9" name="Rectangle 12"/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0" name="Rectangle 13"/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1" name="Rectangle 14"/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424AB19B-675F-7143-BD41-7DEBD40A60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3131608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9" imgW="498" imgH="499" progId="TCLayout.ActiveDocument.1">
                  <p:embed/>
                </p:oleObj>
              </mc:Choice>
              <mc:Fallback>
                <p:oleObj name="think-cell Slide" r:id="rId59" imgW="498" imgH="499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424AB19B-675F-7143-BD41-7DEBD40A60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95962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  <p:sldLayoutId id="2147483737" r:id="rId19"/>
    <p:sldLayoutId id="2147483738" r:id="rId20"/>
    <p:sldLayoutId id="2147483739" r:id="rId21"/>
    <p:sldLayoutId id="2147483740" r:id="rId22"/>
    <p:sldLayoutId id="2147483741" r:id="rId23"/>
    <p:sldLayoutId id="2147483742" r:id="rId24"/>
    <p:sldLayoutId id="2147483743" r:id="rId25"/>
    <p:sldLayoutId id="2147483744" r:id="rId26"/>
    <p:sldLayoutId id="2147483745" r:id="rId27"/>
    <p:sldLayoutId id="2147483746" r:id="rId28"/>
    <p:sldLayoutId id="2147483747" r:id="rId29"/>
    <p:sldLayoutId id="2147483748" r:id="rId30"/>
    <p:sldLayoutId id="2147483749" r:id="rId31"/>
    <p:sldLayoutId id="2147483750" r:id="rId32"/>
    <p:sldLayoutId id="2147483751" r:id="rId33"/>
    <p:sldLayoutId id="2147483752" r:id="rId34"/>
    <p:sldLayoutId id="2147483753" r:id="rId35"/>
    <p:sldLayoutId id="2147483754" r:id="rId36"/>
    <p:sldLayoutId id="2147483755" r:id="rId37"/>
    <p:sldLayoutId id="2147483756" r:id="rId38"/>
    <p:sldLayoutId id="2147483757" r:id="rId39"/>
    <p:sldLayoutId id="2147483758" r:id="rId40"/>
    <p:sldLayoutId id="2147483759" r:id="rId41"/>
    <p:sldLayoutId id="2147483760" r:id="rId42"/>
    <p:sldLayoutId id="2147483761" r:id="rId43"/>
    <p:sldLayoutId id="2147483762" r:id="rId44"/>
    <p:sldLayoutId id="2147483763" r:id="rId45"/>
    <p:sldLayoutId id="2147483764" r:id="rId46"/>
    <p:sldLayoutId id="2147483765" r:id="rId47"/>
    <p:sldLayoutId id="2147483766" r:id="rId48"/>
    <p:sldLayoutId id="2147483767" r:id="rId49"/>
    <p:sldLayoutId id="2147483768" r:id="rId50"/>
    <p:sldLayoutId id="2147483769" r:id="rId51"/>
    <p:sldLayoutId id="2147483771" r:id="rId52"/>
    <p:sldLayoutId id="2147483772" r:id="rId53"/>
  </p:sldLayoutIdLst>
  <p:hf hdr="0" ftr="0" dt="0"/>
  <p:txStyles>
    <p:titleStyle>
      <a:lvl1pPr marL="0" indent="0" algn="l" rtl="1" eaLnBrk="1" fontAlgn="base" hangingPunct="1">
        <a:spcBef>
          <a:spcPct val="0"/>
        </a:spcBef>
        <a:spcAft>
          <a:spcPct val="0"/>
        </a:spcAft>
        <a:defRPr sz="3200" b="0" kern="1200" cap="none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Arial" panose="020B0604020202020204" pitchFamily="34" charset="0"/>
        </a:defRPr>
      </a:lvl1pPr>
      <a:lvl2pPr marL="100064" indent="111388" algn="l" rtl="1" eaLnBrk="1" fontAlgn="base" hangingPunct="1">
        <a:spcBef>
          <a:spcPct val="0"/>
        </a:spcBef>
        <a:spcAft>
          <a:spcPct val="0"/>
        </a:spcAft>
        <a:defRPr sz="2863">
          <a:solidFill>
            <a:schemeClr val="bg1"/>
          </a:solidFill>
          <a:latin typeface="Arial" pitchFamily="34" charset="0"/>
        </a:defRPr>
      </a:lvl2pPr>
      <a:lvl3pPr marL="100064" indent="111388" algn="l" rtl="1" eaLnBrk="1" fontAlgn="base" hangingPunct="1">
        <a:spcBef>
          <a:spcPct val="0"/>
        </a:spcBef>
        <a:spcAft>
          <a:spcPct val="0"/>
        </a:spcAft>
        <a:defRPr sz="2863">
          <a:solidFill>
            <a:schemeClr val="bg1"/>
          </a:solidFill>
          <a:latin typeface="Arial" pitchFamily="34" charset="0"/>
        </a:defRPr>
      </a:lvl3pPr>
      <a:lvl4pPr marL="100064" indent="111388" algn="l" rtl="1" eaLnBrk="1" fontAlgn="base" hangingPunct="1">
        <a:spcBef>
          <a:spcPct val="0"/>
        </a:spcBef>
        <a:spcAft>
          <a:spcPct val="0"/>
        </a:spcAft>
        <a:defRPr sz="2863">
          <a:solidFill>
            <a:schemeClr val="bg1"/>
          </a:solidFill>
          <a:latin typeface="Arial" pitchFamily="34" charset="0"/>
        </a:defRPr>
      </a:lvl4pPr>
      <a:lvl5pPr marL="100064" indent="111388" algn="l" rtl="1" eaLnBrk="1" fontAlgn="base" hangingPunct="1">
        <a:spcBef>
          <a:spcPct val="0"/>
        </a:spcBef>
        <a:spcAft>
          <a:spcPct val="0"/>
        </a:spcAft>
        <a:defRPr sz="2863">
          <a:solidFill>
            <a:schemeClr val="bg1"/>
          </a:solidFill>
          <a:latin typeface="Arial" pitchFamily="34" charset="0"/>
        </a:defRPr>
      </a:lvl5pPr>
      <a:lvl6pPr marL="543478" algn="l" rtl="1" eaLnBrk="1" fontAlgn="base" hangingPunct="1">
        <a:spcBef>
          <a:spcPct val="0"/>
        </a:spcBef>
        <a:spcAft>
          <a:spcPct val="0"/>
        </a:spcAft>
        <a:defRPr sz="2397" b="1">
          <a:solidFill>
            <a:schemeClr val="tx1"/>
          </a:solidFill>
          <a:latin typeface="Arial" pitchFamily="34" charset="0"/>
        </a:defRPr>
      </a:lvl6pPr>
      <a:lvl7pPr marL="1086950" algn="l" rtl="1" eaLnBrk="1" fontAlgn="base" hangingPunct="1">
        <a:spcBef>
          <a:spcPct val="0"/>
        </a:spcBef>
        <a:spcAft>
          <a:spcPct val="0"/>
        </a:spcAft>
        <a:defRPr sz="2397" b="1">
          <a:solidFill>
            <a:schemeClr val="tx1"/>
          </a:solidFill>
          <a:latin typeface="Arial" pitchFamily="34" charset="0"/>
        </a:defRPr>
      </a:lvl7pPr>
      <a:lvl8pPr marL="1630422" algn="l" rtl="1" eaLnBrk="1" fontAlgn="base" hangingPunct="1">
        <a:spcBef>
          <a:spcPct val="0"/>
        </a:spcBef>
        <a:spcAft>
          <a:spcPct val="0"/>
        </a:spcAft>
        <a:defRPr sz="2397" b="1">
          <a:solidFill>
            <a:schemeClr val="tx1"/>
          </a:solidFill>
          <a:latin typeface="Arial" pitchFamily="34" charset="0"/>
        </a:defRPr>
      </a:lvl8pPr>
      <a:lvl9pPr marL="2173900" algn="l" rtl="1" eaLnBrk="1" fontAlgn="base" hangingPunct="1">
        <a:spcBef>
          <a:spcPct val="0"/>
        </a:spcBef>
        <a:spcAft>
          <a:spcPct val="0"/>
        </a:spcAft>
        <a:defRPr sz="2397" b="1">
          <a:solidFill>
            <a:schemeClr val="tx1"/>
          </a:solidFill>
          <a:latin typeface="Arial" pitchFamily="34" charset="0"/>
        </a:defRPr>
      </a:lvl9pPr>
    </p:titleStyle>
    <p:bodyStyle>
      <a:lvl1pPr marL="298299" indent="-298299" algn="r" defTabSz="941900" rtl="1" eaLnBrk="1" fontAlgn="base" hangingPunct="1">
        <a:spcBef>
          <a:spcPts val="666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2200" kern="120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14390" indent="0" algn="r" rtl="1" eaLnBrk="1" fontAlgn="base" hangingPunct="1">
        <a:spcBef>
          <a:spcPts val="400"/>
        </a:spcBef>
        <a:spcAft>
          <a:spcPts val="0"/>
        </a:spcAft>
        <a:buClr>
          <a:schemeClr val="bg2"/>
        </a:buClr>
        <a:buSzPct val="80000"/>
        <a:buFont typeface="Arial" panose="020B0604020202020204" pitchFamily="34" charset="0"/>
        <a:buNone/>
        <a:defRPr lang="en-US" sz="20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45747" indent="-213342" algn="r" rtl="1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50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60976" indent="-213342" algn="r" rtl="1" eaLnBrk="1" fontAlgn="base" hangingPunct="1">
        <a:spcBef>
          <a:spcPct val="20000"/>
        </a:spcBef>
        <a:spcAft>
          <a:spcPct val="0"/>
        </a:spcAft>
        <a:buClr>
          <a:srgbClr val="7685C2"/>
        </a:buClr>
        <a:buSzPct val="75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76202" indent="-213342" algn="r" rtl="1" eaLnBrk="1" fontAlgn="base" hangingPunct="1">
        <a:spcBef>
          <a:spcPct val="20000"/>
        </a:spcBef>
        <a:spcAft>
          <a:spcPct val="0"/>
        </a:spcAft>
        <a:buClr>
          <a:srgbClr val="AFB7DB"/>
        </a:buClr>
        <a:buSzPct val="8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989113" indent="-271740" algn="r" defTabSz="1086950" rtl="1" eaLnBrk="1" latinLnBrk="0" hangingPunct="1">
        <a:spcBef>
          <a:spcPct val="20000"/>
        </a:spcBef>
        <a:buFont typeface="Arial" pitchFamily="34" charset="0"/>
        <a:buChar char="•"/>
        <a:defRPr sz="2397" kern="1200">
          <a:solidFill>
            <a:schemeClr val="tx1"/>
          </a:solidFill>
          <a:latin typeface="+mn-lt"/>
          <a:ea typeface="+mn-ea"/>
          <a:cs typeface="+mn-cs"/>
        </a:defRPr>
      </a:lvl6pPr>
      <a:lvl7pPr marL="3532583" indent="-271740" algn="r" defTabSz="1086950" rtl="1" eaLnBrk="1" latinLnBrk="0" hangingPunct="1">
        <a:spcBef>
          <a:spcPct val="20000"/>
        </a:spcBef>
        <a:buFont typeface="Arial" pitchFamily="34" charset="0"/>
        <a:buChar char="•"/>
        <a:defRPr sz="2397" kern="1200">
          <a:solidFill>
            <a:schemeClr val="tx1"/>
          </a:solidFill>
          <a:latin typeface="+mn-lt"/>
          <a:ea typeface="+mn-ea"/>
          <a:cs typeface="+mn-cs"/>
        </a:defRPr>
      </a:lvl7pPr>
      <a:lvl8pPr marL="4076062" indent="-271740" algn="r" defTabSz="1086950" rtl="1" eaLnBrk="1" latinLnBrk="0" hangingPunct="1">
        <a:spcBef>
          <a:spcPct val="20000"/>
        </a:spcBef>
        <a:buFont typeface="Arial" pitchFamily="34" charset="0"/>
        <a:buChar char="•"/>
        <a:defRPr sz="2397" kern="1200">
          <a:solidFill>
            <a:schemeClr val="tx1"/>
          </a:solidFill>
          <a:latin typeface="+mn-lt"/>
          <a:ea typeface="+mn-ea"/>
          <a:cs typeface="+mn-cs"/>
        </a:defRPr>
      </a:lvl8pPr>
      <a:lvl9pPr marL="4619536" indent="-271740" algn="r" defTabSz="1086950" rtl="1" eaLnBrk="1" latinLnBrk="0" hangingPunct="1">
        <a:spcBef>
          <a:spcPct val="20000"/>
        </a:spcBef>
        <a:buFont typeface="Arial" pitchFamily="34" charset="0"/>
        <a:buChar char="•"/>
        <a:defRPr sz="23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r" defTabSz="1086950" rtl="1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1pPr>
      <a:lvl2pPr marL="543478" algn="r" defTabSz="1086950" rtl="1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2pPr>
      <a:lvl3pPr marL="1086950" algn="r" defTabSz="1086950" rtl="1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3pPr>
      <a:lvl4pPr marL="1630422" algn="r" defTabSz="1086950" rtl="1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4pPr>
      <a:lvl5pPr marL="2173900" algn="r" defTabSz="1086950" rtl="1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5pPr>
      <a:lvl6pPr marL="2717373" algn="r" defTabSz="1086950" rtl="1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6pPr>
      <a:lvl7pPr marL="3260848" algn="r" defTabSz="1086950" rtl="1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7pPr>
      <a:lvl8pPr marL="3804323" algn="r" defTabSz="1086950" rtl="1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8pPr>
      <a:lvl9pPr marL="4347802" algn="r" defTabSz="1086950" rtl="1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4" Type="http://schemas.openxmlformats.org/officeDocument/2006/relationships/image" Target="../media/image23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7.xml"/><Relationship Id="rId4" Type="http://schemas.openxmlformats.org/officeDocument/2006/relationships/image" Target="../media/image43.em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6" Type="http://schemas.openxmlformats.org/officeDocument/2006/relationships/image" Target="../media/image45.emf"/><Relationship Id="rId5" Type="http://schemas.openxmlformats.org/officeDocument/2006/relationships/oleObject" Target="../embeddings/oleObject7.bin"/><Relationship Id="rId4" Type="http://schemas.microsoft.com/office/2018/10/relationships/comments" Target="../comments/modernComment_7FFFFDE4_1AF3E58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Relationship Id="rId6" Type="http://schemas.openxmlformats.org/officeDocument/2006/relationships/image" Target="../media/image46.emf"/><Relationship Id="rId5" Type="http://schemas.openxmlformats.org/officeDocument/2006/relationships/oleObject" Target="../embeddings/oleObject8.bin"/><Relationship Id="rId4" Type="http://schemas.microsoft.com/office/2018/10/relationships/comments" Target="../comments/modernComment_7FFFFDE8_15A1C76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0.xml"/><Relationship Id="rId6" Type="http://schemas.openxmlformats.org/officeDocument/2006/relationships/image" Target="../media/image46.emf"/><Relationship Id="rId5" Type="http://schemas.openxmlformats.org/officeDocument/2006/relationships/oleObject" Target="../embeddings/oleObject9.bin"/><Relationship Id="rId4" Type="http://schemas.microsoft.com/office/2018/10/relationships/comments" Target="../comments/modernComment_121_94A9627B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5.xml"/><Relationship Id="rId4" Type="http://schemas.openxmlformats.org/officeDocument/2006/relationships/image" Target="../media/image2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6.xml"/><Relationship Id="rId4" Type="http://schemas.openxmlformats.org/officeDocument/2006/relationships/image" Target="../media/image25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34.png"/><Relationship Id="rId18" Type="http://schemas.openxmlformats.org/officeDocument/2006/relationships/image" Target="../media/image38.jpeg"/><Relationship Id="rId3" Type="http://schemas.microsoft.com/office/2007/relationships/hdphoto" Target="../media/hdphoto1.wdp"/><Relationship Id="rId21" Type="http://schemas.openxmlformats.org/officeDocument/2006/relationships/image" Target="../media/image41.png"/><Relationship Id="rId7" Type="http://schemas.openxmlformats.org/officeDocument/2006/relationships/image" Target="../media/image29.png"/><Relationship Id="rId12" Type="http://schemas.openxmlformats.org/officeDocument/2006/relationships/image" Target="../media/image33.png"/><Relationship Id="rId17" Type="http://schemas.openxmlformats.org/officeDocument/2006/relationships/image" Target="../media/image37.png"/><Relationship Id="rId2" Type="http://schemas.openxmlformats.org/officeDocument/2006/relationships/image" Target="../media/image26.png"/><Relationship Id="rId16" Type="http://schemas.microsoft.com/office/2007/relationships/hdphoto" Target="../media/hdphoto4.wdp"/><Relationship Id="rId20" Type="http://schemas.openxmlformats.org/officeDocument/2006/relationships/image" Target="../media/image40.pn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28.png"/><Relationship Id="rId11" Type="http://schemas.openxmlformats.org/officeDocument/2006/relationships/image" Target="../media/image32.png"/><Relationship Id="rId5" Type="http://schemas.microsoft.com/office/2007/relationships/hdphoto" Target="../media/hdphoto2.wdp"/><Relationship Id="rId15" Type="http://schemas.openxmlformats.org/officeDocument/2006/relationships/image" Target="../media/image36.png"/><Relationship Id="rId10" Type="http://schemas.openxmlformats.org/officeDocument/2006/relationships/image" Target="../media/image31.png"/><Relationship Id="rId19" Type="http://schemas.openxmlformats.org/officeDocument/2006/relationships/image" Target="../media/image39.png"/><Relationship Id="rId4" Type="http://schemas.openxmlformats.org/officeDocument/2006/relationships/image" Target="../media/image27.png"/><Relationship Id="rId9" Type="http://schemas.openxmlformats.org/officeDocument/2006/relationships/image" Target="../media/image30.png"/><Relationship Id="rId14" Type="http://schemas.openxmlformats.org/officeDocument/2006/relationships/image" Target="../media/image35.png"/><Relationship Id="rId22" Type="http://schemas.openxmlformats.org/officeDocument/2006/relationships/image" Target="../media/image42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C58878E-166E-8F47-A4FE-4A2F14FC49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044640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C58878E-166E-8F47-A4FE-4A2F14FC49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15D5CC80-9E1B-EA4B-89F9-066962C068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5999" y="1746281"/>
            <a:ext cx="6359371" cy="2167497"/>
          </a:xfrm>
        </p:spPr>
        <p:txBody>
          <a:bodyPr vert="horz"/>
          <a:lstStyle/>
          <a:p>
            <a:pPr rtl="0"/>
            <a:r>
              <a:rPr lang="en-GB" sz="4400" dirty="0"/>
              <a:t>NICE Actimize Consortium </a:t>
            </a:r>
            <a:br>
              <a:rPr lang="en-GB" sz="4400" dirty="0"/>
            </a:br>
            <a:endParaRPr lang="en-GB" sz="4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03A694-B364-B944-814F-D770E9E1DE8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394450"/>
            <a:ext cx="857250" cy="365125"/>
          </a:xfrm>
        </p:spPr>
        <p:txBody>
          <a:bodyPr/>
          <a:lstStyle/>
          <a:p>
            <a:fld id="{330EA680-D336-4FF7-8B7A-9848BB0A1C3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754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8DC576C-AF85-61F5-8037-B00EB47CF8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 algn="l" rtl="0">
              <a:buNone/>
            </a:pPr>
            <a:r>
              <a:rPr lang="en-US" dirty="0"/>
              <a:t>Assumptions on the launch of consortium driven offerings: </a:t>
            </a:r>
          </a:p>
          <a:p>
            <a:pPr algn="l" rtl="0"/>
            <a:r>
              <a:rPr lang="en-US" dirty="0"/>
              <a:t>Year 0 – Pilot with X banks on 1</a:t>
            </a:r>
            <a:r>
              <a:rPr lang="en-US" baseline="30000" dirty="0"/>
              <a:t>st</a:t>
            </a:r>
            <a:r>
              <a:rPr lang="en-US" dirty="0"/>
              <a:t> use case (creating the seed)</a:t>
            </a:r>
          </a:p>
          <a:p>
            <a:pPr algn="l" rtl="0"/>
            <a:r>
              <a:rPr lang="en-US" dirty="0"/>
              <a:t>Year 1 – Fraud consortium offering focused on </a:t>
            </a:r>
            <a:r>
              <a:rPr lang="en-US" b="1" dirty="0"/>
              <a:t>counterparty</a:t>
            </a:r>
            <a:r>
              <a:rPr lang="en-US" dirty="0"/>
              <a:t> </a:t>
            </a:r>
            <a:r>
              <a:rPr lang="en-US" b="1" dirty="0"/>
              <a:t>intelligence </a:t>
            </a:r>
            <a:br>
              <a:rPr lang="en-US" b="1" dirty="0"/>
            </a:br>
            <a:r>
              <a:rPr lang="en-US" dirty="0"/>
              <a:t>(bank account) for </a:t>
            </a:r>
            <a:r>
              <a:rPr lang="en-US" b="1" dirty="0"/>
              <a:t>payments fraud </a:t>
            </a:r>
          </a:p>
          <a:p>
            <a:pPr algn="l" rtl="0"/>
            <a:r>
              <a:rPr lang="en-US" dirty="0"/>
              <a:t>Year 2 – Onboarding Consortium offering; </a:t>
            </a:r>
          </a:p>
          <a:p>
            <a:pPr algn="l" rtl="0"/>
            <a:r>
              <a:rPr lang="en-US" dirty="0"/>
              <a:t>Year 3 - Fincrime Investigation offering;</a:t>
            </a:r>
          </a:p>
          <a:p>
            <a:pPr marL="0" indent="0" algn="l" rtl="0">
              <a:buNone/>
            </a:pPr>
            <a:endParaRPr lang="en-US" dirty="0"/>
          </a:p>
          <a:p>
            <a:pPr algn="l" rtl="0"/>
            <a:r>
              <a:rPr lang="en-US" dirty="0"/>
              <a:t>Determine FGU for licens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24D41A9-E624-F57B-F163-9BCFECEAC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enue Model assump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99D641-066E-3DA7-C4D2-CEFB5B716F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56229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526F81F-DE00-8F4D-9625-A46D96466A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526F81F-DE00-8F4D-9625-A46D96466A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7EC7BD5-433A-6F43-9F45-BA17F5E18E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EA680-D336-4FF7-8B7A-9848BB0A1C32}" type="slidenum">
              <a:rPr kumimoji="0" lang="en-US" sz="1332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MT Std Light" panose="020B0302030403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332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Std Light" panose="020B0302030403020204" pitchFamily="34" charset="0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D33D78A-2B8F-7041-B088-7A92B518B6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2627" y="947529"/>
            <a:ext cx="5097320" cy="645882"/>
          </a:xfrm>
        </p:spPr>
        <p:txBody>
          <a:bodyPr vert="horz"/>
          <a:lstStyle/>
          <a:p>
            <a:pPr rtl="0"/>
            <a:r>
              <a:rPr lang="en-GB" dirty="0"/>
              <a:t>Definition of Success: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DAA169E-20CC-034E-090E-9E52E5D4B7D8}"/>
              </a:ext>
            </a:extLst>
          </p:cNvPr>
          <p:cNvSpPr txBox="1"/>
          <p:nvPr/>
        </p:nvSpPr>
        <p:spPr>
          <a:xfrm>
            <a:off x="1049253" y="2308634"/>
            <a:ext cx="6990224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/>
              <a:t>Generate </a:t>
            </a:r>
            <a:r>
              <a:rPr lang="en-GB" sz="2000" b="1" dirty="0"/>
              <a:t>$9M</a:t>
            </a:r>
            <a:r>
              <a:rPr lang="en-GB" sz="2000" dirty="0"/>
              <a:t> ACV from 26 customers within 3 years</a:t>
            </a:r>
            <a:br>
              <a:rPr lang="en-GB" sz="2000" dirty="0"/>
            </a:br>
            <a:br>
              <a:rPr lang="en-GB" sz="2000" dirty="0"/>
            </a:br>
            <a:r>
              <a:rPr lang="en-GB" sz="2000" dirty="0"/>
              <a:t>Generate </a:t>
            </a:r>
            <a:r>
              <a:rPr lang="en-GB" sz="2000" b="1" dirty="0"/>
              <a:t>$30M </a:t>
            </a:r>
            <a:r>
              <a:rPr lang="en-GB" sz="2000" dirty="0"/>
              <a:t>ACV from 35 customers within 5 years </a:t>
            </a:r>
            <a:br>
              <a:rPr lang="en-GB" sz="2000" dirty="0"/>
            </a:br>
            <a:br>
              <a:rPr lang="en-GB" sz="2000" dirty="0"/>
            </a:br>
            <a:r>
              <a:rPr lang="en-GB" sz="2000" dirty="0"/>
              <a:t>Generate </a:t>
            </a:r>
            <a:r>
              <a:rPr lang="en-GB" sz="2000" b="1" dirty="0"/>
              <a:t>$100M </a:t>
            </a:r>
            <a:r>
              <a:rPr lang="en-GB" sz="2000" dirty="0"/>
              <a:t>ACV from 100 customers within 10 year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9377104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F262EE-943E-0F51-8DF9-1B33088CD9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enue Projec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055A26-8FCF-C1F2-A91E-346D644771F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2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FFA32C1-8323-92D4-DAE8-D8F9E912A9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1491" y="1707301"/>
            <a:ext cx="11326806" cy="95263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20F0936-C49A-0A3D-7A8B-68FF8EC578D2}"/>
              </a:ext>
            </a:extLst>
          </p:cNvPr>
          <p:cNvSpPr txBox="1"/>
          <p:nvPr/>
        </p:nvSpPr>
        <p:spPr>
          <a:xfrm>
            <a:off x="565608" y="3874416"/>
            <a:ext cx="9088510" cy="95410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R="0" lvl="1">
              <a:spcBef>
                <a:spcPts val="0"/>
              </a:spcBef>
              <a:spcAft>
                <a:spcPts val="0"/>
              </a:spcAft>
              <a:tabLst>
                <a:tab pos="914400" algn="l"/>
              </a:tabLst>
            </a:pPr>
            <a:r>
              <a:rPr lang="en-US" u="sng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Indirect value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en-US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Increase competitive position </a:t>
            </a:r>
            <a:r>
              <a:rPr lang="en-US" dirty="0">
                <a:solidFill>
                  <a:srgbClr val="000000"/>
                </a:solidFill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&amp; </a:t>
            </a:r>
            <a:r>
              <a:rPr lang="en-US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wins for platform and portfolio</a:t>
            </a:r>
            <a:endParaRPr lang="en-US" sz="2000" dirty="0">
              <a:solidFill>
                <a:srgbClr val="000000"/>
              </a:solidFill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en-US" sz="20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</a:t>
            </a:r>
            <a:r>
              <a:rPr lang="en-US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eate a powerful Data "control point" strengthening our platform position</a:t>
            </a:r>
            <a:endParaRPr lang="en-US" sz="2000" dirty="0">
              <a:solidFill>
                <a:srgbClr val="000000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8874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9BD8441-6F73-299F-B83C-9C84A4585C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DE5514B-54FF-A60A-0DA0-33AE583DAB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Scope of Work</a:t>
            </a:r>
          </a:p>
        </p:txBody>
      </p:sp>
    </p:spTree>
    <p:extLst>
      <p:ext uri="{BB962C8B-B14F-4D97-AF65-F5344CB8AC3E}">
        <p14:creationId xmlns:p14="http://schemas.microsoft.com/office/powerpoint/2010/main" val="28003491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2F9A39-3BA9-DB0E-A24D-A88F0B5A7E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2F9A39-3BA9-DB0E-A24D-A88F0B5A7E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3BDF3592-5D97-85FB-8BCC-C0B303309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491" y="251668"/>
            <a:ext cx="11286067" cy="582052"/>
          </a:xfrm>
        </p:spPr>
        <p:txBody>
          <a:bodyPr vert="horz"/>
          <a:lstStyle/>
          <a:p>
            <a:r>
              <a:rPr lang="en-GB"/>
              <a:t>Scope of Work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7CD5CF8-BFF3-5FE3-614A-1F6DA5F69338}"/>
              </a:ext>
            </a:extLst>
          </p:cNvPr>
          <p:cNvGrpSpPr/>
          <p:nvPr/>
        </p:nvGrpSpPr>
        <p:grpSpPr>
          <a:xfrm>
            <a:off x="510319" y="1126631"/>
            <a:ext cx="11267240" cy="1175918"/>
            <a:chOff x="510319" y="1126631"/>
            <a:chExt cx="11267240" cy="1175918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BD3EC31-7968-8219-1E84-297F776A4D08}"/>
                </a:ext>
              </a:extLst>
            </p:cNvPr>
            <p:cNvSpPr/>
            <p:nvPr/>
          </p:nvSpPr>
          <p:spPr>
            <a:xfrm>
              <a:off x="510319" y="1126631"/>
              <a:ext cx="1682376" cy="117591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>
                <a:spcBef>
                  <a:spcPts val="600"/>
                </a:spcBef>
              </a:pPr>
              <a:r>
                <a:rPr lang="en-GB" sz="1600"/>
                <a:t>Team Charter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A1E77D7-D164-AED7-4B9A-D343DF946A18}"/>
                </a:ext>
              </a:extLst>
            </p:cNvPr>
            <p:cNvSpPr/>
            <p:nvPr/>
          </p:nvSpPr>
          <p:spPr>
            <a:xfrm>
              <a:off x="2379307" y="1126631"/>
              <a:ext cx="9398252" cy="117591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>
                <a:spcBef>
                  <a:spcPts val="600"/>
                </a:spcBef>
              </a:pPr>
              <a:r>
                <a:rPr lang="en-US" sz="1800" b="0" i="0" u="none" strike="noStrike" kern="12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+mn-ea"/>
                  <a:cs typeface="+mn-cs"/>
                </a:rPr>
                <a:t>FRD Consortium Development &amp; Commercialization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F31D4AA-7D68-E359-04BA-3743406F1746}"/>
              </a:ext>
            </a:extLst>
          </p:cNvPr>
          <p:cNvGrpSpPr/>
          <p:nvPr/>
        </p:nvGrpSpPr>
        <p:grpSpPr>
          <a:xfrm>
            <a:off x="510319" y="2479570"/>
            <a:ext cx="11267240" cy="3701150"/>
            <a:chOff x="510319" y="1126631"/>
            <a:chExt cx="11267240" cy="1175918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87A4F86-1A1A-1DD9-82E9-A441E06027DC}"/>
                </a:ext>
              </a:extLst>
            </p:cNvPr>
            <p:cNvSpPr/>
            <p:nvPr/>
          </p:nvSpPr>
          <p:spPr>
            <a:xfrm>
              <a:off x="510319" y="1126631"/>
              <a:ext cx="1682376" cy="117591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>
                <a:spcBef>
                  <a:spcPts val="600"/>
                </a:spcBef>
              </a:pPr>
              <a:r>
                <a:rPr lang="en-GB" sz="1600"/>
                <a:t>Scope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0F8EC6B-AF69-48FD-76D5-DF8669D9E7FB}"/>
                </a:ext>
              </a:extLst>
            </p:cNvPr>
            <p:cNvSpPr/>
            <p:nvPr/>
          </p:nvSpPr>
          <p:spPr>
            <a:xfrm>
              <a:off x="2379307" y="1126631"/>
              <a:ext cx="9398252" cy="117591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40" tIns="45720" rIns="91440" bIns="45720" rtlCol="0" anchor="t"/>
            <a:lstStyle/>
            <a:p>
              <a:pPr marL="114300" marR="0" lvl="0" algn="l" defTabSz="108695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lang="en-US" sz="18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96D751E7-5E6D-D730-09F4-303DDA72E156}"/>
              </a:ext>
            </a:extLst>
          </p:cNvPr>
          <p:cNvSpPr txBox="1"/>
          <p:nvPr/>
        </p:nvSpPr>
        <p:spPr>
          <a:xfrm>
            <a:off x="2515486" y="2595460"/>
            <a:ext cx="9125893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000" b="1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2025</a:t>
            </a:r>
            <a:br>
              <a:rPr lang="en-US" sz="2000" b="1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</a:br>
            <a:r>
              <a:rPr lang="en-US" sz="200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Provide </a:t>
            </a:r>
            <a:r>
              <a:rPr lang="en-US" sz="2000" b="1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ounterparty risk </a:t>
            </a:r>
            <a:r>
              <a:rPr lang="en-US" sz="200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in </a:t>
            </a:r>
            <a:r>
              <a:rPr lang="en-US" sz="2000">
                <a:solidFill>
                  <a:srgbClr val="000000"/>
                </a:solidFill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ealtime</a:t>
            </a:r>
            <a:r>
              <a:rPr lang="en-US" sz="200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to enhance Fraud and Scams detection and improve customer experience</a:t>
            </a:r>
            <a:r>
              <a:rPr lang="en-US" sz="2000">
                <a:solidFill>
                  <a:srgbClr val="000000"/>
                </a:solidFill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.</a:t>
            </a:r>
            <a:endParaRPr lang="en-US" sz="2000">
              <a:solidFill>
                <a:srgbClr val="000000"/>
              </a:solidFill>
              <a:effectLst/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srgbClr val="000000"/>
              </a:solidFill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r>
              <a:rPr lang="en-US" sz="2000" b="1">
                <a:solidFill>
                  <a:srgbClr val="000000"/>
                </a:solidFill>
                <a:latin typeface="Aptos" panose="020B0004020202020204" pitchFamily="34" charset="0"/>
              </a:rPr>
              <a:t>2026 &amp; Beyond</a:t>
            </a:r>
          </a:p>
          <a:p>
            <a:r>
              <a:rPr lang="en-US" sz="2000">
                <a:solidFill>
                  <a:srgbClr val="000000"/>
                </a:solidFill>
                <a:latin typeface="Aptos" panose="020B0004020202020204" pitchFamily="34" charset="0"/>
              </a:rPr>
              <a:t>Expand to other </a:t>
            </a:r>
            <a:r>
              <a:rPr lang="en-US" sz="2000" err="1">
                <a:solidFill>
                  <a:srgbClr val="000000"/>
                </a:solidFill>
                <a:latin typeface="Aptos" panose="020B0004020202020204" pitchFamily="34" charset="0"/>
              </a:rPr>
              <a:t>FinCrime</a:t>
            </a:r>
            <a:r>
              <a:rPr lang="en-US" sz="2000">
                <a:solidFill>
                  <a:srgbClr val="000000"/>
                </a:solidFill>
                <a:latin typeface="Aptos" panose="020B0004020202020204" pitchFamily="34" charset="0"/>
              </a:rPr>
              <a:t> use cases  (e.g. Money Mules, Onboarding, Xceed etc.)</a:t>
            </a:r>
          </a:p>
        </p:txBody>
      </p:sp>
    </p:spTree>
    <p:extLst>
      <p:ext uri="{BB962C8B-B14F-4D97-AF65-F5344CB8AC3E}">
        <p14:creationId xmlns:p14="http://schemas.microsoft.com/office/powerpoint/2010/main" val="45219162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p14:dur="0" advClick="0" advTm="10416">
        <p159:morph option="byObject"/>
      </p:transition>
    </mc:Choice>
    <mc:Fallback>
      <p:transition advClick="0" advTm="10416">
        <p:fade/>
      </p:transition>
    </mc:Fallback>
  </mc:AlternateContent>
  <p:extLst>
    <p:ext uri="{6950BFC3-D8DA-4A85-94F7-54DA5524770B}">
      <p188:commentRel xmlns:p188="http://schemas.microsoft.com/office/powerpoint/2018/8/main" r:id="rId4"/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6F3294D-CC5B-67DC-2602-3747204EC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6F3294D-CC5B-67DC-2602-3747204EC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6A2C90-5FFB-20DD-82BD-09DC199E0F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2025 Plan</a:t>
            </a:r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6775BF2-07C6-D9CF-EA1A-217DA8069D36}"/>
              </a:ext>
            </a:extLst>
          </p:cNvPr>
          <p:cNvSpPr txBox="1"/>
          <p:nvPr/>
        </p:nvSpPr>
        <p:spPr>
          <a:xfrm>
            <a:off x="1236827" y="1871153"/>
            <a:ext cx="1699063" cy="297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3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2" b="0" i="0" u="none" strike="noStrike" kern="1200" cap="none" spc="0" normalizeH="0" baseline="0" noProof="0">
                <a:ln>
                  <a:noFill/>
                </a:ln>
                <a:solidFill>
                  <a:srgbClr val="7300FF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1 2025</a:t>
            </a: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10182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9C8C5AC-60D9-2026-5319-F700A71DA391}"/>
              </a:ext>
            </a:extLst>
          </p:cNvPr>
          <p:cNvSpPr txBox="1"/>
          <p:nvPr/>
        </p:nvSpPr>
        <p:spPr>
          <a:xfrm>
            <a:off x="3714189" y="1871153"/>
            <a:ext cx="1699063" cy="2973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913775">
              <a:defRPr/>
            </a:pPr>
            <a:r>
              <a:rPr lang="en-US" sz="1332">
                <a:solidFill>
                  <a:srgbClr val="7300FF">
                    <a:lumMod val="75000"/>
                  </a:srgbClr>
                </a:solidFill>
                <a:latin typeface="Arial"/>
              </a:rPr>
              <a:t>Q2 2025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65D958-09DE-64E9-1CC0-C9F24056B2A0}"/>
              </a:ext>
            </a:extLst>
          </p:cNvPr>
          <p:cNvSpPr txBox="1"/>
          <p:nvPr/>
        </p:nvSpPr>
        <p:spPr>
          <a:xfrm>
            <a:off x="3459163" y="4911885"/>
            <a:ext cx="4370711" cy="10766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89865" indent="-189865" defTabSz="913775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US" sz="1100">
                <a:solidFill>
                  <a:srgbClr val="101820"/>
                </a:solidFill>
                <a:latin typeface="Arial"/>
              </a:rPr>
              <a:t>Initiating </a:t>
            </a:r>
            <a:r>
              <a:rPr lang="en-US" sz="1100" err="1">
                <a:solidFill>
                  <a:srgbClr val="101820"/>
                </a:solidFill>
                <a:latin typeface="Arial"/>
              </a:rPr>
              <a:t>PoV</a:t>
            </a:r>
            <a:r>
              <a:rPr lang="en-US" sz="1100">
                <a:solidFill>
                  <a:srgbClr val="101820"/>
                </a:solidFill>
                <a:latin typeface="Arial"/>
              </a:rPr>
              <a:t> with early adopters</a:t>
            </a:r>
          </a:p>
          <a:p>
            <a:pPr marL="189865" indent="-189865" defTabSz="913775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US" sz="1100">
                <a:solidFill>
                  <a:srgbClr val="101820"/>
                </a:solidFill>
                <a:latin typeface="Arial"/>
              </a:rPr>
              <a:t>Product Development start</a:t>
            </a:r>
          </a:p>
          <a:p>
            <a:pPr marL="189865" marR="0" lvl="0" indent="-189865" defTabSz="91377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 sz="1100">
                <a:solidFill>
                  <a:srgbClr val="101820"/>
                </a:solidFill>
                <a:latin typeface="Arial"/>
              </a:rPr>
              <a:t>Hiring &amp; Onboarding complete</a:t>
            </a:r>
          </a:p>
          <a:p>
            <a:pPr marL="189865" marR="0" lvl="0" indent="-189865" defTabSz="91377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 sz="1100">
                <a:solidFill>
                  <a:srgbClr val="101820"/>
                </a:solidFill>
                <a:latin typeface="Arial"/>
              </a:rPr>
              <a:t>Finalize Legal framework for produc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ADCE625-CD24-FDAC-5202-15D50A6E7139}"/>
              </a:ext>
            </a:extLst>
          </p:cNvPr>
          <p:cNvSpPr txBox="1"/>
          <p:nvPr/>
        </p:nvSpPr>
        <p:spPr>
          <a:xfrm>
            <a:off x="1066120" y="3062512"/>
            <a:ext cx="2939181" cy="138679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89865" marR="0" lvl="0" indent="-189865" defTabSz="91377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150">
                <a:solidFill>
                  <a:srgbClr val="101820"/>
                </a:solidFill>
                <a:latin typeface="Arial"/>
              </a:rPr>
              <a:t>MVP Definition &amp; Requirements ready</a:t>
            </a:r>
          </a:p>
          <a:p>
            <a:pPr marL="189865" marR="0" lvl="0" indent="-189865" defTabSz="91377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150">
                <a:solidFill>
                  <a:srgbClr val="101820"/>
                </a:solidFill>
                <a:latin typeface="Arial"/>
                <a:cs typeface="Arial"/>
              </a:rPr>
              <a:t>Architecture &amp; HL Design</a:t>
            </a:r>
          </a:p>
          <a:p>
            <a:pPr marL="189865" marR="0" lvl="0" indent="-189865" defTabSz="91377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150">
                <a:solidFill>
                  <a:srgbClr val="101820"/>
                </a:solidFill>
                <a:latin typeface="Arial"/>
                <a:cs typeface="Arial"/>
              </a:rPr>
              <a:t>Start Hiring (50%)</a:t>
            </a:r>
          </a:p>
          <a:p>
            <a:pPr marL="189865" marR="0" lvl="0" indent="-189865" defTabSz="91377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150">
                <a:solidFill>
                  <a:srgbClr val="101820"/>
                </a:solidFill>
                <a:latin typeface="Arial"/>
                <a:cs typeface="Arial"/>
              </a:rPr>
              <a:t>Finalize Legal terms for POV</a:t>
            </a:r>
          </a:p>
          <a:p>
            <a:pPr marL="189865" marR="0" lvl="0" indent="-189865" defTabSz="91377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150" err="1">
                <a:solidFill>
                  <a:srgbClr val="101820"/>
                </a:solidFill>
                <a:latin typeface="Arial"/>
                <a:cs typeface="Arial"/>
              </a:rPr>
              <a:t>PoV</a:t>
            </a:r>
            <a:r>
              <a:rPr lang="en-US" sz="1150">
                <a:solidFill>
                  <a:srgbClr val="101820"/>
                </a:solidFill>
                <a:latin typeface="Arial"/>
                <a:cs typeface="Arial"/>
              </a:rPr>
              <a:t> package for participants ready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92F4344-AAE8-A6D1-9BAB-1E7D08880A59}"/>
              </a:ext>
            </a:extLst>
          </p:cNvPr>
          <p:cNvCxnSpPr>
            <a:cxnSpLocks/>
          </p:cNvCxnSpPr>
          <p:nvPr/>
        </p:nvCxnSpPr>
        <p:spPr>
          <a:xfrm>
            <a:off x="1482956" y="2256081"/>
            <a:ext cx="1287763" cy="0"/>
          </a:xfrm>
          <a:prstGeom prst="line">
            <a:avLst/>
          </a:prstGeom>
          <a:ln w="381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6520280-B02F-09B5-283B-5142CB162919}"/>
              </a:ext>
            </a:extLst>
          </p:cNvPr>
          <p:cNvCxnSpPr>
            <a:cxnSpLocks/>
          </p:cNvCxnSpPr>
          <p:nvPr/>
        </p:nvCxnSpPr>
        <p:spPr>
          <a:xfrm>
            <a:off x="3946046" y="2247762"/>
            <a:ext cx="1287763" cy="0"/>
          </a:xfrm>
          <a:prstGeom prst="line">
            <a:avLst/>
          </a:prstGeom>
          <a:ln w="381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1" name="Right Bracket 10">
            <a:extLst>
              <a:ext uri="{FF2B5EF4-FFF2-40B4-BE49-F238E27FC236}">
                <a16:creationId xmlns:a16="http://schemas.microsoft.com/office/drawing/2014/main" id="{39BCEFAF-9259-323C-96EF-DEA29854331C}"/>
              </a:ext>
            </a:extLst>
          </p:cNvPr>
          <p:cNvSpPr/>
          <p:nvPr/>
        </p:nvSpPr>
        <p:spPr>
          <a:xfrm rot="16200000">
            <a:off x="2271041" y="1760328"/>
            <a:ext cx="89066" cy="2547446"/>
          </a:xfrm>
          <a:prstGeom prst="rightBracket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3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1018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ight Bracket 11">
            <a:extLst>
              <a:ext uri="{FF2B5EF4-FFF2-40B4-BE49-F238E27FC236}">
                <a16:creationId xmlns:a16="http://schemas.microsoft.com/office/drawing/2014/main" id="{47063BD4-73F2-BE3D-CF46-B0E719A031FE}"/>
              </a:ext>
            </a:extLst>
          </p:cNvPr>
          <p:cNvSpPr/>
          <p:nvPr/>
        </p:nvSpPr>
        <p:spPr>
          <a:xfrm rot="16200000">
            <a:off x="5350882" y="2963024"/>
            <a:ext cx="124741" cy="3932618"/>
          </a:xfrm>
          <a:prstGeom prst="rightBracket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3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1018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CE5BABA-2C3D-62E0-21D9-2713A87326FE}"/>
              </a:ext>
            </a:extLst>
          </p:cNvPr>
          <p:cNvSpPr txBox="1"/>
          <p:nvPr/>
        </p:nvSpPr>
        <p:spPr>
          <a:xfrm>
            <a:off x="8247160" y="4911885"/>
            <a:ext cx="3771620" cy="8891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89865" indent="-189865" defTabSz="913775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US" sz="1200">
                <a:solidFill>
                  <a:srgbClr val="101820"/>
                </a:solidFill>
                <a:latin typeface="Arial"/>
              </a:rPr>
              <a:t>GTM Launch readiness</a:t>
            </a:r>
            <a:endParaRPr lang="en-US" sz="1200">
              <a:solidFill>
                <a:srgbClr val="101820"/>
              </a:solidFill>
              <a:latin typeface="Arial"/>
              <a:cs typeface="Arial"/>
            </a:endParaRPr>
          </a:p>
          <a:p>
            <a:pPr marL="189865" indent="-189865" defTabSz="913775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US" sz="1200">
                <a:solidFill>
                  <a:srgbClr val="101820"/>
                </a:solidFill>
                <a:latin typeface="Arial"/>
                <a:cs typeface="Arial"/>
              </a:rPr>
              <a:t>Fraud Consortium MVP ready</a:t>
            </a:r>
          </a:p>
          <a:p>
            <a:pPr marL="189865" indent="-189865" defTabSz="913775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endParaRPr lang="en-US" sz="1200">
              <a:solidFill>
                <a:srgbClr val="101820"/>
              </a:solidFill>
              <a:latin typeface="Arial"/>
              <a:cs typeface="Arial"/>
            </a:endParaRPr>
          </a:p>
        </p:txBody>
      </p:sp>
      <p:sp>
        <p:nvSpPr>
          <p:cNvPr id="14" name="Right Bracket 13">
            <a:extLst>
              <a:ext uri="{FF2B5EF4-FFF2-40B4-BE49-F238E27FC236}">
                <a16:creationId xmlns:a16="http://schemas.microsoft.com/office/drawing/2014/main" id="{66387CDF-8BA9-FC15-A904-020A4372C3AE}"/>
              </a:ext>
            </a:extLst>
          </p:cNvPr>
          <p:cNvSpPr/>
          <p:nvPr/>
        </p:nvSpPr>
        <p:spPr>
          <a:xfrm rot="16200000">
            <a:off x="9896746" y="3244823"/>
            <a:ext cx="110527" cy="3348423"/>
          </a:xfrm>
          <a:prstGeom prst="rightBracket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3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1018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EA3800D-C9DC-3020-13C8-E1ADDEB3BE4B}"/>
              </a:ext>
            </a:extLst>
          </p:cNvPr>
          <p:cNvSpPr txBox="1"/>
          <p:nvPr/>
        </p:nvSpPr>
        <p:spPr>
          <a:xfrm>
            <a:off x="6086869" y="2751562"/>
            <a:ext cx="3322361" cy="108818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913775">
              <a:lnSpc>
                <a:spcPct val="150000"/>
              </a:lnSpc>
              <a:defRPr/>
            </a:pPr>
            <a:endParaRPr lang="en-US" sz="1150">
              <a:solidFill>
                <a:srgbClr val="101820"/>
              </a:solidFill>
              <a:latin typeface="Arial"/>
            </a:endParaRPr>
          </a:p>
          <a:p>
            <a:pPr marL="189865" indent="-189865" defTabSz="913775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US" sz="1100">
                <a:solidFill>
                  <a:srgbClr val="101820"/>
                </a:solidFill>
                <a:latin typeface="Arial"/>
              </a:rPr>
              <a:t>Summarizing PoV with early adopters</a:t>
            </a:r>
          </a:p>
          <a:p>
            <a:pPr marL="189865" indent="-189865" defTabSz="913775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US" sz="1100">
                <a:solidFill>
                  <a:srgbClr val="101820"/>
                </a:solidFill>
                <a:latin typeface="Arial"/>
              </a:rPr>
              <a:t>Finalize commercial approach</a:t>
            </a:r>
          </a:p>
          <a:p>
            <a:pPr marL="189865" indent="-189865" defTabSz="913775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US" sz="1100">
                <a:solidFill>
                  <a:srgbClr val="101820"/>
                </a:solidFill>
                <a:latin typeface="Arial"/>
              </a:rPr>
              <a:t>Consortium Service foundation ready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2F619D4-DC72-1D1A-F99D-5FA08DFBC195}"/>
              </a:ext>
            </a:extLst>
          </p:cNvPr>
          <p:cNvCxnSpPr>
            <a:cxnSpLocks/>
          </p:cNvCxnSpPr>
          <p:nvPr/>
        </p:nvCxnSpPr>
        <p:spPr>
          <a:xfrm>
            <a:off x="6423409" y="2256081"/>
            <a:ext cx="1287763" cy="0"/>
          </a:xfrm>
          <a:prstGeom prst="line">
            <a:avLst/>
          </a:prstGeom>
          <a:ln w="381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9C20936-7644-E938-3003-6528E1852205}"/>
              </a:ext>
            </a:extLst>
          </p:cNvPr>
          <p:cNvCxnSpPr>
            <a:cxnSpLocks/>
          </p:cNvCxnSpPr>
          <p:nvPr/>
        </p:nvCxnSpPr>
        <p:spPr>
          <a:xfrm>
            <a:off x="8900772" y="2259408"/>
            <a:ext cx="1287763" cy="0"/>
          </a:xfrm>
          <a:prstGeom prst="line">
            <a:avLst/>
          </a:prstGeom>
          <a:ln w="381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8" name="Right Bracket 17">
            <a:extLst>
              <a:ext uri="{FF2B5EF4-FFF2-40B4-BE49-F238E27FC236}">
                <a16:creationId xmlns:a16="http://schemas.microsoft.com/office/drawing/2014/main" id="{233A9BD1-0C9F-1927-4937-A487886577BB}"/>
              </a:ext>
            </a:extLst>
          </p:cNvPr>
          <p:cNvSpPr/>
          <p:nvPr/>
        </p:nvSpPr>
        <p:spPr>
          <a:xfrm rot="16200000">
            <a:off x="7115396" y="1590562"/>
            <a:ext cx="89525" cy="2206011"/>
          </a:xfrm>
          <a:prstGeom prst="rightBracket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3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1018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614548E-D2E9-B553-BA59-0499F2E3132B}"/>
              </a:ext>
            </a:extLst>
          </p:cNvPr>
          <p:cNvCxnSpPr/>
          <p:nvPr/>
        </p:nvCxnSpPr>
        <p:spPr>
          <a:xfrm>
            <a:off x="2126836" y="2247763"/>
            <a:ext cx="0" cy="741755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F2C7120-E9C8-ECF7-7CD9-3A310A7BD0F7}"/>
              </a:ext>
            </a:extLst>
          </p:cNvPr>
          <p:cNvCxnSpPr>
            <a:cxnSpLocks/>
          </p:cNvCxnSpPr>
          <p:nvPr/>
        </p:nvCxnSpPr>
        <p:spPr>
          <a:xfrm>
            <a:off x="4589927" y="2234599"/>
            <a:ext cx="0" cy="2677286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5B9AE2A-DC75-972F-441F-690D854DB803}"/>
              </a:ext>
            </a:extLst>
          </p:cNvPr>
          <p:cNvCxnSpPr>
            <a:cxnSpLocks/>
          </p:cNvCxnSpPr>
          <p:nvPr/>
        </p:nvCxnSpPr>
        <p:spPr>
          <a:xfrm>
            <a:off x="7067290" y="2234599"/>
            <a:ext cx="0" cy="375037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0D9C3BA-44B7-5341-43C0-2D479FE767F3}"/>
              </a:ext>
            </a:extLst>
          </p:cNvPr>
          <p:cNvCxnSpPr>
            <a:cxnSpLocks/>
          </p:cNvCxnSpPr>
          <p:nvPr/>
        </p:nvCxnSpPr>
        <p:spPr>
          <a:xfrm>
            <a:off x="9544653" y="2278312"/>
            <a:ext cx="0" cy="2585458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F626787F-6E79-4228-1F09-99C7534ED01A}"/>
              </a:ext>
            </a:extLst>
          </p:cNvPr>
          <p:cNvSpPr txBox="1"/>
          <p:nvPr/>
        </p:nvSpPr>
        <p:spPr>
          <a:xfrm>
            <a:off x="6163940" y="1895995"/>
            <a:ext cx="1699063" cy="2973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3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2" b="0" i="0" u="none" strike="noStrike" kern="1200" cap="none" spc="0" normalizeH="0" baseline="0" noProof="0">
                <a:ln>
                  <a:noFill/>
                </a:ln>
                <a:solidFill>
                  <a:srgbClr val="7300FF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3 2025</a:t>
            </a: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10182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33A6499-444C-673C-5DDC-0563E6E43C52}"/>
              </a:ext>
            </a:extLst>
          </p:cNvPr>
          <p:cNvSpPr txBox="1"/>
          <p:nvPr/>
        </p:nvSpPr>
        <p:spPr>
          <a:xfrm>
            <a:off x="8708153" y="1871152"/>
            <a:ext cx="1699063" cy="2973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913775">
              <a:defRPr/>
            </a:pPr>
            <a:r>
              <a:rPr lang="en-US" sz="1332">
                <a:solidFill>
                  <a:srgbClr val="7300FF">
                    <a:lumMod val="75000"/>
                  </a:srgbClr>
                </a:solidFill>
                <a:latin typeface="Arial"/>
              </a:rPr>
              <a:t>Q4 2025</a:t>
            </a:r>
          </a:p>
        </p:txBody>
      </p:sp>
    </p:spTree>
    <p:extLst>
      <p:ext uri="{BB962C8B-B14F-4D97-AF65-F5344CB8AC3E}">
        <p14:creationId xmlns:p14="http://schemas.microsoft.com/office/powerpoint/2010/main" val="3629238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8256"/>
    </mc:Choice>
    <mc:Fallback>
      <p:transition advClick="0" advTm="8256"/>
    </mc:Fallback>
  </mc:AlternateContent>
  <p:extLst>
    <p:ext uri="{6950BFC3-D8DA-4A85-94F7-54DA5524770B}">
      <p188:commentRel xmlns:p188="http://schemas.microsoft.com/office/powerpoint/2018/8/main" r:id="rId4"/>
    </p:ext>
  </p:extLs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6F3294D-CC5B-67DC-2602-3747204EC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6F3294D-CC5B-67DC-2602-3747204EC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6A2C90-5FFB-20DD-82BD-09DC199E0F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cs typeface="Arial"/>
              </a:rPr>
              <a:t>HR Plan                                                      </a:t>
            </a:r>
            <a:endParaRPr lang="en-GB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AED911C-1284-E5AC-E721-54D0C0E8EDFB}"/>
              </a:ext>
            </a:extLst>
          </p:cNvPr>
          <p:cNvGraphicFramePr>
            <a:graphicFrameLocks noGrp="1"/>
          </p:cNvGraphicFramePr>
          <p:nvPr/>
        </p:nvGraphicFramePr>
        <p:xfrm>
          <a:off x="335823" y="1116038"/>
          <a:ext cx="11520353" cy="5054087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076325">
                  <a:extLst>
                    <a:ext uri="{9D8B030D-6E8A-4147-A177-3AD203B41FA5}">
                      <a16:colId xmlns:a16="http://schemas.microsoft.com/office/drawing/2014/main" val="544448931"/>
                    </a:ext>
                  </a:extLst>
                </a:gridCol>
                <a:gridCol w="665936">
                  <a:extLst>
                    <a:ext uri="{9D8B030D-6E8A-4147-A177-3AD203B41FA5}">
                      <a16:colId xmlns:a16="http://schemas.microsoft.com/office/drawing/2014/main" val="1224151799"/>
                    </a:ext>
                  </a:extLst>
                </a:gridCol>
                <a:gridCol w="225879">
                  <a:extLst>
                    <a:ext uri="{9D8B030D-6E8A-4147-A177-3AD203B41FA5}">
                      <a16:colId xmlns:a16="http://schemas.microsoft.com/office/drawing/2014/main" val="1350033444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3350609724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429018207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2963828891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556419361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1588515728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1818749762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2700194546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3188628888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1594648188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2472188665"/>
                    </a:ext>
                  </a:extLst>
                </a:gridCol>
                <a:gridCol w="369020">
                  <a:extLst>
                    <a:ext uri="{9D8B030D-6E8A-4147-A177-3AD203B41FA5}">
                      <a16:colId xmlns:a16="http://schemas.microsoft.com/office/drawing/2014/main" val="667249326"/>
                    </a:ext>
                  </a:extLst>
                </a:gridCol>
                <a:gridCol w="659922">
                  <a:extLst>
                    <a:ext uri="{9D8B030D-6E8A-4147-A177-3AD203B41FA5}">
                      <a16:colId xmlns:a16="http://schemas.microsoft.com/office/drawing/2014/main" val="2457479229"/>
                    </a:ext>
                  </a:extLst>
                </a:gridCol>
                <a:gridCol w="707415">
                  <a:extLst>
                    <a:ext uri="{9D8B030D-6E8A-4147-A177-3AD203B41FA5}">
                      <a16:colId xmlns:a16="http://schemas.microsoft.com/office/drawing/2014/main" val="405730263"/>
                    </a:ext>
                  </a:extLst>
                </a:gridCol>
                <a:gridCol w="274636">
                  <a:extLst>
                    <a:ext uri="{9D8B030D-6E8A-4147-A177-3AD203B41FA5}">
                      <a16:colId xmlns:a16="http://schemas.microsoft.com/office/drawing/2014/main" val="141165981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2285970210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916413891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2560527526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814303533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1250683524"/>
                    </a:ext>
                  </a:extLst>
                </a:gridCol>
              </a:tblGrid>
              <a:tr h="442537">
                <a:tc rowSpan="2">
                  <a:txBody>
                    <a:bodyPr/>
                    <a:lstStyle/>
                    <a:p>
                      <a:pPr marL="0" algn="ctr" defTabSz="1086950" rtl="1" eaLnBrk="1" latinLnBrk="0" hangingPunct="1"/>
                      <a:r>
                        <a:rPr lang="en-US" sz="1600" b="0"/>
                        <a:t>HC</a:t>
                      </a:r>
                      <a:endParaRPr lang="en-GB" sz="1600" b="0"/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rowSpan="2" gridSpan="3">
                  <a:txBody>
                    <a:bodyPr/>
                    <a:lstStyle/>
                    <a:p>
                      <a:pPr algn="ctr"/>
                      <a:r>
                        <a:rPr lang="en-US" sz="1600" b="0"/>
                        <a:t>2024A</a:t>
                      </a:r>
                      <a:endParaRPr lang="en-GB" sz="16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2" gridSpan="3">
                  <a:txBody>
                    <a:bodyPr/>
                    <a:lstStyle/>
                    <a:p>
                      <a:pPr algn="ctr"/>
                      <a:r>
                        <a:rPr lang="en-GB" sz="1600" b="0"/>
                        <a:t>2025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GB" sz="16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GB" sz="16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 gridSpan="3">
                  <a:txBody>
                    <a:bodyPr/>
                    <a:lstStyle/>
                    <a:p>
                      <a:pPr algn="ctr"/>
                      <a:r>
                        <a:rPr lang="en-GB" sz="1600" b="0"/>
                        <a:t>2024-2025 Incre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GB" sz="1600" b="1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GB" sz="1600" b="1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12">
                  <a:txBody>
                    <a:bodyPr/>
                    <a:lstStyle/>
                    <a:p>
                      <a:pPr algn="ctr"/>
                      <a:r>
                        <a:rPr lang="en-US" sz="1600" b="0">
                          <a:solidFill>
                            <a:schemeClr val="bg1"/>
                          </a:solidFill>
                        </a:rPr>
                        <a:t>2025 Onboarding plan</a:t>
                      </a:r>
                      <a:endParaRPr lang="en-GB" sz="1600" b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GB" sz="1600" b="1"/>
                        <a:t>Q2’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GB" sz="1600" b="1"/>
                        <a:t>Q3’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GB" sz="1600" b="1"/>
                        <a:t>Q4’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0169114"/>
                  </a:ext>
                </a:extLst>
              </a:tr>
              <a:tr h="4425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600" b="0">
                          <a:solidFill>
                            <a:schemeClr val="bg1"/>
                          </a:solidFill>
                        </a:rPr>
                        <a:t>Q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600" b="0">
                          <a:solidFill>
                            <a:schemeClr val="bg1"/>
                          </a:solidFill>
                        </a:rPr>
                        <a:t>Q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600" b="0">
                          <a:solidFill>
                            <a:schemeClr val="bg1"/>
                          </a:solidFill>
                        </a:rPr>
                        <a:t>Q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600" b="0">
                          <a:solidFill>
                            <a:schemeClr val="bg1"/>
                          </a:solidFill>
                        </a:rPr>
                        <a:t>Q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758684"/>
                  </a:ext>
                </a:extLst>
              </a:tr>
              <a:tr h="529491">
                <a:tc>
                  <a:txBody>
                    <a:bodyPr/>
                    <a:lstStyle/>
                    <a:p>
                      <a:pPr marL="0" algn="ctr" defTabSz="1086950" rtl="1" eaLnBrk="1" latinLnBrk="0" hangingPunct="1"/>
                      <a:endParaRPr lang="en-GB" sz="1600" b="1"/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EM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MM</a:t>
                      </a:r>
                      <a:endParaRPr lang="en-GB" sz="1400" b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SC</a:t>
                      </a:r>
                      <a:endParaRPr lang="en-GB" sz="1400" b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EM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MM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SC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EM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MM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SC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EM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MM</a:t>
                      </a:r>
                      <a:endParaRPr lang="en-GB" sz="1400" b="0"/>
                    </a:p>
                  </a:txBody>
                  <a:tcPr anchor="ctr"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SC</a:t>
                      </a:r>
                      <a:endParaRPr lang="en-GB" sz="14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EM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MM</a:t>
                      </a:r>
                      <a:endParaRPr lang="en-GB" sz="1400" b="0"/>
                    </a:p>
                  </a:txBody>
                  <a:tcPr anchor="ctr"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SC</a:t>
                      </a:r>
                      <a:endParaRPr lang="en-GB" sz="14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EM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MM</a:t>
                      </a:r>
                      <a:endParaRPr lang="en-GB" sz="1400" b="0"/>
                    </a:p>
                  </a:txBody>
                  <a:tcPr anchor="ctr"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SC</a:t>
                      </a:r>
                      <a:endParaRPr lang="en-GB" sz="14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EM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MM</a:t>
                      </a:r>
                      <a:endParaRPr lang="en-GB" sz="1400" b="0"/>
                    </a:p>
                  </a:txBody>
                  <a:tcPr anchor="ctr"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SC</a:t>
                      </a:r>
                      <a:endParaRPr lang="en-GB" sz="1400" b="0"/>
                    </a:p>
                  </a:txBody>
                  <a:tcPr anchor="ctr"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0235719"/>
                  </a:ext>
                </a:extLst>
              </a:tr>
              <a:tr h="606587">
                <a:tc>
                  <a:txBody>
                    <a:bodyPr/>
                    <a:lstStyle/>
                    <a:p>
                      <a:r>
                        <a:rPr lang="en-GB" sz="1600"/>
                        <a:t>Produc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GB" sz="1600"/>
                        <a:t>[1]-&gt;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GB" sz="1600"/>
                        <a:t>+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3811991"/>
                  </a:ext>
                </a:extLst>
              </a:tr>
              <a:tr h="606587">
                <a:tc>
                  <a:txBody>
                    <a:bodyPr/>
                    <a:lstStyle/>
                    <a:p>
                      <a:r>
                        <a:rPr lang="en-GB" sz="1600"/>
                        <a:t>R&amp;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GB" sz="1600"/>
                        <a:t>+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GB" sz="1600"/>
                        <a:t>+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8358454"/>
                  </a:ext>
                </a:extLst>
              </a:tr>
              <a:tr h="606587">
                <a:tc>
                  <a:txBody>
                    <a:bodyPr/>
                    <a:lstStyle/>
                    <a:p>
                      <a:r>
                        <a:rPr lang="en-GB" sz="1600"/>
                        <a:t>GTM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4980864"/>
                  </a:ext>
                </a:extLst>
              </a:tr>
              <a:tr h="606587">
                <a:tc>
                  <a:txBody>
                    <a:bodyPr/>
                    <a:lstStyle/>
                    <a:p>
                      <a:r>
                        <a:rPr lang="en-US" sz="1600"/>
                        <a:t>Ops.</a:t>
                      </a: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7240150"/>
                  </a:ext>
                </a:extLst>
              </a:tr>
              <a:tr h="606587">
                <a:tc>
                  <a:txBody>
                    <a:bodyPr/>
                    <a:lstStyle/>
                    <a:p>
                      <a:r>
                        <a:rPr lang="en-US" sz="1600"/>
                        <a:t>Analytics</a:t>
                      </a: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GB" sz="1600"/>
                        <a:t>[1]-&gt;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GB" sz="1600"/>
                        <a:t>+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9448899"/>
                  </a:ext>
                </a:extLst>
              </a:tr>
              <a:tr h="606587">
                <a:tc>
                  <a:txBody>
                    <a:bodyPr/>
                    <a:lstStyle/>
                    <a:p>
                      <a:r>
                        <a:rPr lang="en-GB" sz="1600" b="1"/>
                        <a:t>TOTAL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5640365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7647226-23F2-D4AD-AF95-68B1CED6CC09}"/>
              </a:ext>
            </a:extLst>
          </p:cNvPr>
          <p:cNvSpPr txBox="1"/>
          <p:nvPr/>
        </p:nvSpPr>
        <p:spPr>
          <a:xfrm>
            <a:off x="412694" y="6452443"/>
            <a:ext cx="610688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>
                <a:cs typeface="Arial"/>
              </a:rPr>
              <a:t>EM = Emerging Market, MM = Mature Market, SC = Subcontractors</a:t>
            </a:r>
            <a:endParaRPr lang="en-GB" sz="1400"/>
          </a:p>
        </p:txBody>
      </p:sp>
    </p:spTree>
    <p:extLst>
      <p:ext uri="{BB962C8B-B14F-4D97-AF65-F5344CB8AC3E}">
        <p14:creationId xmlns:p14="http://schemas.microsoft.com/office/powerpoint/2010/main" val="24941287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  <p:extLst>
    <p:ext uri="{6950BFC3-D8DA-4A85-94F7-54DA5524770B}">
      <p188:commentRel xmlns:p188="http://schemas.microsoft.com/office/powerpoint/2018/8/main" r:id="rId4"/>
    </p:ext>
  </p:extLs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432FEF5-FC76-0D71-DCEE-57B32F62DF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1541125-6E44-AD68-DBE9-4A3E5296DD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490098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A57FED2-F7CA-A7A7-D9BD-A58DF62544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l" rtl="0"/>
            <a:r>
              <a:rPr lang="en-US" dirty="0"/>
              <a:t>Fraud Risk (Retail)</a:t>
            </a:r>
          </a:p>
          <a:p>
            <a:pPr marL="414390" lvl="1" indent="0" algn="l" rtl="0"/>
            <a:r>
              <a:rPr lang="en-US" dirty="0"/>
              <a:t>Synthetic Identities</a:t>
            </a:r>
          </a:p>
          <a:p>
            <a:pPr marL="414390" lvl="1" indent="0" algn="l" rtl="0"/>
            <a:r>
              <a:rPr lang="en-US" dirty="0"/>
              <a:t>Stolen Identities</a:t>
            </a:r>
          </a:p>
          <a:p>
            <a:pPr marL="414390" lvl="1" indent="0" algn="l" rtl="0"/>
            <a:r>
              <a:rPr lang="en-US" dirty="0"/>
              <a:t>1</a:t>
            </a:r>
            <a:r>
              <a:rPr lang="en-US" baseline="30000" dirty="0"/>
              <a:t>st</a:t>
            </a:r>
            <a:r>
              <a:rPr lang="en-US" dirty="0"/>
              <a:t> Party (bad actor)</a:t>
            </a:r>
          </a:p>
          <a:p>
            <a:pPr algn="l" rtl="0"/>
            <a:r>
              <a:rPr lang="en-US" dirty="0"/>
              <a:t>AML Risk - ?</a:t>
            </a:r>
          </a:p>
          <a:p>
            <a:pPr algn="l" rtl="0"/>
            <a:r>
              <a:rPr lang="en-US" dirty="0"/>
              <a:t>Unique differentiation (to be validated) – leverage Actimize’s view on accounts linked to the </a:t>
            </a:r>
            <a:r>
              <a:rPr lang="en-US"/>
              <a:t>onboarded entity </a:t>
            </a:r>
            <a:endParaRPr lang="en-US" dirty="0"/>
          </a:p>
          <a:p>
            <a:pPr lvl="1" algn="l" rtl="0"/>
            <a:endParaRPr lang="en-US" dirty="0"/>
          </a:p>
          <a:p>
            <a:pPr lvl="1" algn="l" rtl="0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1F24DA4-BD65-DBE3-6AA1-0DACC9307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nboarding Consortium Offer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20953C-5F3C-EBB7-EAA4-134AA63E29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56595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E385923-78FD-5360-FFEC-D082AFF27E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85CC614-5241-5E6E-00E7-744FE933DE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544721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35DF38-1432-443A-A6C9-24586C6FD9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102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35DF38-1432-443A-A6C9-24586C6FD9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4E6B4A-B0C7-4280-90E3-38C95F262A0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>
                <a:solidFill>
                  <a:schemeClr val="bg1"/>
                </a:solidFill>
              </a:rPr>
              <a:t>Corporate Development definition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3793A8-D620-6A44-98B6-3B9A4AC33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2626" y="947528"/>
            <a:ext cx="6013387" cy="4602275"/>
          </a:xfrm>
        </p:spPr>
        <p:txBody>
          <a:bodyPr vert="horz"/>
          <a:lstStyle/>
          <a:p>
            <a:pPr marL="92075" indent="15875" defTabSz="941900" eaLnBrk="0" hangingPunct="0">
              <a:lnSpc>
                <a:spcPts val="5354"/>
              </a:lnSpc>
              <a:tabLst>
                <a:tab pos="5754517" algn="r"/>
              </a:tabLst>
            </a:pPr>
            <a:r>
              <a:rPr lang="en-US" b="1" u="sng" cap="all" spc="-119" dirty="0" err="1">
                <a:latin typeface="Arial Narrow" panose="020B0606020202030204" pitchFamily="34" charset="0"/>
              </a:rPr>
              <a:t>FC&amp;c</a:t>
            </a:r>
            <a:r>
              <a:rPr lang="en-US" b="1" u="sng" cap="all" spc="-119" dirty="0">
                <a:latin typeface="Arial Narrow" panose="020B0606020202030204" pitchFamily="34" charset="0"/>
              </a:rPr>
              <a:t> Consortium definition</a:t>
            </a:r>
            <a:r>
              <a:rPr lang="en-US" b="1" u="sng" cap="all" spc="-119" baseline="30000" dirty="0">
                <a:latin typeface="Arial Narrow" panose="020B0606020202030204" pitchFamily="34" charset="0"/>
              </a:rPr>
              <a:t>1</a:t>
            </a:r>
            <a:r>
              <a:rPr lang="en-US" b="1" u="sng" cap="all" spc="-119" dirty="0">
                <a:latin typeface="Arial Narrow" panose="020B0606020202030204" pitchFamily="34" charset="0"/>
              </a:rPr>
              <a:t>: </a:t>
            </a:r>
            <a:br>
              <a:rPr lang="en-US" b="1" u="sng" cap="all" spc="-119" dirty="0">
                <a:latin typeface="Arial Narrow" panose="020B0606020202030204" pitchFamily="34" charset="0"/>
              </a:rPr>
            </a:br>
            <a:r>
              <a:rPr lang="en-US" b="1" cap="all" spc="-119" dirty="0">
                <a:latin typeface="Arial Narrow" panose="020B0606020202030204" pitchFamily="34" charset="0"/>
              </a:rPr>
              <a:t>A system designed to improve </a:t>
            </a:r>
            <a:r>
              <a:rPr lang="en-US" b="1" u="sng" cap="all" spc="-119" dirty="0">
                <a:latin typeface="Arial Narrow" panose="020B0606020202030204" pitchFamily="34" charset="0"/>
              </a:rPr>
              <a:t>risk detection and mitigation </a:t>
            </a:r>
            <a:r>
              <a:rPr lang="en-US" b="1" cap="all" spc="-119" dirty="0">
                <a:latin typeface="Arial Narrow" panose="020B0606020202030204" pitchFamily="34" charset="0"/>
              </a:rPr>
              <a:t>via Collective intelligence , capable of inter</a:t>
            </a:r>
            <a:r>
              <a:rPr lang="he-IL" b="1" cap="all" spc="-119" dirty="0">
                <a:latin typeface="Arial Narrow" panose="020B0606020202030204" pitchFamily="34" charset="0"/>
              </a:rPr>
              <a:t>-</a:t>
            </a:r>
            <a:r>
              <a:rPr lang="en-US" b="1" cap="all" spc="-119" dirty="0">
                <a:latin typeface="Arial Narrow" panose="020B0606020202030204" pitchFamily="34" charset="0"/>
              </a:rPr>
              <a:t>institution data sharing</a:t>
            </a:r>
            <a:br>
              <a:rPr lang="en-US" b="1" cap="all" spc="-119" dirty="0">
                <a:latin typeface="Arial Narrow" panose="020B0606020202030204" pitchFamily="34" charset="0"/>
              </a:rPr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24142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CECA2D0-8762-724A-9481-B2640CCFB7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37237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CECA2D0-8762-724A-9481-B2640CCFB7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158147EC-81B9-2348-A649-1DA7F0906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491" y="195913"/>
            <a:ext cx="11286067" cy="696186"/>
          </a:xfrm>
        </p:spPr>
        <p:txBody>
          <a:bodyPr vert="horz"/>
          <a:lstStyle/>
          <a:p>
            <a:r>
              <a:rPr lang="en-GB" dirty="0"/>
              <a:t>Categories of derived value with consortiu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7D8B9E-73B6-3343-9B88-65BFF489D3F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3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10F6D27-B632-A944-9F8A-669FEFD2F354}"/>
              </a:ext>
            </a:extLst>
          </p:cNvPr>
          <p:cNvSpPr/>
          <p:nvPr/>
        </p:nvSpPr>
        <p:spPr>
          <a:xfrm>
            <a:off x="881045" y="1356139"/>
            <a:ext cx="5181600" cy="464709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2203616-85CA-8A44-843C-14FD19931CB2}"/>
              </a:ext>
            </a:extLst>
          </p:cNvPr>
          <p:cNvSpPr txBox="1"/>
          <p:nvPr/>
        </p:nvSpPr>
        <p:spPr>
          <a:xfrm>
            <a:off x="860823" y="6130306"/>
            <a:ext cx="52018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1086950">
              <a:defRPr/>
            </a:pPr>
            <a:r>
              <a:rPr lang="en-US" b="1" dirty="0">
                <a:solidFill>
                  <a:schemeClr val="dk1"/>
                </a:solidFill>
              </a:rPr>
              <a:t>Execution Challeng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EC5D6D-F93F-0E42-995C-A2A8AC22D7E0}"/>
              </a:ext>
            </a:extLst>
          </p:cNvPr>
          <p:cNvSpPr txBox="1"/>
          <p:nvPr/>
        </p:nvSpPr>
        <p:spPr>
          <a:xfrm rot="16200000">
            <a:off x="-1647392" y="3495022"/>
            <a:ext cx="46470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/>
              <a:t>Consortium value additio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10324FE-EBCE-0B47-94EA-621E5B8F4D90}"/>
              </a:ext>
            </a:extLst>
          </p:cNvPr>
          <p:cNvCxnSpPr>
            <a:cxnSpLocks/>
            <a:stCxn id="6" idx="1"/>
            <a:endCxn id="6" idx="3"/>
          </p:cNvCxnSpPr>
          <p:nvPr/>
        </p:nvCxnSpPr>
        <p:spPr>
          <a:xfrm>
            <a:off x="881045" y="3679687"/>
            <a:ext cx="5181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B85A9D0-0A20-034E-BF2C-FBFCEB8D81A5}"/>
              </a:ext>
            </a:extLst>
          </p:cNvPr>
          <p:cNvCxnSpPr>
            <a:cxnSpLocks/>
            <a:stCxn id="6" idx="0"/>
            <a:endCxn id="6" idx="2"/>
          </p:cNvCxnSpPr>
          <p:nvPr/>
        </p:nvCxnSpPr>
        <p:spPr>
          <a:xfrm>
            <a:off x="3471845" y="1356139"/>
            <a:ext cx="0" cy="46470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B2D44438-C16A-C645-9D55-0679E50821D5}"/>
              </a:ext>
            </a:extLst>
          </p:cNvPr>
          <p:cNvSpPr txBox="1"/>
          <p:nvPr/>
        </p:nvSpPr>
        <p:spPr>
          <a:xfrm>
            <a:off x="2046216" y="4810016"/>
            <a:ext cx="9583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Trends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E556603-5FC9-5D49-89CD-FCDEDD8D12AD}"/>
              </a:ext>
            </a:extLst>
          </p:cNvPr>
          <p:cNvSpPr txBox="1"/>
          <p:nvPr/>
        </p:nvSpPr>
        <p:spPr>
          <a:xfrm>
            <a:off x="4014147" y="1834245"/>
            <a:ext cx="17666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Entities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1F90C1C-0F48-B647-88F0-97E558664E9B}"/>
              </a:ext>
            </a:extLst>
          </p:cNvPr>
          <p:cNvSpPr/>
          <p:nvPr/>
        </p:nvSpPr>
        <p:spPr>
          <a:xfrm>
            <a:off x="1614216" y="4795274"/>
            <a:ext cx="432000" cy="4320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9CC596DB-FDD8-A041-9E56-6FA01A2FAD5B}"/>
              </a:ext>
            </a:extLst>
          </p:cNvPr>
          <p:cNvSpPr/>
          <p:nvPr/>
        </p:nvSpPr>
        <p:spPr>
          <a:xfrm>
            <a:off x="5022224" y="1787898"/>
            <a:ext cx="432000" cy="452751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0F9BACE4-E0AA-5F4E-8153-5AC8931C7128}"/>
              </a:ext>
            </a:extLst>
          </p:cNvPr>
          <p:cNvSpPr/>
          <p:nvPr/>
        </p:nvSpPr>
        <p:spPr>
          <a:xfrm>
            <a:off x="2863424" y="3716759"/>
            <a:ext cx="431999" cy="42745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18F64AC-D689-4D17-A7FF-9366DBB19ACB}"/>
              </a:ext>
            </a:extLst>
          </p:cNvPr>
          <p:cNvSpPr txBox="1"/>
          <p:nvPr/>
        </p:nvSpPr>
        <p:spPr>
          <a:xfrm>
            <a:off x="3295424" y="3716759"/>
            <a:ext cx="2158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he-IL"/>
            </a:defPPr>
          </a:lstStyle>
          <a:p>
            <a:r>
              <a:rPr lang="en-GB" dirty="0"/>
              <a:t>Behaviour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D17C3D1C-3BAB-C449-BD70-CD66832D1F21}"/>
              </a:ext>
            </a:extLst>
          </p:cNvPr>
          <p:cNvCxnSpPr/>
          <p:nvPr/>
        </p:nvCxnSpPr>
        <p:spPr>
          <a:xfrm>
            <a:off x="881045" y="6003235"/>
            <a:ext cx="5181591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2494DC3-2AA6-2A44-9A13-A25FE3A6848F}"/>
              </a:ext>
            </a:extLst>
          </p:cNvPr>
          <p:cNvCxnSpPr/>
          <p:nvPr/>
        </p:nvCxnSpPr>
        <p:spPr>
          <a:xfrm flipV="1">
            <a:off x="881045" y="1356139"/>
            <a:ext cx="0" cy="464709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E238D225-59F5-6C4C-8843-929E5E36FA93}"/>
              </a:ext>
            </a:extLst>
          </p:cNvPr>
          <p:cNvSpPr txBox="1"/>
          <p:nvPr/>
        </p:nvSpPr>
        <p:spPr>
          <a:xfrm>
            <a:off x="6221531" y="1348702"/>
            <a:ext cx="5478974" cy="50270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b="1" dirty="0"/>
              <a:t>Trends – </a:t>
            </a:r>
            <a:r>
              <a:rPr lang="en-GB" dirty="0"/>
              <a:t>Insights based on aggregated &amp; anonymized consortium data.</a:t>
            </a:r>
            <a:br>
              <a:rPr lang="en-GB" dirty="0"/>
            </a:br>
            <a:r>
              <a:rPr lang="en-GB" b="1" dirty="0"/>
              <a:t>examples</a:t>
            </a:r>
            <a:r>
              <a:rPr lang="en-GB" dirty="0"/>
              <a:t>: Fraud Insights Report, on-demand dashboard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b="1" dirty="0"/>
              <a:t>Behaviour – </a:t>
            </a:r>
            <a:r>
              <a:rPr lang="en-GB" dirty="0"/>
              <a:t>models &amp; rules extracted from the consortium data.</a:t>
            </a:r>
            <a:br>
              <a:rPr lang="en-GB" dirty="0"/>
            </a:br>
            <a:r>
              <a:rPr lang="en-GB" b="1" dirty="0"/>
              <a:t>examples</a:t>
            </a:r>
            <a:r>
              <a:rPr lang="en-GB" dirty="0"/>
              <a:t>: Collective Intelligence Models, Gen-AI rules sugges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b="1" dirty="0"/>
              <a:t>Entities</a:t>
            </a:r>
            <a:r>
              <a:rPr lang="en-GB" dirty="0"/>
              <a:t> – risk assessing individual entities across the consortium.</a:t>
            </a:r>
          </a:p>
          <a:p>
            <a:pPr>
              <a:lnSpc>
                <a:spcPct val="150000"/>
              </a:lnSpc>
            </a:pPr>
            <a:r>
              <a:rPr lang="en-GB" dirty="0"/>
              <a:t>     </a:t>
            </a:r>
            <a:r>
              <a:rPr lang="en-GB" b="1" dirty="0"/>
              <a:t>examples</a:t>
            </a:r>
            <a:r>
              <a:rPr lang="en-GB" dirty="0"/>
              <a:t>: risk / trust level associated with    specific person, account, device…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7BAF708-FEB1-0E25-FDBD-AA5AB85911D4}"/>
              </a:ext>
            </a:extLst>
          </p:cNvPr>
          <p:cNvSpPr/>
          <p:nvPr/>
        </p:nvSpPr>
        <p:spPr>
          <a:xfrm>
            <a:off x="3835153" y="1571348"/>
            <a:ext cx="1837675" cy="88775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36035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C886EBF-F832-A3B8-A420-FDF5970527F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algn="l" rtl="0"/>
            <a:r>
              <a:rPr lang="en-US" b="1" dirty="0"/>
              <a:t>Market Footprint </a:t>
            </a:r>
            <a:r>
              <a:rPr lang="en-US" dirty="0"/>
              <a:t>– we have substantial share of the Financial Services market including the largest FIs with majority of the data</a:t>
            </a:r>
          </a:p>
          <a:p>
            <a:pPr algn="l" rtl="0"/>
            <a:r>
              <a:rPr lang="en-US" dirty="0"/>
              <a:t>Pervasive </a:t>
            </a:r>
            <a:r>
              <a:rPr lang="en-US" b="1" dirty="0"/>
              <a:t>view across the customer lifecycle </a:t>
            </a:r>
            <a:r>
              <a:rPr lang="en-US" dirty="0"/>
              <a:t>- we see both risk detection &amp; </a:t>
            </a:r>
            <a:r>
              <a:rPr lang="en-US" u="sng" dirty="0"/>
              <a:t>risk decision </a:t>
            </a:r>
            <a:r>
              <a:rPr lang="en-US" dirty="0"/>
              <a:t>(Case Mgmt.) across the customer lifecycle.</a:t>
            </a:r>
          </a:p>
          <a:p>
            <a:pPr algn="l" rtl="0"/>
            <a:r>
              <a:rPr lang="en-US" b="1" dirty="0"/>
              <a:t>Brand &amp; Trust </a:t>
            </a:r>
            <a:r>
              <a:rPr lang="en-US" dirty="0"/>
              <a:t>– key for establishing intelligence shar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99BFA7-7D9B-A07A-6B0B-58C98390012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algn="l" rtl="0"/>
            <a:r>
              <a:rPr lang="en-US" dirty="0"/>
              <a:t>The </a:t>
            </a:r>
            <a:r>
              <a:rPr lang="en-US" b="1" dirty="0"/>
              <a:t>rise of scams &amp; money mules </a:t>
            </a:r>
            <a:r>
              <a:rPr lang="en-US" dirty="0"/>
              <a:t>together with faster payments adoption drives the need for </a:t>
            </a:r>
            <a:r>
              <a:rPr lang="en-US" b="1" dirty="0"/>
              <a:t>cross FI intelligence sharing &amp; openness to collaborate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Both during detection &amp; investigation / recovery</a:t>
            </a:r>
          </a:p>
          <a:p>
            <a:pPr algn="l" rtl="0"/>
            <a:r>
              <a:rPr lang="en-US" dirty="0"/>
              <a:t>Digitization drives need for consortiums to </a:t>
            </a:r>
            <a:r>
              <a:rPr lang="en-US" b="1" dirty="0"/>
              <a:t>strengthen onboarding process</a:t>
            </a:r>
            <a:r>
              <a:rPr lang="en-US" dirty="0"/>
              <a:t>.</a:t>
            </a:r>
          </a:p>
          <a:p>
            <a:pPr algn="l" rtl="0"/>
            <a:r>
              <a:rPr lang="en-US" dirty="0"/>
              <a:t>Cloud migration forces FIs to share PII with vendor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71A471C-14CE-BB99-5B6C-DAAC36335B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rket drivers for FC&amp;C Consortium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A64913-408C-F877-B39C-D681CBD4E0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en-US" dirty="0"/>
              <a:t>Why Now?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6CE6E4-FA50-1EA2-02C6-0190060555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4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FDFC62E-CD65-0E74-4B6A-393DBA91ECF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pPr algn="l" rtl="0"/>
            <a:r>
              <a:rPr lang="en-US" dirty="0"/>
              <a:t>Why NICE Actimize?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CFC9C6-0F2F-6D57-ABE5-E19D37FD2B6B}"/>
              </a:ext>
            </a:extLst>
          </p:cNvPr>
          <p:cNvSpPr txBox="1"/>
          <p:nvPr/>
        </p:nvSpPr>
        <p:spPr>
          <a:xfrm>
            <a:off x="1833272" y="5752200"/>
            <a:ext cx="3384223" cy="36933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/>
              <a:t>Customers are asking for it</a:t>
            </a:r>
          </a:p>
        </p:txBody>
      </p:sp>
    </p:spTree>
    <p:extLst>
      <p:ext uri="{BB962C8B-B14F-4D97-AF65-F5344CB8AC3E}">
        <p14:creationId xmlns:p14="http://schemas.microsoft.com/office/powerpoint/2010/main" val="14237770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C1A710-0661-F278-AA1F-37B2615A5D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C&amp;C Consortium Vision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BB93CC-05C8-EB0D-878F-45AC8B7EB4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5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C9985E-C2C2-2004-07BC-993D3D9C25A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 algn="l" rtl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4449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E183E38-ADA8-3FFD-F935-D2013F9891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966" y="297107"/>
            <a:ext cx="11286067" cy="582052"/>
          </a:xfrm>
        </p:spPr>
        <p:txBody>
          <a:bodyPr/>
          <a:lstStyle/>
          <a:p>
            <a:r>
              <a:rPr lang="en-US" dirty="0"/>
              <a:t>FC&amp;C Consortiums by use case &amp; ent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F28273-A5A5-EA9B-413C-2F66CEE2A3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6</a:t>
            </a:fld>
            <a:endParaRPr lang="en-US"/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ACFA565D-A24D-D8DA-5956-506BA34C164C}"/>
              </a:ext>
            </a:extLst>
          </p:cNvPr>
          <p:cNvSpPr/>
          <p:nvPr/>
        </p:nvSpPr>
        <p:spPr>
          <a:xfrm>
            <a:off x="491491" y="2397446"/>
            <a:ext cx="2991775" cy="3249228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F7B5AC91-5E59-1514-AAED-B02ED966B040}"/>
              </a:ext>
            </a:extLst>
          </p:cNvPr>
          <p:cNvSpPr/>
          <p:nvPr/>
        </p:nvSpPr>
        <p:spPr>
          <a:xfrm>
            <a:off x="452967" y="1549962"/>
            <a:ext cx="4677129" cy="486316"/>
          </a:xfrm>
          <a:prstGeom prst="rect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Onboarding / Account Opening </a:t>
            </a:r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05817B00-8848-757F-7D8B-A220ABD13126}"/>
              </a:ext>
            </a:extLst>
          </p:cNvPr>
          <p:cNvSpPr/>
          <p:nvPr/>
        </p:nvSpPr>
        <p:spPr>
          <a:xfrm>
            <a:off x="1538056" y="3374867"/>
            <a:ext cx="868093" cy="1515092"/>
          </a:xfrm>
          <a:prstGeom prst="ellipse">
            <a:avLst/>
          </a:prstGeom>
          <a:solidFill>
            <a:srgbClr val="9EE1F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33DAE712-B8AC-7E50-2D42-9DA8E6C844D1}"/>
              </a:ext>
            </a:extLst>
          </p:cNvPr>
          <p:cNvSpPr txBox="1"/>
          <p:nvPr/>
        </p:nvSpPr>
        <p:spPr>
          <a:xfrm>
            <a:off x="1663283" y="3613822"/>
            <a:ext cx="80786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Name Email </a:t>
            </a:r>
          </a:p>
          <a:p>
            <a:r>
              <a:rPr lang="en-US" sz="1200" dirty="0"/>
              <a:t>Address SSN / ID</a:t>
            </a:r>
          </a:p>
          <a:p>
            <a:r>
              <a:rPr lang="en-US" sz="1200" dirty="0"/>
              <a:t>Phone</a:t>
            </a:r>
          </a:p>
        </p:txBody>
      </p:sp>
      <p:pic>
        <p:nvPicPr>
          <p:cNvPr id="123" name="Picture 19" descr="Cifas - Wikipedia">
            <a:extLst>
              <a:ext uri="{FF2B5EF4-FFF2-40B4-BE49-F238E27FC236}">
                <a16:creationId xmlns:a16="http://schemas.microsoft.com/office/drawing/2014/main" id="{B24A5AFE-730A-4E5C-42C8-DF689475BD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4364" b="90000" l="1996" r="97033">
                        <a14:foregroundMark x1="24002" y1="41818" x2="24002" y2="41818"/>
                        <a14:foregroundMark x1="44229" y1="34636" x2="44229" y2="34636"/>
                        <a14:foregroundMark x1="33225" y1="62818" x2="33225" y2="62818"/>
                        <a14:foregroundMark x1="19525" y1="77000" x2="19525" y2="77000"/>
                        <a14:foregroundMark x1="1996" y1="58455" x2="1996" y2="58455"/>
                        <a14:foregroundMark x1="84844" y1="43818" x2="84844" y2="43818"/>
                        <a14:foregroundMark x1="57497" y1="19091" x2="57497" y2="19091"/>
                        <a14:foregroundMark x1="59061" y1="4364" x2="59061" y2="4364"/>
                        <a14:foregroundMark x1="66127" y1="17909" x2="66127" y2="17909"/>
                        <a14:foregroundMark x1="57120" y1="27273" x2="57120" y2="27273"/>
                        <a14:foregroundMark x1="67422" y1="19364" x2="67422" y2="19364"/>
                        <a14:foregroundMark x1="66990" y1="21273" x2="67098" y2="15364"/>
                        <a14:foregroundMark x1="97033" y1="71545" x2="97033" y2="7154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415" y="4635539"/>
            <a:ext cx="496569" cy="294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4" name="TextBox 123">
            <a:extLst>
              <a:ext uri="{FF2B5EF4-FFF2-40B4-BE49-F238E27FC236}">
                <a16:creationId xmlns:a16="http://schemas.microsoft.com/office/drawing/2014/main" id="{03FE12F5-4DFE-0DDF-BAD6-A06E584DCCCC}"/>
              </a:ext>
            </a:extLst>
          </p:cNvPr>
          <p:cNvSpPr txBox="1"/>
          <p:nvPr/>
        </p:nvSpPr>
        <p:spPr>
          <a:xfrm>
            <a:off x="1370326" y="4702923"/>
            <a:ext cx="398029" cy="2377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[UK]</a:t>
            </a:r>
          </a:p>
        </p:txBody>
      </p:sp>
      <p:pic>
        <p:nvPicPr>
          <p:cNvPr id="125" name="Picture 2" descr="Socure Closes New Round of Funding, with Participation from Major Banks |  Business Wire">
            <a:extLst>
              <a:ext uri="{FF2B5EF4-FFF2-40B4-BE49-F238E27FC236}">
                <a16:creationId xmlns:a16="http://schemas.microsoft.com/office/drawing/2014/main" id="{EB1F60F7-F54E-46D0-C3A3-39363E80AE2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>
                        <a14:foregroundMark x1="27667" y1="53270" x2="27667" y2="53270"/>
                        <a14:foregroundMark x1="29500" y1="54705" x2="29500" y2="54705"/>
                        <a14:foregroundMark x1="41583" y1="48644" x2="41583" y2="48644"/>
                        <a14:foregroundMark x1="53167" y1="49442" x2="53167" y2="49442"/>
                        <a14:foregroundMark x1="58750" y1="49123" x2="58750" y2="49123"/>
                        <a14:foregroundMark x1="70167" y1="51037" x2="70167" y2="51037"/>
                        <a14:foregroundMark x1="73000" y1="51196" x2="73000" y2="51196"/>
                        <a14:foregroundMark x1="80667" y1="46890" x2="80667" y2="4689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2150" t="22283" r="2150" b="23395"/>
          <a:stretch/>
        </p:blipFill>
        <p:spPr bwMode="auto">
          <a:xfrm>
            <a:off x="2217603" y="3211128"/>
            <a:ext cx="1012114" cy="287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" name="Picture 2" descr="LexisNexis Risk Solutions | Transform Your Risk Decision Making">
            <a:extLst>
              <a:ext uri="{FF2B5EF4-FFF2-40B4-BE49-F238E27FC236}">
                <a16:creationId xmlns:a16="http://schemas.microsoft.com/office/drawing/2014/main" id="{930437E0-4739-F42C-CBD9-D84298AF17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5964" y="2791401"/>
            <a:ext cx="999067" cy="171873"/>
          </a:xfrm>
          <a:prstGeom prst="rect">
            <a:avLst/>
          </a:prstGeom>
          <a:noFill/>
        </p:spPr>
      </p:pic>
      <p:sp>
        <p:nvSpPr>
          <p:cNvPr id="127" name="Oval 126">
            <a:extLst>
              <a:ext uri="{FF2B5EF4-FFF2-40B4-BE49-F238E27FC236}">
                <a16:creationId xmlns:a16="http://schemas.microsoft.com/office/drawing/2014/main" id="{CCC17B7D-61B7-A1B6-FCEC-607AB7264CD9}"/>
              </a:ext>
            </a:extLst>
          </p:cNvPr>
          <p:cNvSpPr/>
          <p:nvPr/>
        </p:nvSpPr>
        <p:spPr>
          <a:xfrm>
            <a:off x="3854684" y="2395994"/>
            <a:ext cx="2991775" cy="3249228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6FAA72D7-EE7D-ADBD-F00A-C2DF9DC0D260}"/>
              </a:ext>
            </a:extLst>
          </p:cNvPr>
          <p:cNvSpPr/>
          <p:nvPr/>
        </p:nvSpPr>
        <p:spPr>
          <a:xfrm>
            <a:off x="5282214" y="1549961"/>
            <a:ext cx="4910735" cy="484863"/>
          </a:xfrm>
          <a:prstGeom prst="rect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Transaction Monitoring</a:t>
            </a: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F69E1D6A-1DA8-3EAE-9037-29D695A40D40}"/>
              </a:ext>
            </a:extLst>
          </p:cNvPr>
          <p:cNvSpPr/>
          <p:nvPr/>
        </p:nvSpPr>
        <p:spPr>
          <a:xfrm>
            <a:off x="4901249" y="3373415"/>
            <a:ext cx="868093" cy="1515092"/>
          </a:xfrm>
          <a:prstGeom prst="ellipse">
            <a:avLst/>
          </a:prstGeom>
          <a:solidFill>
            <a:srgbClr val="9EE1F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4D52148-62DE-90AE-7F84-BC3DC123776F}"/>
              </a:ext>
            </a:extLst>
          </p:cNvPr>
          <p:cNvSpPr txBox="1"/>
          <p:nvPr/>
        </p:nvSpPr>
        <p:spPr>
          <a:xfrm>
            <a:off x="5005804" y="3939045"/>
            <a:ext cx="689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Device</a:t>
            </a:r>
          </a:p>
          <a:p>
            <a:pPr algn="ctr"/>
            <a:r>
              <a:rPr lang="en-US" sz="1200" dirty="0"/>
              <a:t>IP</a:t>
            </a:r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id="{FC8E59F6-E8A7-3852-9CCC-8C12D845CFF9}"/>
              </a:ext>
            </a:extLst>
          </p:cNvPr>
          <p:cNvSpPr/>
          <p:nvPr/>
        </p:nvSpPr>
        <p:spPr>
          <a:xfrm>
            <a:off x="7164610" y="2395994"/>
            <a:ext cx="2991775" cy="3249228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6" name="Oval 135">
            <a:extLst>
              <a:ext uri="{FF2B5EF4-FFF2-40B4-BE49-F238E27FC236}">
                <a16:creationId xmlns:a16="http://schemas.microsoft.com/office/drawing/2014/main" id="{13FB0F44-6CB7-99BD-A0E3-CF21BF1805FB}"/>
              </a:ext>
            </a:extLst>
          </p:cNvPr>
          <p:cNvSpPr/>
          <p:nvPr/>
        </p:nvSpPr>
        <p:spPr>
          <a:xfrm>
            <a:off x="8211175" y="3373415"/>
            <a:ext cx="868093" cy="1515092"/>
          </a:xfrm>
          <a:prstGeom prst="ellipse">
            <a:avLst/>
          </a:prstGeom>
          <a:solidFill>
            <a:srgbClr val="9EE1F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8CECFA13-D8F5-1476-7140-87390F458DFC}"/>
              </a:ext>
            </a:extLst>
          </p:cNvPr>
          <p:cNvSpPr txBox="1"/>
          <p:nvPr/>
        </p:nvSpPr>
        <p:spPr>
          <a:xfrm>
            <a:off x="8060899" y="3655277"/>
            <a:ext cx="11299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Bank </a:t>
            </a:r>
            <a:br>
              <a:rPr lang="en-US" sz="1200" dirty="0"/>
            </a:br>
            <a:r>
              <a:rPr lang="en-US" sz="1200" dirty="0"/>
              <a:t>Account</a:t>
            </a:r>
            <a:br>
              <a:rPr lang="en-US" sz="1200" dirty="0"/>
            </a:br>
            <a:r>
              <a:rPr lang="en-US" sz="1200" dirty="0"/>
              <a:t>(Counter party)</a:t>
            </a:r>
          </a:p>
        </p:txBody>
      </p:sp>
      <p:pic>
        <p:nvPicPr>
          <p:cNvPr id="138" name="Picture 137">
            <a:extLst>
              <a:ext uri="{FF2B5EF4-FFF2-40B4-BE49-F238E27FC236}">
                <a16:creationId xmlns:a16="http://schemas.microsoft.com/office/drawing/2014/main" id="{571C0B4C-603A-CDDF-45B4-7709D046F24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790" b="89977" l="6386" r="90000">
                        <a14:foregroundMark x1="6386" y1="27739" x2="6386" y2="27739"/>
                        <a14:foregroundMark x1="17129" y1="24242" x2="17129" y2="24242"/>
                        <a14:foregroundMark x1="14307" y1="61072" x2="14307" y2="61072"/>
                        <a14:foregroundMark x1="6980" y1="36597" x2="7970" y2="47086"/>
                        <a14:foregroundMark x1="11436" y1="68765" x2="14752" y2="69231"/>
                        <a14:foregroundMark x1="7624" y1="52681" x2="8267" y2="61538"/>
                        <a14:foregroundMark x1="9851" y1="72028" x2="9653" y2="69231"/>
                        <a14:foregroundMark x1="29010" y1="36830" x2="29010" y2="36830"/>
                        <a14:foregroundMark x1="34307" y1="46154" x2="34307" y2="46154"/>
                        <a14:foregroundMark x1="38465" y1="47786" x2="38465" y2="47786"/>
                        <a14:foregroundMark x1="41287" y1="41958" x2="41287" y2="41958"/>
                        <a14:foregroundMark x1="43812" y1="51515" x2="43812" y2="51515"/>
                        <a14:foregroundMark x1="51436" y1="49883" x2="51436" y2="49883"/>
                        <a14:foregroundMark x1="60149" y1="58508" x2="60149" y2="58508"/>
                        <a14:foregroundMark x1="66287" y1="51981" x2="66287" y2="51981"/>
                        <a14:foregroundMark x1="71485" y1="45921" x2="71485" y2="45921"/>
                        <a14:foregroundMark x1="75891" y1="38462" x2="75891" y2="38462"/>
                        <a14:foregroundMark x1="75792" y1="46154" x2="75792" y2="46154"/>
                        <a14:foregroundMark x1="78416" y1="48485" x2="78416" y2="48485"/>
                        <a14:foregroundMark x1="85000" y1="46387" x2="85000" y2="46387"/>
                        <a14:foregroundMark x1="19802" y1="45455" x2="20149" y2="43590"/>
                        <a14:foregroundMark x1="20198" y1="40093" x2="20198" y2="40093"/>
                        <a14:foregroundMark x1="20297" y1="38695" x2="20297" y2="38695"/>
                        <a14:foregroundMark x1="20495" y1="37529" x2="20495" y2="3752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0935" y="3140690"/>
            <a:ext cx="1258782" cy="267335"/>
          </a:xfrm>
          <a:prstGeom prst="rect">
            <a:avLst/>
          </a:prstGeom>
        </p:spPr>
      </p:pic>
      <p:pic>
        <p:nvPicPr>
          <p:cNvPr id="139" name="Picture 2" descr="LexisNexis Risk Solutions | Transform Your Risk Decision Making">
            <a:extLst>
              <a:ext uri="{FF2B5EF4-FFF2-40B4-BE49-F238E27FC236}">
                <a16:creationId xmlns:a16="http://schemas.microsoft.com/office/drawing/2014/main" id="{2025BFBB-51F8-205B-991D-1C594272CA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6273" y="2890795"/>
            <a:ext cx="999067" cy="171873"/>
          </a:xfrm>
          <a:prstGeom prst="rect">
            <a:avLst/>
          </a:prstGeom>
          <a:noFill/>
        </p:spPr>
      </p:pic>
      <p:sp>
        <p:nvSpPr>
          <p:cNvPr id="141" name="Oval 140">
            <a:extLst>
              <a:ext uri="{FF2B5EF4-FFF2-40B4-BE49-F238E27FC236}">
                <a16:creationId xmlns:a16="http://schemas.microsoft.com/office/drawing/2014/main" id="{467066D1-CA29-FC13-3A91-8CCE78D22761}"/>
              </a:ext>
            </a:extLst>
          </p:cNvPr>
          <p:cNvSpPr/>
          <p:nvPr/>
        </p:nvSpPr>
        <p:spPr>
          <a:xfrm>
            <a:off x="6078708" y="5167359"/>
            <a:ext cx="1852754" cy="1428046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Oval 141">
            <a:extLst>
              <a:ext uri="{FF2B5EF4-FFF2-40B4-BE49-F238E27FC236}">
                <a16:creationId xmlns:a16="http://schemas.microsoft.com/office/drawing/2014/main" id="{606F925F-F390-8563-23C6-EB3164CC7DB8}"/>
              </a:ext>
            </a:extLst>
          </p:cNvPr>
          <p:cNvSpPr/>
          <p:nvPr/>
        </p:nvSpPr>
        <p:spPr>
          <a:xfrm>
            <a:off x="6459730" y="5571513"/>
            <a:ext cx="1090710" cy="658377"/>
          </a:xfrm>
          <a:prstGeom prst="ellipse">
            <a:avLst/>
          </a:prstGeom>
          <a:solidFill>
            <a:srgbClr val="9EE1F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Cards</a:t>
            </a:r>
          </a:p>
          <a:p>
            <a:pPr algn="ctr"/>
            <a:r>
              <a:rPr lang="en-US" sz="900" dirty="0">
                <a:solidFill>
                  <a:schemeClr val="tx1"/>
                </a:solidFill>
              </a:rPr>
              <a:t>Merchants</a:t>
            </a:r>
          </a:p>
        </p:txBody>
      </p:sp>
      <p:pic>
        <p:nvPicPr>
          <p:cNvPr id="143" name="Picture 142">
            <a:extLst>
              <a:ext uri="{FF2B5EF4-FFF2-40B4-BE49-F238E27FC236}">
                <a16:creationId xmlns:a16="http://schemas.microsoft.com/office/drawing/2014/main" id="{727D1448-C4FA-B1BE-8430-253F87DE0DF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790" b="89977" l="6386" r="90000">
                        <a14:foregroundMark x1="6386" y1="27739" x2="6386" y2="27739"/>
                        <a14:foregroundMark x1="17129" y1="24242" x2="17129" y2="24242"/>
                        <a14:foregroundMark x1="14307" y1="61072" x2="14307" y2="61072"/>
                        <a14:foregroundMark x1="6980" y1="36597" x2="7970" y2="47086"/>
                        <a14:foregroundMark x1="11436" y1="68765" x2="14752" y2="69231"/>
                        <a14:foregroundMark x1="7624" y1="52681" x2="8267" y2="61538"/>
                        <a14:foregroundMark x1="9851" y1="72028" x2="9653" y2="69231"/>
                        <a14:foregroundMark x1="29010" y1="36830" x2="29010" y2="36830"/>
                        <a14:foregroundMark x1="34307" y1="46154" x2="34307" y2="46154"/>
                        <a14:foregroundMark x1="38465" y1="47786" x2="38465" y2="47786"/>
                        <a14:foregroundMark x1="41287" y1="41958" x2="41287" y2="41958"/>
                        <a14:foregroundMark x1="43812" y1="51515" x2="43812" y2="51515"/>
                        <a14:foregroundMark x1="51436" y1="49883" x2="51436" y2="49883"/>
                        <a14:foregroundMark x1="60149" y1="58508" x2="60149" y2="58508"/>
                        <a14:foregroundMark x1="66287" y1="51981" x2="66287" y2="51981"/>
                        <a14:foregroundMark x1="71485" y1="45921" x2="71485" y2="45921"/>
                        <a14:foregroundMark x1="75891" y1="38462" x2="75891" y2="38462"/>
                        <a14:foregroundMark x1="75792" y1="46154" x2="75792" y2="46154"/>
                        <a14:foregroundMark x1="78416" y1="48485" x2="78416" y2="48485"/>
                        <a14:foregroundMark x1="85000" y1="46387" x2="85000" y2="46387"/>
                        <a14:foregroundMark x1="19802" y1="45455" x2="20149" y2="43590"/>
                        <a14:foregroundMark x1="20198" y1="40093" x2="20198" y2="40093"/>
                        <a14:foregroundMark x1="20297" y1="38695" x2="20297" y2="38695"/>
                        <a14:foregroundMark x1="20495" y1="37529" x2="20495" y2="3752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749247" y="2843063"/>
            <a:ext cx="1258782" cy="267335"/>
          </a:xfrm>
          <a:prstGeom prst="rect">
            <a:avLst/>
          </a:prstGeom>
        </p:spPr>
      </p:pic>
      <p:pic>
        <p:nvPicPr>
          <p:cNvPr id="1026" name="Picture 2" descr="Ekata (US) - Identity Verification &amp; Fraud Prevention Case Study||Ekata  (US) - Identity Verification &amp; Fraud Prevention Case Study">
            <a:extLst>
              <a:ext uri="{FF2B5EF4-FFF2-40B4-BE49-F238E27FC236}">
                <a16:creationId xmlns:a16="http://schemas.microsoft.com/office/drawing/2014/main" id="{1DD00760-3993-5ABC-32F2-51ACC50A53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7414" y="3841462"/>
            <a:ext cx="859339" cy="287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4" name="Picture 2" descr="Experian - Wikipedia">
            <a:extLst>
              <a:ext uri="{FF2B5EF4-FFF2-40B4-BE49-F238E27FC236}">
                <a16:creationId xmlns:a16="http://schemas.microsoft.com/office/drawing/2014/main" id="{5B1DFF34-21AF-ABA6-2681-11DA58F798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844" y="3798500"/>
            <a:ext cx="788128" cy="262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" name="Picture 145">
            <a:extLst>
              <a:ext uri="{FF2B5EF4-FFF2-40B4-BE49-F238E27FC236}">
                <a16:creationId xmlns:a16="http://schemas.microsoft.com/office/drawing/2014/main" id="{35837E8B-390F-F978-D117-8F8C5E9EED1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023004" y="3208345"/>
            <a:ext cx="868093" cy="234385"/>
          </a:xfrm>
          <a:prstGeom prst="rect">
            <a:avLst/>
          </a:prstGeom>
        </p:spPr>
      </p:pic>
      <p:sp>
        <p:nvSpPr>
          <p:cNvPr id="150" name="TextBox 149">
            <a:extLst>
              <a:ext uri="{FF2B5EF4-FFF2-40B4-BE49-F238E27FC236}">
                <a16:creationId xmlns:a16="http://schemas.microsoft.com/office/drawing/2014/main" id="{D322C8DC-8290-B555-0D1E-3CDEF04500F1}"/>
              </a:ext>
            </a:extLst>
          </p:cNvPr>
          <p:cNvSpPr txBox="1"/>
          <p:nvPr/>
        </p:nvSpPr>
        <p:spPr>
          <a:xfrm>
            <a:off x="9316164" y="4432019"/>
            <a:ext cx="1213488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dirty="0"/>
              <a:t>SMB Focused</a:t>
            </a:r>
          </a:p>
        </p:txBody>
      </p: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118A0A29-86E5-9A2E-EC21-32D948051646}"/>
              </a:ext>
            </a:extLst>
          </p:cNvPr>
          <p:cNvCxnSpPr>
            <a:cxnSpLocks/>
          </p:cNvCxnSpPr>
          <p:nvPr/>
        </p:nvCxnSpPr>
        <p:spPr>
          <a:xfrm flipH="1" flipV="1">
            <a:off x="9766535" y="3429000"/>
            <a:ext cx="513059" cy="100156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30" name="Picture 6" descr="AWS Marketplace: SEON">
            <a:extLst>
              <a:ext uri="{FF2B5EF4-FFF2-40B4-BE49-F238E27FC236}">
                <a16:creationId xmlns:a16="http://schemas.microsoft.com/office/drawing/2014/main" id="{14E1F55C-5CD7-70A4-91E8-1B0039AC10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5422" y="3473840"/>
            <a:ext cx="853469" cy="358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8" name="Picture 4" descr="Press Kit | FICO">
            <a:extLst>
              <a:ext uri="{FF2B5EF4-FFF2-40B4-BE49-F238E27FC236}">
                <a16:creationId xmlns:a16="http://schemas.microsoft.com/office/drawing/2014/main" id="{9870B6C9-99B3-B6E5-CFA6-1F79BCBA64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3006" y="5346746"/>
            <a:ext cx="450785" cy="138420"/>
          </a:xfrm>
          <a:prstGeom prst="rect">
            <a:avLst/>
          </a:prstGeom>
          <a:noFill/>
        </p:spPr>
      </p:pic>
      <p:pic>
        <p:nvPicPr>
          <p:cNvPr id="159" name="Picture 52" descr="29 Fraud.net Customer Reviews &amp; References | FeaturedCustomers">
            <a:extLst>
              <a:ext uri="{FF2B5EF4-FFF2-40B4-BE49-F238E27FC236}">
                <a16:creationId xmlns:a16="http://schemas.microsoft.com/office/drawing/2014/main" id="{30C6E923-234F-81B4-CE2D-B30E2DF1C61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8" t="-10254" r="-2" b="-1"/>
          <a:stretch/>
        </p:blipFill>
        <p:spPr bwMode="auto">
          <a:xfrm>
            <a:off x="5741441" y="3303902"/>
            <a:ext cx="851171" cy="254575"/>
          </a:xfrm>
          <a:prstGeom prst="rect">
            <a:avLst/>
          </a:prstGeom>
          <a:noFill/>
        </p:spPr>
      </p:pic>
      <p:pic>
        <p:nvPicPr>
          <p:cNvPr id="160" name="Picture 2" descr="FinovateSpring 2017 – IBM Trusteer - Finovate">
            <a:extLst>
              <a:ext uri="{FF2B5EF4-FFF2-40B4-BE49-F238E27FC236}">
                <a16:creationId xmlns:a16="http://schemas.microsoft.com/office/drawing/2014/main" id="{4E156046-63D9-2B36-9DC7-9A45FF6002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10000" b="90000" l="10000" r="90000">
                        <a14:foregroundMark x1="15000" y1="50278" x2="15000" y2="50278"/>
                        <a14:foregroundMark x1="26094" y1="42917" x2="26094" y2="42917"/>
                        <a14:foregroundMark x1="40859" y1="43472" x2="40859" y2="43472"/>
                        <a14:foregroundMark x1="48125" y1="47917" x2="48125" y2="47917"/>
                        <a14:foregroundMark x1="51406" y1="47917" x2="51406" y2="47917"/>
                        <a14:foregroundMark x1="59844" y1="47500" x2="59844" y2="47500"/>
                        <a14:foregroundMark x1="66641" y1="46111" x2="66641" y2="46111"/>
                        <a14:foregroundMark x1="72031" y1="46528" x2="72266" y2="46528"/>
                        <a14:foregroundMark x1="78594" y1="47222" x2="79609" y2="47500"/>
                        <a14:foregroundMark x1="84063" y1="47639" x2="84063" y2="47639"/>
                        <a14:foregroundMark x1="22031" y1="50278" x2="22031" y2="50278"/>
                        <a14:backgroundMark x1="18672" y1="46111" x2="18672" y2="46111"/>
                        <a14:backgroundMark x1="19531" y1="51389" x2="19531" y2="51389"/>
                        <a14:backgroundMark x1="71875" y1="49306" x2="71875" y2="49306"/>
                        <a14:backgroundMark x1="78594" y1="49306" x2="78594" y2="4930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804" t="38998" r="10856" b="36384"/>
          <a:stretch/>
        </p:blipFill>
        <p:spPr bwMode="auto">
          <a:xfrm>
            <a:off x="5849124" y="4020608"/>
            <a:ext cx="969764" cy="175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Mastercard looks beyond card as Vocalink brings real-time payments to  Canada | FinTech Alliance">
            <a:extLst>
              <a:ext uri="{FF2B5EF4-FFF2-40B4-BE49-F238E27FC236}">
                <a16:creationId xmlns:a16="http://schemas.microsoft.com/office/drawing/2014/main" id="{14B7B6F6-004C-9899-C6D7-771E17F807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5230" y="4388104"/>
            <a:ext cx="788137" cy="221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EBA CLEARING to enrich RT1 and STEP2 with fraud prevention and detection  capabilities">
            <a:extLst>
              <a:ext uri="{FF2B5EF4-FFF2-40B4-BE49-F238E27FC236}">
                <a16:creationId xmlns:a16="http://schemas.microsoft.com/office/drawing/2014/main" id="{96E8ED86-EA50-FF82-399E-EF9F15815D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1" y="3498399"/>
            <a:ext cx="868093" cy="467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1" name="TextBox 170">
            <a:extLst>
              <a:ext uri="{FF2B5EF4-FFF2-40B4-BE49-F238E27FC236}">
                <a16:creationId xmlns:a16="http://schemas.microsoft.com/office/drawing/2014/main" id="{A38E6CD6-203A-AC24-719A-DC7E7C122E44}"/>
              </a:ext>
            </a:extLst>
          </p:cNvPr>
          <p:cNvSpPr txBox="1"/>
          <p:nvPr/>
        </p:nvSpPr>
        <p:spPr>
          <a:xfrm>
            <a:off x="6197332" y="2205360"/>
            <a:ext cx="1438846" cy="46166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ayment Scheme</a:t>
            </a:r>
            <a:br>
              <a:rPr lang="en-US" sz="1200" dirty="0"/>
            </a:br>
            <a:r>
              <a:rPr lang="en-US" sz="1200" dirty="0"/>
              <a:t>Specific</a:t>
            </a:r>
          </a:p>
        </p:txBody>
      </p: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8B1CD82B-E3ED-C1AF-BDCB-915731E00572}"/>
              </a:ext>
            </a:extLst>
          </p:cNvPr>
          <p:cNvCxnSpPr>
            <a:cxnSpLocks/>
          </p:cNvCxnSpPr>
          <p:nvPr/>
        </p:nvCxnSpPr>
        <p:spPr>
          <a:xfrm>
            <a:off x="7062077" y="2667025"/>
            <a:ext cx="820404" cy="16678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475601DA-7FD2-E4D0-090F-A05B449A1811}"/>
              </a:ext>
            </a:extLst>
          </p:cNvPr>
          <p:cNvCxnSpPr>
            <a:cxnSpLocks/>
          </p:cNvCxnSpPr>
          <p:nvPr/>
        </p:nvCxnSpPr>
        <p:spPr>
          <a:xfrm>
            <a:off x="7062077" y="2667025"/>
            <a:ext cx="461831" cy="79352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ACED9BBF-ACAC-FA45-85E8-8102FDCB34BE}"/>
              </a:ext>
            </a:extLst>
          </p:cNvPr>
          <p:cNvCxnSpPr>
            <a:cxnSpLocks/>
          </p:cNvCxnSpPr>
          <p:nvPr/>
        </p:nvCxnSpPr>
        <p:spPr>
          <a:xfrm>
            <a:off x="7062077" y="2667025"/>
            <a:ext cx="399321" cy="164135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3" name="TextBox 182">
            <a:extLst>
              <a:ext uri="{FF2B5EF4-FFF2-40B4-BE49-F238E27FC236}">
                <a16:creationId xmlns:a16="http://schemas.microsoft.com/office/drawing/2014/main" id="{B0981E3C-F46C-A623-2D46-070466400211}"/>
              </a:ext>
            </a:extLst>
          </p:cNvPr>
          <p:cNvSpPr txBox="1"/>
          <p:nvPr/>
        </p:nvSpPr>
        <p:spPr>
          <a:xfrm>
            <a:off x="8809014" y="2852828"/>
            <a:ext cx="75373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[US ZELLE]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E649DA3C-0FAE-5472-ADB4-B388ED7C607F}"/>
              </a:ext>
            </a:extLst>
          </p:cNvPr>
          <p:cNvSpPr txBox="1"/>
          <p:nvPr/>
        </p:nvSpPr>
        <p:spPr>
          <a:xfrm>
            <a:off x="7489279" y="3864270"/>
            <a:ext cx="54373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[SEPA]</a:t>
            </a: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8F74B587-A6E8-E3CD-D025-C34ED7CAE3BA}"/>
              </a:ext>
            </a:extLst>
          </p:cNvPr>
          <p:cNvSpPr txBox="1"/>
          <p:nvPr/>
        </p:nvSpPr>
        <p:spPr>
          <a:xfrm>
            <a:off x="7610611" y="4602753"/>
            <a:ext cx="64953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[UK FSP]</a:t>
            </a: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5E4E9590-68CC-C60D-288B-226D4C29D2EB}"/>
              </a:ext>
            </a:extLst>
          </p:cNvPr>
          <p:cNvSpPr/>
          <p:nvPr/>
        </p:nvSpPr>
        <p:spPr>
          <a:xfrm>
            <a:off x="10345067" y="1549962"/>
            <a:ext cx="1784275" cy="486316"/>
          </a:xfrm>
          <a:prstGeom prst="rect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Investigation</a:t>
            </a: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CAA2BD98-517D-61C4-00B2-721D61B247D1}"/>
              </a:ext>
            </a:extLst>
          </p:cNvPr>
          <p:cNvSpPr txBox="1"/>
          <p:nvPr/>
        </p:nvSpPr>
        <p:spPr>
          <a:xfrm>
            <a:off x="9857227" y="449459"/>
            <a:ext cx="2026903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Work in Progress</a:t>
            </a:r>
          </a:p>
        </p:txBody>
      </p:sp>
      <p:pic>
        <p:nvPicPr>
          <p:cNvPr id="2" name="Picture 2" descr="Outseer – ITWay Hellas S.A.">
            <a:extLst>
              <a:ext uri="{FF2B5EF4-FFF2-40B4-BE49-F238E27FC236}">
                <a16:creationId xmlns:a16="http://schemas.microsoft.com/office/drawing/2014/main" id="{3E97A4EC-67E8-43A4-C8A6-D26EB46652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2696" y="4244158"/>
            <a:ext cx="851905" cy="31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Outseer – ITWay Hellas S.A.">
            <a:extLst>
              <a:ext uri="{FF2B5EF4-FFF2-40B4-BE49-F238E27FC236}">
                <a16:creationId xmlns:a16="http://schemas.microsoft.com/office/drawing/2014/main" id="{9E0AB046-8036-902C-A4B9-4302FED80F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6782" y="3782324"/>
            <a:ext cx="851905" cy="31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228F23F6-329D-4A61-3FFF-4D1FC994CF07}"/>
              </a:ext>
            </a:extLst>
          </p:cNvPr>
          <p:cNvSpPr/>
          <p:nvPr/>
        </p:nvSpPr>
        <p:spPr>
          <a:xfrm>
            <a:off x="10382560" y="2397446"/>
            <a:ext cx="1714426" cy="3193256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8" name="Picture 4" descr="Find Talent | GuruLink">
            <a:extLst>
              <a:ext uri="{FF2B5EF4-FFF2-40B4-BE49-F238E27FC236}">
                <a16:creationId xmlns:a16="http://schemas.microsoft.com/office/drawing/2014/main" id="{F6BF2E43-61FD-E54A-DF61-39FBCE3A22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6756" y="3846713"/>
            <a:ext cx="1291960" cy="426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6" descr="Next-generation post-purchase solutions for dispute and fraud prevention |  Verifi Inc">
            <a:extLst>
              <a:ext uri="{FF2B5EF4-FFF2-40B4-BE49-F238E27FC236}">
                <a16:creationId xmlns:a16="http://schemas.microsoft.com/office/drawing/2014/main" id="{16A3FDDF-1595-D199-F5E0-46D4D0B9E8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2611" y="4577028"/>
            <a:ext cx="936415" cy="423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Beyond compliance: AML solutions">
            <a:extLst>
              <a:ext uri="{FF2B5EF4-FFF2-40B4-BE49-F238E27FC236}">
                <a16:creationId xmlns:a16="http://schemas.microsoft.com/office/drawing/2014/main" id="{83E39F04-0475-189C-2080-31AAF46C98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2611" y="3130143"/>
            <a:ext cx="898583" cy="347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5E98A11-F743-53C4-A7EB-5E589F09C88C}"/>
              </a:ext>
            </a:extLst>
          </p:cNvPr>
          <p:cNvSpPr txBox="1"/>
          <p:nvPr/>
        </p:nvSpPr>
        <p:spPr>
          <a:xfrm>
            <a:off x="9207427" y="6006514"/>
            <a:ext cx="985522" cy="64633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dirty="0"/>
              <a:t>Cards &amp; Merchant focused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D61E88C-2F31-36B0-433E-A48AA77F336E}"/>
              </a:ext>
            </a:extLst>
          </p:cNvPr>
          <p:cNvCxnSpPr>
            <a:cxnSpLocks/>
          </p:cNvCxnSpPr>
          <p:nvPr/>
        </p:nvCxnSpPr>
        <p:spPr>
          <a:xfrm flipV="1">
            <a:off x="9942891" y="4244158"/>
            <a:ext cx="985521" cy="176090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2C0CFCB-19B3-23F7-DBFF-962D66643334}"/>
              </a:ext>
            </a:extLst>
          </p:cNvPr>
          <p:cNvCxnSpPr>
            <a:cxnSpLocks/>
          </p:cNvCxnSpPr>
          <p:nvPr/>
        </p:nvCxnSpPr>
        <p:spPr>
          <a:xfrm flipV="1">
            <a:off x="9960814" y="4940660"/>
            <a:ext cx="1006047" cy="10644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41385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0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8" fill="hold">
                      <p:stCondLst>
                        <p:cond delay="indefinite"/>
                      </p:stCondLst>
                      <p:childTnLst>
                        <p:par>
                          <p:cTn id="139" fill="hold">
                            <p:stCondLst>
                              <p:cond delay="0"/>
                            </p:stCondLst>
                            <p:childTnLst>
                              <p:par>
                                <p:cTn id="1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6" fill="hold">
                      <p:stCondLst>
                        <p:cond delay="indefinite"/>
                      </p:stCondLst>
                      <p:childTnLst>
                        <p:par>
                          <p:cTn id="147" fill="hold">
                            <p:stCondLst>
                              <p:cond delay="0"/>
                            </p:stCondLst>
                            <p:childTnLst>
                              <p:par>
                                <p:cTn id="1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 animBg="1"/>
      <p:bldP spid="120" grpId="0" animBg="1"/>
      <p:bldP spid="121" grpId="0" animBg="1"/>
      <p:bldP spid="122" grpId="0"/>
      <p:bldP spid="124" grpId="0"/>
      <p:bldP spid="127" grpId="0" animBg="1"/>
      <p:bldP spid="128" grpId="0" animBg="1"/>
      <p:bldP spid="129" grpId="0" animBg="1"/>
      <p:bldP spid="130" grpId="0"/>
      <p:bldP spid="135" grpId="0" animBg="1"/>
      <p:bldP spid="136" grpId="0" animBg="1"/>
      <p:bldP spid="137" grpId="0"/>
      <p:bldP spid="141" grpId="0" animBg="1"/>
      <p:bldP spid="142" grpId="0" animBg="1"/>
      <p:bldP spid="150" grpId="0" animBg="1"/>
      <p:bldP spid="171" grpId="0" animBg="1"/>
      <p:bldP spid="183" grpId="0"/>
      <p:bldP spid="184" grpId="0"/>
      <p:bldP spid="185" grpId="0"/>
      <p:bldP spid="186" grpId="0" animBg="1"/>
      <p:bldP spid="9" grpId="0" animBg="1"/>
      <p:bldP spid="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ABA69DC-7F6C-E00F-F322-3E0283C4E289}"/>
              </a:ext>
            </a:extLst>
          </p:cNvPr>
          <p:cNvSpPr/>
          <p:nvPr/>
        </p:nvSpPr>
        <p:spPr>
          <a:xfrm>
            <a:off x="8926721" y="2438978"/>
            <a:ext cx="3408442" cy="3151724"/>
          </a:xfrm>
          <a:prstGeom prst="rect">
            <a:avLst/>
          </a:prstGeom>
          <a:solidFill>
            <a:srgbClr val="23C9FF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183E38-ADA8-3FFD-F935-D2013F9891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966" y="297107"/>
            <a:ext cx="11286067" cy="582052"/>
          </a:xfrm>
        </p:spPr>
        <p:txBody>
          <a:bodyPr/>
          <a:lstStyle/>
          <a:p>
            <a:r>
              <a:rPr lang="en-US" dirty="0"/>
              <a:t>NICE Actimize’s use case &amp; entity dominance today 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F28273-A5A5-EA9B-413C-2F66CEE2A3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7</a:t>
            </a:fld>
            <a:endParaRPr lang="en-US"/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ACFA565D-A24D-D8DA-5956-506BA34C164C}"/>
              </a:ext>
            </a:extLst>
          </p:cNvPr>
          <p:cNvSpPr/>
          <p:nvPr/>
        </p:nvSpPr>
        <p:spPr>
          <a:xfrm>
            <a:off x="491491" y="2397446"/>
            <a:ext cx="2991775" cy="3249228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F7B5AC91-5E59-1514-AAED-B02ED966B040}"/>
              </a:ext>
            </a:extLst>
          </p:cNvPr>
          <p:cNvSpPr/>
          <p:nvPr/>
        </p:nvSpPr>
        <p:spPr>
          <a:xfrm>
            <a:off x="452967" y="1549962"/>
            <a:ext cx="4677129" cy="486316"/>
          </a:xfrm>
          <a:prstGeom prst="rect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Onboarding / Account Opening </a:t>
            </a:r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05817B00-8848-757F-7D8B-A220ABD13126}"/>
              </a:ext>
            </a:extLst>
          </p:cNvPr>
          <p:cNvSpPr/>
          <p:nvPr/>
        </p:nvSpPr>
        <p:spPr>
          <a:xfrm>
            <a:off x="1538056" y="3374867"/>
            <a:ext cx="868093" cy="1515092"/>
          </a:xfrm>
          <a:prstGeom prst="ellipse">
            <a:avLst/>
          </a:prstGeom>
          <a:solidFill>
            <a:srgbClr val="9EE1F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33DAE712-B8AC-7E50-2D42-9DA8E6C844D1}"/>
              </a:ext>
            </a:extLst>
          </p:cNvPr>
          <p:cNvSpPr txBox="1"/>
          <p:nvPr/>
        </p:nvSpPr>
        <p:spPr>
          <a:xfrm>
            <a:off x="1663283" y="3613822"/>
            <a:ext cx="80786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Name Email </a:t>
            </a:r>
          </a:p>
          <a:p>
            <a:r>
              <a:rPr lang="en-US" sz="1200" dirty="0"/>
              <a:t>Address SSN</a:t>
            </a:r>
          </a:p>
          <a:p>
            <a:r>
              <a:rPr lang="en-US" sz="1200" dirty="0"/>
              <a:t>Phone</a:t>
            </a:r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CCC17B7D-61B7-A1B6-FCEC-607AB7264CD9}"/>
              </a:ext>
            </a:extLst>
          </p:cNvPr>
          <p:cNvSpPr/>
          <p:nvPr/>
        </p:nvSpPr>
        <p:spPr>
          <a:xfrm>
            <a:off x="3978976" y="2395994"/>
            <a:ext cx="2991775" cy="3249228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6FAA72D7-EE7D-ADBD-F00A-C2DF9DC0D260}"/>
              </a:ext>
            </a:extLst>
          </p:cNvPr>
          <p:cNvSpPr/>
          <p:nvPr/>
        </p:nvSpPr>
        <p:spPr>
          <a:xfrm>
            <a:off x="5282214" y="1549961"/>
            <a:ext cx="4971495" cy="484863"/>
          </a:xfrm>
          <a:prstGeom prst="rect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Transaction Monitoring</a:t>
            </a: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F69E1D6A-1DA8-3EAE-9037-29D695A40D40}"/>
              </a:ext>
            </a:extLst>
          </p:cNvPr>
          <p:cNvSpPr/>
          <p:nvPr/>
        </p:nvSpPr>
        <p:spPr>
          <a:xfrm>
            <a:off x="5025541" y="3373415"/>
            <a:ext cx="868093" cy="1515092"/>
          </a:xfrm>
          <a:prstGeom prst="ellipse">
            <a:avLst/>
          </a:prstGeom>
          <a:solidFill>
            <a:srgbClr val="9EE1F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4D52148-62DE-90AE-7F84-BC3DC123776F}"/>
              </a:ext>
            </a:extLst>
          </p:cNvPr>
          <p:cNvSpPr txBox="1"/>
          <p:nvPr/>
        </p:nvSpPr>
        <p:spPr>
          <a:xfrm>
            <a:off x="5130096" y="3939045"/>
            <a:ext cx="689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Device</a:t>
            </a:r>
          </a:p>
          <a:p>
            <a:pPr algn="ctr"/>
            <a:r>
              <a:rPr lang="en-US" sz="1200" dirty="0"/>
              <a:t>IP</a:t>
            </a:r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id="{FC8E59F6-E8A7-3852-9CCC-8C12D845CFF9}"/>
              </a:ext>
            </a:extLst>
          </p:cNvPr>
          <p:cNvSpPr/>
          <p:nvPr/>
        </p:nvSpPr>
        <p:spPr>
          <a:xfrm>
            <a:off x="7324414" y="2395994"/>
            <a:ext cx="2991775" cy="3249228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6" name="Oval 135">
            <a:extLst>
              <a:ext uri="{FF2B5EF4-FFF2-40B4-BE49-F238E27FC236}">
                <a16:creationId xmlns:a16="http://schemas.microsoft.com/office/drawing/2014/main" id="{13FB0F44-6CB7-99BD-A0E3-CF21BF1805FB}"/>
              </a:ext>
            </a:extLst>
          </p:cNvPr>
          <p:cNvSpPr/>
          <p:nvPr/>
        </p:nvSpPr>
        <p:spPr>
          <a:xfrm>
            <a:off x="8370979" y="3373415"/>
            <a:ext cx="868093" cy="1515092"/>
          </a:xfrm>
          <a:prstGeom prst="ellipse">
            <a:avLst/>
          </a:prstGeom>
          <a:solidFill>
            <a:srgbClr val="9EE1F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Oval 140">
            <a:extLst>
              <a:ext uri="{FF2B5EF4-FFF2-40B4-BE49-F238E27FC236}">
                <a16:creationId xmlns:a16="http://schemas.microsoft.com/office/drawing/2014/main" id="{467066D1-CA29-FC13-3A91-8CCE78D22761}"/>
              </a:ext>
            </a:extLst>
          </p:cNvPr>
          <p:cNvSpPr/>
          <p:nvPr/>
        </p:nvSpPr>
        <p:spPr>
          <a:xfrm>
            <a:off x="6477039" y="5231825"/>
            <a:ext cx="1852754" cy="1428046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Oval 141">
            <a:extLst>
              <a:ext uri="{FF2B5EF4-FFF2-40B4-BE49-F238E27FC236}">
                <a16:creationId xmlns:a16="http://schemas.microsoft.com/office/drawing/2014/main" id="{606F925F-F390-8563-23C6-EB3164CC7DB8}"/>
              </a:ext>
            </a:extLst>
          </p:cNvPr>
          <p:cNvSpPr/>
          <p:nvPr/>
        </p:nvSpPr>
        <p:spPr>
          <a:xfrm>
            <a:off x="6858061" y="5635979"/>
            <a:ext cx="1090710" cy="658377"/>
          </a:xfrm>
          <a:prstGeom prst="ellipse">
            <a:avLst/>
          </a:prstGeom>
          <a:solidFill>
            <a:srgbClr val="9EE1F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Cards</a:t>
            </a:r>
          </a:p>
          <a:p>
            <a:pPr algn="ctr"/>
            <a:r>
              <a:rPr lang="en-US" sz="900" dirty="0">
                <a:solidFill>
                  <a:schemeClr val="tx1"/>
                </a:solidFill>
              </a:rPr>
              <a:t>Merchant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2107800-6F2E-F47B-439B-EBE7DB2DE3B7}"/>
              </a:ext>
            </a:extLst>
          </p:cNvPr>
          <p:cNvSpPr/>
          <p:nvPr/>
        </p:nvSpPr>
        <p:spPr>
          <a:xfrm>
            <a:off x="10345067" y="1549962"/>
            <a:ext cx="1784275" cy="486316"/>
          </a:xfrm>
          <a:prstGeom prst="rect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Investigation</a:t>
            </a:r>
          </a:p>
        </p:txBody>
      </p:sp>
      <p:sp>
        <p:nvSpPr>
          <p:cNvPr id="25" name="Isosceles Triangle 24">
            <a:extLst>
              <a:ext uri="{FF2B5EF4-FFF2-40B4-BE49-F238E27FC236}">
                <a16:creationId xmlns:a16="http://schemas.microsoft.com/office/drawing/2014/main" id="{93EF5186-E581-671E-C644-8FE3FB9530E1}"/>
              </a:ext>
            </a:extLst>
          </p:cNvPr>
          <p:cNvSpPr/>
          <p:nvPr/>
        </p:nvSpPr>
        <p:spPr>
          <a:xfrm rot="16200000">
            <a:off x="3312342" y="13878"/>
            <a:ext cx="3189278" cy="8039479"/>
          </a:xfrm>
          <a:prstGeom prst="triangle">
            <a:avLst>
              <a:gd name="adj" fmla="val 52002"/>
            </a:avLst>
          </a:prstGeom>
          <a:solidFill>
            <a:srgbClr val="23C9FF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D3AA73D-B948-1B63-C084-368D0003AC2C}"/>
              </a:ext>
            </a:extLst>
          </p:cNvPr>
          <p:cNvSpPr txBox="1"/>
          <p:nvPr/>
        </p:nvSpPr>
        <p:spPr>
          <a:xfrm>
            <a:off x="684111" y="5893487"/>
            <a:ext cx="5425456" cy="64633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Our current assets are mainly in </a:t>
            </a:r>
            <a:r>
              <a:rPr lang="en-US" b="1" dirty="0"/>
              <a:t>bank account intelligence</a:t>
            </a:r>
            <a:r>
              <a:rPr lang="en-US" dirty="0"/>
              <a:t> for </a:t>
            </a:r>
            <a:r>
              <a:rPr lang="en-US" b="1" dirty="0"/>
              <a:t>transaction monitoring 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7D31E447-0413-8D09-5A28-BE244B2E9C22}"/>
              </a:ext>
            </a:extLst>
          </p:cNvPr>
          <p:cNvSpPr/>
          <p:nvPr/>
        </p:nvSpPr>
        <p:spPr>
          <a:xfrm>
            <a:off x="10382560" y="2397446"/>
            <a:ext cx="1714426" cy="3193256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C9BCE5F-EA2C-5E4C-8806-51BA7D7020F8}"/>
              </a:ext>
            </a:extLst>
          </p:cNvPr>
          <p:cNvSpPr txBox="1"/>
          <p:nvPr/>
        </p:nvSpPr>
        <p:spPr>
          <a:xfrm>
            <a:off x="8255310" y="3655277"/>
            <a:ext cx="11299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Bank </a:t>
            </a:r>
            <a:br>
              <a:rPr lang="en-US" sz="1200" dirty="0"/>
            </a:br>
            <a:r>
              <a:rPr lang="en-US" sz="1200" dirty="0"/>
              <a:t>Account</a:t>
            </a:r>
            <a:br>
              <a:rPr lang="en-US" sz="1200" dirty="0"/>
            </a:br>
            <a:r>
              <a:rPr lang="en-US" sz="1200" dirty="0"/>
              <a:t>(Counter party)</a:t>
            </a:r>
          </a:p>
        </p:txBody>
      </p:sp>
    </p:spTree>
    <p:extLst>
      <p:ext uri="{BB962C8B-B14F-4D97-AF65-F5344CB8AC3E}">
        <p14:creationId xmlns:p14="http://schemas.microsoft.com/office/powerpoint/2010/main" val="3135622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B2934F-3770-7C23-2AAD-985A1B361B2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l" rtl="0"/>
            <a:r>
              <a:rPr lang="en-US" dirty="0"/>
              <a:t>Data assets, Use Case &amp; Region sensitive</a:t>
            </a:r>
          </a:p>
          <a:p>
            <a:pPr algn="l" rtl="0"/>
            <a:r>
              <a:rPr lang="en-US" dirty="0"/>
              <a:t>Acquiring a consortium “seed” to show value</a:t>
            </a:r>
          </a:p>
          <a:p>
            <a:pPr algn="l" rtl="0"/>
            <a:r>
              <a:rPr lang="en-US" dirty="0"/>
              <a:t>What makes our consortium unique?</a:t>
            </a:r>
          </a:p>
          <a:p>
            <a:pPr algn="l" rtl="0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D5216FB-C404-0E45-169F-A57A399F83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rtl="0"/>
            <a:r>
              <a:rPr lang="en-US" dirty="0"/>
              <a:t>Key considerations in consortium priorities &amp; plann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08DB5D-E1B1-589E-92E2-8037FB8C0C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76242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A97FF4-DBDF-B779-73DB-E078E0F5037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A67F8C5-1080-1AC3-750D-C1FDA8B8A3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enue Model</a:t>
            </a:r>
          </a:p>
        </p:txBody>
      </p:sp>
    </p:spTree>
    <p:extLst>
      <p:ext uri="{BB962C8B-B14F-4D97-AF65-F5344CB8AC3E}">
        <p14:creationId xmlns:p14="http://schemas.microsoft.com/office/powerpoint/2010/main" val="25587196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2000"/>
    </mc:Choice>
    <mc:Fallback>
      <p:transition advClick="0" advTm="200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91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1&quot;/&gt;&lt;m_eweekdayFirstOfWeekend val=&quot;6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8_Master slide">
  <a:themeElements>
    <a:clrScheme name="Custom 6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23C9FF"/>
      </a:accent1>
      <a:accent2>
        <a:srgbClr val="0006FF"/>
      </a:accent2>
      <a:accent3>
        <a:srgbClr val="7300FF"/>
      </a:accent3>
      <a:accent4>
        <a:srgbClr val="FF2463"/>
      </a:accent4>
      <a:accent5>
        <a:srgbClr val="FF5E2A"/>
      </a:accent5>
      <a:accent6>
        <a:srgbClr val="00FFFF"/>
      </a:accent6>
      <a:hlink>
        <a:srgbClr val="23C9FF"/>
      </a:hlink>
      <a:folHlink>
        <a:srgbClr val="A5A5A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ICE_Basic template_2022-TEST 1" id="{24513CFE-8529-44EA-A71F-8855581CED0B}" vid="{D0E706FE-0837-4239-8D0D-00177E2967A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eef0281-e3d1-48de-8bbd-df2e7e85f998">
      <UserInfo>
        <DisplayName>Elad Nissenberg</DisplayName>
        <AccountId>10</AccountId>
        <AccountType/>
      </UserInfo>
      <UserInfo>
        <DisplayName>Eyal Palmor</DisplayName>
        <AccountId>19</AccountId>
        <AccountType/>
      </UserInfo>
      <UserInfo>
        <DisplayName>Meytal Melamed</DisplayName>
        <AccountId>18</AccountId>
        <AccountType/>
      </UserInfo>
      <UserInfo>
        <DisplayName>Bar Kinreich</DisplayName>
        <AccountId>16</AccountId>
        <AccountType/>
      </UserInfo>
      <UserInfo>
        <DisplayName>Itai Bloom</DisplayName>
        <AccountId>12</AccountId>
        <AccountType/>
      </UserInfo>
      <UserInfo>
        <DisplayName>Raz Yeor</DisplayName>
        <AccountId>32</AccountId>
        <AccountType/>
      </UserInfo>
      <UserInfo>
        <DisplayName>Jason Vinson</DisplayName>
        <AccountId>30</AccountId>
        <AccountType/>
      </UserInfo>
      <UserInfo>
        <DisplayName>Mike Macdonald</DisplayName>
        <AccountId>35</AccountId>
        <AccountType/>
      </UserInfo>
      <UserInfo>
        <DisplayName>Yuval Marco</DisplayName>
        <AccountId>25</AccountId>
        <AccountType/>
      </UserInfo>
    </SharedWithUsers>
    <TaxCatchAll xmlns="eeef0281-e3d1-48de-8bbd-df2e7e85f998" xsi:nil="true"/>
    <lcf76f155ced4ddcb4097134ff3c332f xmlns="75ad2b8d-6faf-4d87-9ad0-2400ed4879fa">
      <Terms xmlns="http://schemas.microsoft.com/office/infopath/2007/PartnerControls"/>
    </lcf76f155ced4ddcb4097134ff3c332f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7FF95EA89E20B4D8F27F964EFA6ABA1" ma:contentTypeVersion="19" ma:contentTypeDescription="Create a new document." ma:contentTypeScope="" ma:versionID="8f17d7eb9018d807b577d3cfc5f7ae24">
  <xsd:schema xmlns:xsd="http://www.w3.org/2001/XMLSchema" xmlns:xs="http://www.w3.org/2001/XMLSchema" xmlns:p="http://schemas.microsoft.com/office/2006/metadata/properties" xmlns:ns1="http://schemas.microsoft.com/sharepoint/v3" xmlns:ns2="75ad2b8d-6faf-4d87-9ad0-2400ed4879fa" xmlns:ns3="eeef0281-e3d1-48de-8bbd-df2e7e85f998" targetNamespace="http://schemas.microsoft.com/office/2006/metadata/properties" ma:root="true" ma:fieldsID="7a47ce0a6c9f2ba8065c2ff69ef47aec" ns1:_="" ns2:_="" ns3:_="">
    <xsd:import namespace="http://schemas.microsoft.com/sharepoint/v3"/>
    <xsd:import namespace="75ad2b8d-6faf-4d87-9ad0-2400ed4879fa"/>
    <xsd:import namespace="eeef0281-e3d1-48de-8bbd-df2e7e85f99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5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6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ad2b8d-6faf-4d87-9ad0-2400ed4879f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1ec5f70b-ebd6-4315-9b9b-436645f546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eef0281-e3d1-48de-8bbd-df2e7e85f998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c55346c4-43e4-4c76-930c-9aecb384f250}" ma:internalName="TaxCatchAll" ma:showField="CatchAllData" ma:web="eeef0281-e3d1-48de-8bbd-df2e7e85f99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6AC4303-FB13-44ED-A10F-851CB5756AAB}">
  <ds:schemaRefs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purl.org/dc/terms/"/>
    <ds:schemaRef ds:uri="http://schemas.openxmlformats.org/package/2006/metadata/core-properties"/>
    <ds:schemaRef ds:uri="http://www.w3.org/XML/1998/namespace"/>
    <ds:schemaRef ds:uri="eeef0281-e3d1-48de-8bbd-df2e7e85f998"/>
    <ds:schemaRef ds:uri="75ad2b8d-6faf-4d87-9ad0-2400ed4879fa"/>
    <ds:schemaRef ds:uri="http://schemas.microsoft.com/office/2006/metadata/properties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B7051529-2146-463E-9CD6-0B855EA6E2A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5ad2b8d-6faf-4d87-9ad0-2400ed4879fa"/>
    <ds:schemaRef ds:uri="eeef0281-e3d1-48de-8bbd-df2e7e85f99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F3BEBBD-65B4-4C75-869F-BDA74B76B7D5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09e08a61-09f6-4c5f-81cc-e15b331ff36a}" enabled="1" method="Standard" siteId="{7123dabd-0e87-4da9-9cb9-b7ec82011aad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NICE_Basic_Template_2022</Template>
  <TotalTime>2806</TotalTime>
  <Words>802</Words>
  <Application>Microsoft Office PowerPoint</Application>
  <PresentationFormat>Widescreen</PresentationFormat>
  <Paragraphs>185</Paragraphs>
  <Slides>19</Slides>
  <Notes>3</Notes>
  <HiddenSlides>1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9" baseType="lpstr">
      <vt:lpstr>20</vt:lpstr>
      <vt:lpstr>Aptos</vt:lpstr>
      <vt:lpstr>Arial</vt:lpstr>
      <vt:lpstr>Arial MT Std Light</vt:lpstr>
      <vt:lpstr>Arial Narrow</vt:lpstr>
      <vt:lpstr>Calibri</vt:lpstr>
      <vt:lpstr>Courier New</vt:lpstr>
      <vt:lpstr>Wingdings</vt:lpstr>
      <vt:lpstr>8_Master slide</vt:lpstr>
      <vt:lpstr>think-cell Slide</vt:lpstr>
      <vt:lpstr>NICE Actimize Consortium  </vt:lpstr>
      <vt:lpstr>FC&amp;c Consortium definition1:  A system designed to improve risk detection and mitigation via Collective intelligence , capable of inter-institution data sharing </vt:lpstr>
      <vt:lpstr>Categories of derived value with consortium</vt:lpstr>
      <vt:lpstr>Market drivers for FC&amp;C Consortium</vt:lpstr>
      <vt:lpstr>FC&amp;C Consortium Vision</vt:lpstr>
      <vt:lpstr>FC&amp;C Consortiums by use case &amp; entity</vt:lpstr>
      <vt:lpstr>NICE Actimize’s use case &amp; entity dominance today  </vt:lpstr>
      <vt:lpstr>Key considerations in consortium priorities &amp; planning</vt:lpstr>
      <vt:lpstr>Revenue Model</vt:lpstr>
      <vt:lpstr>Revenue Model assumptions</vt:lpstr>
      <vt:lpstr>Definition of Success:</vt:lpstr>
      <vt:lpstr>Revenue Projection</vt:lpstr>
      <vt:lpstr>Scope of Work</vt:lpstr>
      <vt:lpstr>Scope of Work</vt:lpstr>
      <vt:lpstr>2025 Plan</vt:lpstr>
      <vt:lpstr>HR Plan                                                      </vt:lpstr>
      <vt:lpstr>Appendix</vt:lpstr>
      <vt:lpstr>Onboarding Consortium Offering</vt:lpstr>
      <vt:lpstr> 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lad Nissenberg</dc:creator>
  <cp:lastModifiedBy>Sulagna Sasmal</cp:lastModifiedBy>
  <cp:revision>50</cp:revision>
  <cp:lastPrinted>2022-03-07T16:29:41Z</cp:lastPrinted>
  <dcterms:created xsi:type="dcterms:W3CDTF">2021-03-30T09:12:09Z</dcterms:created>
  <dcterms:modified xsi:type="dcterms:W3CDTF">2026-01-24T08:55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7FF95EA89E20B4D8F27F964EFA6ABA1</vt:lpwstr>
  </property>
  <property fmtid="{D5CDD505-2E9C-101B-9397-08002B2CF9AE}" pid="3" name="MediaServiceImageTags">
    <vt:lpwstr/>
  </property>
</Properties>
</file>